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4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52" r:id="rId1"/>
    <p:sldMasterId id="2147483736" r:id="rId2"/>
    <p:sldMasterId id="2147483659" r:id="rId3"/>
  </p:sldMasterIdLst>
  <p:notesMasterIdLst>
    <p:notesMasterId r:id="rId21"/>
  </p:notesMasterIdLst>
  <p:handoutMasterIdLst>
    <p:handoutMasterId r:id="rId22"/>
  </p:handoutMasterIdLst>
  <p:sldIdLst>
    <p:sldId id="280" r:id="rId4"/>
    <p:sldId id="258" r:id="rId5"/>
    <p:sldId id="286" r:id="rId6"/>
    <p:sldId id="295" r:id="rId7"/>
    <p:sldId id="287" r:id="rId8"/>
    <p:sldId id="317" r:id="rId9"/>
    <p:sldId id="310" r:id="rId10"/>
    <p:sldId id="311" r:id="rId11"/>
    <p:sldId id="312" r:id="rId12"/>
    <p:sldId id="313" r:id="rId13"/>
    <p:sldId id="314" r:id="rId14"/>
    <p:sldId id="315" r:id="rId15"/>
    <p:sldId id="325" r:id="rId16"/>
    <p:sldId id="323" r:id="rId17"/>
    <p:sldId id="324" r:id="rId18"/>
    <p:sldId id="326" r:id="rId19"/>
    <p:sldId id="289" r:id="rId20"/>
  </p:sldIdLst>
  <p:sldSz cx="9144000" cy="6858000" type="screen4x3"/>
  <p:notesSz cx="9944100" cy="6805613"/>
  <p:embeddedFontLst>
    <p:embeddedFont>
      <p:font typeface="ＭＳ Ｐゴシック" panose="020B0600070205080204" pitchFamily="34" charset="-128"/>
      <p:regular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28" autoAdjust="0"/>
    <p:restoredTop sz="87678" autoAdjust="0"/>
  </p:normalViewPr>
  <p:slideViewPr>
    <p:cSldViewPr>
      <p:cViewPr>
        <p:scale>
          <a:sx n="90" d="100"/>
          <a:sy n="90" d="100"/>
        </p:scale>
        <p:origin x="-1560" y="-28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3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2.fnt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1.fntdata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509CBB-DAF6-4486-A211-083C716F61DD}" type="doc">
      <dgm:prSet loTypeId="urn:microsoft.com/office/officeart/2005/8/layout/pList2#2" loCatId="picture" qsTypeId="urn:microsoft.com/office/officeart/2005/8/quickstyle/simple1" qsCatId="simple" csTypeId="urn:microsoft.com/office/officeart/2005/8/colors/accent0_2" csCatId="mainScheme" phldr="1"/>
      <dgm:spPr/>
    </dgm:pt>
    <dgm:pt modelId="{4AD339F3-FCC1-48CA-A778-FE6296C7163F}">
      <dgm:prSet phldrT="[Text]" custT="1"/>
      <dgm:spPr/>
      <dgm:t>
        <a:bodyPr/>
        <a:lstStyle/>
        <a:p>
          <a:pPr algn="ctr"/>
          <a:r>
            <a:rPr lang="en-US" sz="2000" b="1" noProof="0" dirty="0" smtClean="0"/>
            <a:t>Cooperation</a:t>
          </a:r>
        </a:p>
        <a:p>
          <a:pPr algn="l"/>
          <a:r>
            <a:rPr lang="en-US" sz="1400" noProof="0" dirty="0" smtClean="0"/>
            <a:t>Visitor Centre WH</a:t>
          </a:r>
        </a:p>
        <a:p>
          <a:pPr algn="l"/>
          <a:r>
            <a:rPr lang="en-US" sz="1400" noProof="0" dirty="0" smtClean="0"/>
            <a:t>Audio guide producer</a:t>
          </a:r>
        </a:p>
        <a:p>
          <a:pPr algn="l"/>
          <a:r>
            <a:rPr lang="en-US" sz="1400" noProof="0" dirty="0" smtClean="0"/>
            <a:t>Heritage-App</a:t>
          </a:r>
        </a:p>
        <a:p>
          <a:pPr algn="l"/>
          <a:r>
            <a:rPr lang="en-US" sz="1400" noProof="0" dirty="0" smtClean="0"/>
            <a:t>Programs in Museums</a:t>
          </a:r>
        </a:p>
        <a:p>
          <a:pPr algn="l"/>
          <a:r>
            <a:rPr lang="en-US" sz="1400" noProof="0" dirty="0" smtClean="0"/>
            <a:t>Universities/Schools</a:t>
          </a:r>
        </a:p>
        <a:p>
          <a:pPr algn="l"/>
          <a:r>
            <a:rPr lang="en-US" sz="1400" noProof="0" dirty="0" smtClean="0"/>
            <a:t>Stakeholders</a:t>
          </a:r>
        </a:p>
        <a:p>
          <a:pPr algn="l"/>
          <a:r>
            <a:rPr lang="en-US" sz="1400" noProof="0" dirty="0" smtClean="0"/>
            <a:t>Tourism Organization</a:t>
          </a:r>
        </a:p>
        <a:p>
          <a:pPr algn="l"/>
          <a:endParaRPr lang="de-DE" sz="1800" dirty="0" smtClean="0"/>
        </a:p>
      </dgm:t>
    </dgm:pt>
    <dgm:pt modelId="{4E254999-84D8-405A-8387-C18F50A20B11}" type="parTrans" cxnId="{FF2EA833-3CAF-45CC-AB8B-EC2D2DC7B4E0}">
      <dgm:prSet/>
      <dgm:spPr/>
      <dgm:t>
        <a:bodyPr/>
        <a:lstStyle/>
        <a:p>
          <a:endParaRPr lang="en-US"/>
        </a:p>
      </dgm:t>
    </dgm:pt>
    <dgm:pt modelId="{64651BFA-08E5-40AE-B8AB-4CFA1B25AFBE}" type="sibTrans" cxnId="{FF2EA833-3CAF-45CC-AB8B-EC2D2DC7B4E0}">
      <dgm:prSet/>
      <dgm:spPr/>
      <dgm:t>
        <a:bodyPr/>
        <a:lstStyle/>
        <a:p>
          <a:endParaRPr lang="en-US"/>
        </a:p>
      </dgm:t>
    </dgm:pt>
    <dgm:pt modelId="{B6B3D5CD-ACDC-4BB6-8E2C-4B34C2F45FA6}">
      <dgm:prSet phldrT="[Text]" custT="1"/>
      <dgm:spPr/>
      <dgm:t>
        <a:bodyPr/>
        <a:lstStyle/>
        <a:p>
          <a:pPr algn="ctr"/>
          <a:r>
            <a:rPr lang="de-DE" sz="2000" b="1" dirty="0" smtClean="0"/>
            <a:t>Events </a:t>
          </a:r>
        </a:p>
        <a:p>
          <a:pPr algn="l"/>
          <a:r>
            <a:rPr lang="en-US" sz="1400" noProof="0" dirty="0" smtClean="0"/>
            <a:t>World Heritage Day</a:t>
          </a:r>
        </a:p>
        <a:p>
          <a:pPr algn="l"/>
          <a:r>
            <a:rPr lang="en-US" sz="1400" noProof="0" dirty="0" smtClean="0"/>
            <a:t>Exhibitions in Visitor Centre</a:t>
          </a:r>
        </a:p>
        <a:p>
          <a:pPr algn="l"/>
          <a:r>
            <a:rPr lang="en-US" sz="1400" noProof="0" dirty="0" smtClean="0"/>
            <a:t>Conferences</a:t>
          </a:r>
        </a:p>
        <a:p>
          <a:pPr algn="l"/>
          <a:r>
            <a:rPr lang="en-US" sz="1400" noProof="0" dirty="0" smtClean="0"/>
            <a:t>Lectures</a:t>
          </a:r>
        </a:p>
        <a:p>
          <a:pPr algn="l"/>
          <a:r>
            <a:rPr lang="en-US" sz="1400" noProof="0" dirty="0" smtClean="0"/>
            <a:t>Guided Tours through Visitor Centre</a:t>
          </a:r>
        </a:p>
        <a:p>
          <a:pPr algn="l"/>
          <a:endParaRPr lang="de-DE" sz="1800" dirty="0" smtClean="0"/>
        </a:p>
        <a:p>
          <a:pPr algn="l"/>
          <a:endParaRPr lang="de-DE" sz="1800" dirty="0" smtClean="0"/>
        </a:p>
        <a:p>
          <a:pPr algn="l"/>
          <a:endParaRPr lang="de-DE" sz="1800" dirty="0" smtClean="0"/>
        </a:p>
        <a:p>
          <a:pPr algn="ctr"/>
          <a:endParaRPr lang="en-US" sz="1600" dirty="0"/>
        </a:p>
      </dgm:t>
    </dgm:pt>
    <dgm:pt modelId="{16E5F516-6F06-4E62-98EB-32C47A6EA555}" type="parTrans" cxnId="{2AB278A3-927C-4473-801F-214DC7D85675}">
      <dgm:prSet/>
      <dgm:spPr/>
      <dgm:t>
        <a:bodyPr/>
        <a:lstStyle/>
        <a:p>
          <a:endParaRPr lang="en-US"/>
        </a:p>
      </dgm:t>
    </dgm:pt>
    <dgm:pt modelId="{22E59E2D-6E81-4F11-BCAB-684CD2B11423}" type="sibTrans" cxnId="{2AB278A3-927C-4473-801F-214DC7D85675}">
      <dgm:prSet/>
      <dgm:spPr/>
      <dgm:t>
        <a:bodyPr/>
        <a:lstStyle/>
        <a:p>
          <a:endParaRPr lang="en-US"/>
        </a:p>
      </dgm:t>
    </dgm:pt>
    <dgm:pt modelId="{54E00F62-F66E-4C35-9C31-8EBAC7D9D669}">
      <dgm:prSet phldrT="[Text]" custT="1"/>
      <dgm:spPr/>
      <dgm:t>
        <a:bodyPr/>
        <a:lstStyle/>
        <a:p>
          <a:pPr algn="ctr"/>
          <a:r>
            <a:rPr lang="de-DE" sz="2000" b="1" dirty="0" smtClean="0"/>
            <a:t>Publications</a:t>
          </a:r>
        </a:p>
        <a:p>
          <a:pPr algn="l"/>
          <a:r>
            <a:rPr lang="en-US" sz="1400" noProof="0" dirty="0" smtClean="0"/>
            <a:t>Information brochure</a:t>
          </a:r>
        </a:p>
        <a:p>
          <a:pPr algn="l"/>
          <a:r>
            <a:rPr lang="en-US" sz="1400" noProof="0" dirty="0" smtClean="0"/>
            <a:t>Special Interest (</a:t>
          </a:r>
          <a:r>
            <a:rPr lang="en-US" sz="1100" noProof="0" dirty="0" smtClean="0"/>
            <a:t>House owners / senior citizens)</a:t>
          </a:r>
        </a:p>
        <a:p>
          <a:pPr algn="l"/>
          <a:r>
            <a:rPr lang="en-US" sz="1400" noProof="0" dirty="0" smtClean="0"/>
            <a:t>website</a:t>
          </a:r>
        </a:p>
        <a:p>
          <a:pPr algn="l"/>
          <a:r>
            <a:rPr lang="en-US" sz="1400" noProof="0" dirty="0" smtClean="0"/>
            <a:t>books</a:t>
          </a:r>
        </a:p>
        <a:p>
          <a:pPr algn="l"/>
          <a:r>
            <a:rPr lang="en-US" sz="1400" noProof="0" dirty="0" smtClean="0"/>
            <a:t>Annual report</a:t>
          </a:r>
        </a:p>
        <a:p>
          <a:pPr algn="l"/>
          <a:r>
            <a:rPr lang="en-US" sz="1400" noProof="0" dirty="0" smtClean="0"/>
            <a:t>Articles for scientific revues</a:t>
          </a:r>
        </a:p>
        <a:p>
          <a:pPr algn="l"/>
          <a:endParaRPr lang="en-US" sz="1800" dirty="0"/>
        </a:p>
      </dgm:t>
    </dgm:pt>
    <dgm:pt modelId="{CB005756-CC44-4DA2-B805-C27EFC5D1E03}" type="parTrans" cxnId="{18095D2D-B061-4833-8542-3D13BDD885D2}">
      <dgm:prSet/>
      <dgm:spPr/>
      <dgm:t>
        <a:bodyPr/>
        <a:lstStyle/>
        <a:p>
          <a:endParaRPr lang="en-US"/>
        </a:p>
      </dgm:t>
    </dgm:pt>
    <dgm:pt modelId="{BDA08AFB-BD7C-404A-B3FC-99C9ABD0E638}" type="sibTrans" cxnId="{18095D2D-B061-4833-8542-3D13BDD885D2}">
      <dgm:prSet/>
      <dgm:spPr/>
      <dgm:t>
        <a:bodyPr/>
        <a:lstStyle/>
        <a:p>
          <a:endParaRPr lang="en-US"/>
        </a:p>
      </dgm:t>
    </dgm:pt>
    <dgm:pt modelId="{1839473C-7CC6-4094-852E-BA587040A467}" type="pres">
      <dgm:prSet presAssocID="{76509CBB-DAF6-4486-A211-083C716F61DD}" presName="Name0" presStyleCnt="0">
        <dgm:presLayoutVars>
          <dgm:dir/>
          <dgm:resizeHandles val="exact"/>
        </dgm:presLayoutVars>
      </dgm:prSet>
      <dgm:spPr/>
    </dgm:pt>
    <dgm:pt modelId="{EE75698D-1BEC-4657-ABEA-B6511FBD7B51}" type="pres">
      <dgm:prSet presAssocID="{76509CBB-DAF6-4486-A211-083C716F61DD}" presName="bkgdShp" presStyleLbl="alignAccFollowNode1" presStyleIdx="0" presStyleCnt="1" custLinFactNeighborY="-3130"/>
      <dgm:spPr/>
    </dgm:pt>
    <dgm:pt modelId="{829975DD-882D-4C6E-84A5-3C792F03EF91}" type="pres">
      <dgm:prSet presAssocID="{76509CBB-DAF6-4486-A211-083C716F61DD}" presName="linComp" presStyleCnt="0"/>
      <dgm:spPr/>
    </dgm:pt>
    <dgm:pt modelId="{ABC1EF67-371B-4D59-9BAC-0139A4DE1C3F}" type="pres">
      <dgm:prSet presAssocID="{4AD339F3-FCC1-48CA-A778-FE6296C7163F}" presName="compNode" presStyleCnt="0"/>
      <dgm:spPr/>
    </dgm:pt>
    <dgm:pt modelId="{17DA1B2E-5689-4F40-BDDB-BA095071658B}" type="pres">
      <dgm:prSet presAssocID="{4AD339F3-FCC1-48CA-A778-FE6296C7163F}" presName="node" presStyleLbl="node1" presStyleIdx="0" presStyleCnt="3" custScaleX="159197" custLinFactNeighborX="75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61F41D-2A8D-450A-85C7-AEF380BE3299}" type="pres">
      <dgm:prSet presAssocID="{4AD339F3-FCC1-48CA-A778-FE6296C7163F}" presName="invisiNode" presStyleLbl="node1" presStyleIdx="0" presStyleCnt="3"/>
      <dgm:spPr/>
    </dgm:pt>
    <dgm:pt modelId="{44F8FC91-74F6-4A06-8DD8-39CD9BB5D852}" type="pres">
      <dgm:prSet presAssocID="{4AD339F3-FCC1-48CA-A778-FE6296C7163F}" presName="imagNode" presStyleLbl="fgImgPlace1" presStyleIdx="0" presStyleCnt="3" custScaleX="11300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51EE718C-180F-4576-9D18-6738F6DF4BEF}" type="pres">
      <dgm:prSet presAssocID="{64651BFA-08E5-40AE-B8AB-4CFA1B25AFBE}" presName="sibTrans" presStyleLbl="sibTrans2D1" presStyleIdx="0" presStyleCnt="0"/>
      <dgm:spPr/>
      <dgm:t>
        <a:bodyPr/>
        <a:lstStyle/>
        <a:p>
          <a:endParaRPr lang="en-US"/>
        </a:p>
      </dgm:t>
    </dgm:pt>
    <dgm:pt modelId="{BDA07C06-9514-4A9C-A92F-D0794033F4AB}" type="pres">
      <dgm:prSet presAssocID="{B6B3D5CD-ACDC-4BB6-8E2C-4B34C2F45FA6}" presName="compNode" presStyleCnt="0"/>
      <dgm:spPr/>
    </dgm:pt>
    <dgm:pt modelId="{C6D684A6-3290-4317-AC5B-409783D929C1}" type="pres">
      <dgm:prSet presAssocID="{B6B3D5CD-ACDC-4BB6-8E2C-4B34C2F45FA6}" presName="node" presStyleLbl="node1" presStyleIdx="1" presStyleCnt="3" custScaleX="169597" custLinFactNeighborX="4788" custLinFactNeighborY="12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15D6BA-AB73-4432-9A8F-AE58AA2A9EEF}" type="pres">
      <dgm:prSet presAssocID="{B6B3D5CD-ACDC-4BB6-8E2C-4B34C2F45FA6}" presName="invisiNode" presStyleLbl="node1" presStyleIdx="1" presStyleCnt="3"/>
      <dgm:spPr/>
    </dgm:pt>
    <dgm:pt modelId="{6B3544CF-D558-4AE4-96B9-D488E2EBA3EB}" type="pres">
      <dgm:prSet presAssocID="{B6B3D5CD-ACDC-4BB6-8E2C-4B34C2F45FA6}" presName="imagNode" presStyleLbl="fgImgPlace1" presStyleIdx="1" presStyleCnt="3" custScaleX="116501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83897881-B5B0-4AC7-873A-E63DF9001704}" type="pres">
      <dgm:prSet presAssocID="{22E59E2D-6E81-4F11-BCAB-684CD2B11423}" presName="sibTrans" presStyleLbl="sibTrans2D1" presStyleIdx="0" presStyleCnt="0"/>
      <dgm:spPr/>
      <dgm:t>
        <a:bodyPr/>
        <a:lstStyle/>
        <a:p>
          <a:endParaRPr lang="en-US"/>
        </a:p>
      </dgm:t>
    </dgm:pt>
    <dgm:pt modelId="{2CF6AFC5-6B52-4F58-BB9D-7AA6D64C7C82}" type="pres">
      <dgm:prSet presAssocID="{54E00F62-F66E-4C35-9C31-8EBAC7D9D669}" presName="compNode" presStyleCnt="0"/>
      <dgm:spPr/>
    </dgm:pt>
    <dgm:pt modelId="{E5341242-7200-45DF-B612-DAD43D74F717}" type="pres">
      <dgm:prSet presAssocID="{54E00F62-F66E-4C35-9C31-8EBAC7D9D669}" presName="node" presStyleLbl="node1" presStyleIdx="2" presStyleCnt="3" custScaleX="15668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F4C230-BF74-4A76-8AFE-BBF47C80D85F}" type="pres">
      <dgm:prSet presAssocID="{54E00F62-F66E-4C35-9C31-8EBAC7D9D669}" presName="invisiNode" presStyleLbl="node1" presStyleIdx="2" presStyleCnt="3"/>
      <dgm:spPr/>
    </dgm:pt>
    <dgm:pt modelId="{51CDD806-449B-4914-B6CA-CA1943661B44}" type="pres">
      <dgm:prSet presAssocID="{54E00F62-F66E-4C35-9C31-8EBAC7D9D669}" presName="imagNode" presStyleLbl="fgImgPlace1" presStyleIdx="2" presStyleCnt="3" custScaleX="112992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FECC10FE-44E2-48B4-ABFA-1DF421076959}" type="presOf" srcId="{4AD339F3-FCC1-48CA-A778-FE6296C7163F}" destId="{17DA1B2E-5689-4F40-BDDB-BA095071658B}" srcOrd="0" destOrd="0" presId="urn:microsoft.com/office/officeart/2005/8/layout/pList2#2"/>
    <dgm:cxn modelId="{5B2C61B0-3BEF-404F-837C-EFBB7C3F7776}" type="presOf" srcId="{64651BFA-08E5-40AE-B8AB-4CFA1B25AFBE}" destId="{51EE718C-180F-4576-9D18-6738F6DF4BEF}" srcOrd="0" destOrd="0" presId="urn:microsoft.com/office/officeart/2005/8/layout/pList2#2"/>
    <dgm:cxn modelId="{CAB89D97-9404-44DD-9A29-D197026B8F42}" type="presOf" srcId="{B6B3D5CD-ACDC-4BB6-8E2C-4B34C2F45FA6}" destId="{C6D684A6-3290-4317-AC5B-409783D929C1}" srcOrd="0" destOrd="0" presId="urn:microsoft.com/office/officeart/2005/8/layout/pList2#2"/>
    <dgm:cxn modelId="{B7653FAB-1F02-4402-A079-47DAAFC3EE9F}" type="presOf" srcId="{76509CBB-DAF6-4486-A211-083C716F61DD}" destId="{1839473C-7CC6-4094-852E-BA587040A467}" srcOrd="0" destOrd="0" presId="urn:microsoft.com/office/officeart/2005/8/layout/pList2#2"/>
    <dgm:cxn modelId="{FF2EA833-3CAF-45CC-AB8B-EC2D2DC7B4E0}" srcId="{76509CBB-DAF6-4486-A211-083C716F61DD}" destId="{4AD339F3-FCC1-48CA-A778-FE6296C7163F}" srcOrd="0" destOrd="0" parTransId="{4E254999-84D8-405A-8387-C18F50A20B11}" sibTransId="{64651BFA-08E5-40AE-B8AB-4CFA1B25AFBE}"/>
    <dgm:cxn modelId="{2AB278A3-927C-4473-801F-214DC7D85675}" srcId="{76509CBB-DAF6-4486-A211-083C716F61DD}" destId="{B6B3D5CD-ACDC-4BB6-8E2C-4B34C2F45FA6}" srcOrd="1" destOrd="0" parTransId="{16E5F516-6F06-4E62-98EB-32C47A6EA555}" sibTransId="{22E59E2D-6E81-4F11-BCAB-684CD2B11423}"/>
    <dgm:cxn modelId="{D283346A-1252-4FB8-94E6-C9ED1D20F338}" type="presOf" srcId="{22E59E2D-6E81-4F11-BCAB-684CD2B11423}" destId="{83897881-B5B0-4AC7-873A-E63DF9001704}" srcOrd="0" destOrd="0" presId="urn:microsoft.com/office/officeart/2005/8/layout/pList2#2"/>
    <dgm:cxn modelId="{3DCAA3A4-A570-49B9-97BC-AA51DE0AA04C}" type="presOf" srcId="{54E00F62-F66E-4C35-9C31-8EBAC7D9D669}" destId="{E5341242-7200-45DF-B612-DAD43D74F717}" srcOrd="0" destOrd="0" presId="urn:microsoft.com/office/officeart/2005/8/layout/pList2#2"/>
    <dgm:cxn modelId="{18095D2D-B061-4833-8542-3D13BDD885D2}" srcId="{76509CBB-DAF6-4486-A211-083C716F61DD}" destId="{54E00F62-F66E-4C35-9C31-8EBAC7D9D669}" srcOrd="2" destOrd="0" parTransId="{CB005756-CC44-4DA2-B805-C27EFC5D1E03}" sibTransId="{BDA08AFB-BD7C-404A-B3FC-99C9ABD0E638}"/>
    <dgm:cxn modelId="{91850122-A72B-4173-81F8-9F389B7F9492}" type="presParOf" srcId="{1839473C-7CC6-4094-852E-BA587040A467}" destId="{EE75698D-1BEC-4657-ABEA-B6511FBD7B51}" srcOrd="0" destOrd="0" presId="urn:microsoft.com/office/officeart/2005/8/layout/pList2#2"/>
    <dgm:cxn modelId="{787B78EE-27BA-45D3-B05D-4F884DFFB81A}" type="presParOf" srcId="{1839473C-7CC6-4094-852E-BA587040A467}" destId="{829975DD-882D-4C6E-84A5-3C792F03EF91}" srcOrd="1" destOrd="0" presId="urn:microsoft.com/office/officeart/2005/8/layout/pList2#2"/>
    <dgm:cxn modelId="{F1D4901D-B496-4F17-90B7-71EBD8A561C4}" type="presParOf" srcId="{829975DD-882D-4C6E-84A5-3C792F03EF91}" destId="{ABC1EF67-371B-4D59-9BAC-0139A4DE1C3F}" srcOrd="0" destOrd="0" presId="urn:microsoft.com/office/officeart/2005/8/layout/pList2#2"/>
    <dgm:cxn modelId="{34BE096A-6104-4D9A-AA58-FD27E55AC671}" type="presParOf" srcId="{ABC1EF67-371B-4D59-9BAC-0139A4DE1C3F}" destId="{17DA1B2E-5689-4F40-BDDB-BA095071658B}" srcOrd="0" destOrd="0" presId="urn:microsoft.com/office/officeart/2005/8/layout/pList2#2"/>
    <dgm:cxn modelId="{11B15B28-93D4-4E54-B16F-7BA488572225}" type="presParOf" srcId="{ABC1EF67-371B-4D59-9BAC-0139A4DE1C3F}" destId="{D161F41D-2A8D-450A-85C7-AEF380BE3299}" srcOrd="1" destOrd="0" presId="urn:microsoft.com/office/officeart/2005/8/layout/pList2#2"/>
    <dgm:cxn modelId="{981E40F4-5FF2-4B36-9C69-1A3228D28420}" type="presParOf" srcId="{ABC1EF67-371B-4D59-9BAC-0139A4DE1C3F}" destId="{44F8FC91-74F6-4A06-8DD8-39CD9BB5D852}" srcOrd="2" destOrd="0" presId="urn:microsoft.com/office/officeart/2005/8/layout/pList2#2"/>
    <dgm:cxn modelId="{DCEB4011-D5B1-4BA5-8DD2-4E0C38665AEA}" type="presParOf" srcId="{829975DD-882D-4C6E-84A5-3C792F03EF91}" destId="{51EE718C-180F-4576-9D18-6738F6DF4BEF}" srcOrd="1" destOrd="0" presId="urn:microsoft.com/office/officeart/2005/8/layout/pList2#2"/>
    <dgm:cxn modelId="{F4ABF680-3848-47EB-9C45-0D95BE897116}" type="presParOf" srcId="{829975DD-882D-4C6E-84A5-3C792F03EF91}" destId="{BDA07C06-9514-4A9C-A92F-D0794033F4AB}" srcOrd="2" destOrd="0" presId="urn:microsoft.com/office/officeart/2005/8/layout/pList2#2"/>
    <dgm:cxn modelId="{ACBD9DBA-F7E7-4342-8584-79433246C440}" type="presParOf" srcId="{BDA07C06-9514-4A9C-A92F-D0794033F4AB}" destId="{C6D684A6-3290-4317-AC5B-409783D929C1}" srcOrd="0" destOrd="0" presId="urn:microsoft.com/office/officeart/2005/8/layout/pList2#2"/>
    <dgm:cxn modelId="{297B6CB8-26F9-43FE-B3A4-7668A9E61A46}" type="presParOf" srcId="{BDA07C06-9514-4A9C-A92F-D0794033F4AB}" destId="{4C15D6BA-AB73-4432-9A8F-AE58AA2A9EEF}" srcOrd="1" destOrd="0" presId="urn:microsoft.com/office/officeart/2005/8/layout/pList2#2"/>
    <dgm:cxn modelId="{46D2243A-80DC-4EA4-AA6A-AF7C30F3B18D}" type="presParOf" srcId="{BDA07C06-9514-4A9C-A92F-D0794033F4AB}" destId="{6B3544CF-D558-4AE4-96B9-D488E2EBA3EB}" srcOrd="2" destOrd="0" presId="urn:microsoft.com/office/officeart/2005/8/layout/pList2#2"/>
    <dgm:cxn modelId="{94A2B587-8B49-4056-A810-3BA9309665CA}" type="presParOf" srcId="{829975DD-882D-4C6E-84A5-3C792F03EF91}" destId="{83897881-B5B0-4AC7-873A-E63DF9001704}" srcOrd="3" destOrd="0" presId="urn:microsoft.com/office/officeart/2005/8/layout/pList2#2"/>
    <dgm:cxn modelId="{A91226AF-E83E-4EB7-B955-56FB6F3A782E}" type="presParOf" srcId="{829975DD-882D-4C6E-84A5-3C792F03EF91}" destId="{2CF6AFC5-6B52-4F58-BB9D-7AA6D64C7C82}" srcOrd="4" destOrd="0" presId="urn:microsoft.com/office/officeart/2005/8/layout/pList2#2"/>
    <dgm:cxn modelId="{B0209A3D-6BB3-4AF2-ADB7-6CA6442B934E}" type="presParOf" srcId="{2CF6AFC5-6B52-4F58-BB9D-7AA6D64C7C82}" destId="{E5341242-7200-45DF-B612-DAD43D74F717}" srcOrd="0" destOrd="0" presId="urn:microsoft.com/office/officeart/2005/8/layout/pList2#2"/>
    <dgm:cxn modelId="{7F95C5F7-8C18-432B-AA6F-5EB9DCB1F2A0}" type="presParOf" srcId="{2CF6AFC5-6B52-4F58-BB9D-7AA6D64C7C82}" destId="{9EF4C230-BF74-4A76-8AFE-BBF47C80D85F}" srcOrd="1" destOrd="0" presId="urn:microsoft.com/office/officeart/2005/8/layout/pList2#2"/>
    <dgm:cxn modelId="{838C4867-07C5-401D-B051-23C3287A72EA}" type="presParOf" srcId="{2CF6AFC5-6B52-4F58-BB9D-7AA6D64C7C82}" destId="{51CDD806-449B-4914-B6CA-CA1943661B44}" srcOrd="2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75698D-1BEC-4657-ABEA-B6511FBD7B51}">
      <dsp:nvSpPr>
        <dsp:cNvPr id="0" name=""/>
        <dsp:cNvSpPr/>
      </dsp:nvSpPr>
      <dsp:spPr>
        <a:xfrm>
          <a:off x="0" y="0"/>
          <a:ext cx="8136904" cy="2300655"/>
        </a:xfrm>
        <a:prstGeom prst="roundRect">
          <a:avLst>
            <a:gd name="adj" fmla="val 10000"/>
          </a:avLst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F8FC91-74F6-4A06-8DD8-39CD9BB5D852}">
      <dsp:nvSpPr>
        <dsp:cNvPr id="0" name=""/>
        <dsp:cNvSpPr/>
      </dsp:nvSpPr>
      <dsp:spPr>
        <a:xfrm>
          <a:off x="594990" y="306754"/>
          <a:ext cx="1709266" cy="168714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DA1B2E-5689-4F40-BDDB-BA095071658B}">
      <dsp:nvSpPr>
        <dsp:cNvPr id="0" name=""/>
        <dsp:cNvSpPr/>
      </dsp:nvSpPr>
      <dsp:spPr>
        <a:xfrm rot="10800000">
          <a:off x="360044" y="2300655"/>
          <a:ext cx="2407947" cy="2811912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noProof="0" dirty="0" smtClean="0"/>
            <a:t>Cooperation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Visitor Centre WH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Audio guide producer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Heritage-App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Programs in Museum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Universities/School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Stakeholder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Tourism Organization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800" kern="1200" dirty="0" smtClean="0"/>
        </a:p>
      </dsp:txBody>
      <dsp:txXfrm rot="10800000">
        <a:off x="434097" y="2300655"/>
        <a:ext cx="2259841" cy="2737859"/>
      </dsp:txXfrm>
    </dsp:sp>
    <dsp:sp modelId="{6B3544CF-D558-4AE4-96B9-D488E2EBA3EB}">
      <dsp:nvSpPr>
        <dsp:cNvPr id="0" name=""/>
        <dsp:cNvSpPr/>
      </dsp:nvSpPr>
      <dsp:spPr>
        <a:xfrm>
          <a:off x="3206407" y="306754"/>
          <a:ext cx="1762145" cy="168714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D684A6-3290-4317-AC5B-409783D929C1}">
      <dsp:nvSpPr>
        <dsp:cNvPr id="0" name=""/>
        <dsp:cNvSpPr/>
      </dsp:nvSpPr>
      <dsp:spPr>
        <a:xfrm rot="10800000">
          <a:off x="2877274" y="2300655"/>
          <a:ext cx="2565253" cy="2811912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Events 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World Heritage Day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Exhibitions in Visitor Centre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Conferenc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Lectur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Guided Tours through Visitor Centre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8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8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800" kern="1200" dirty="0" smtClean="0"/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 rot="10800000">
        <a:off x="2956164" y="2300655"/>
        <a:ext cx="2407473" cy="2733022"/>
      </dsp:txXfrm>
    </dsp:sp>
    <dsp:sp modelId="{51CDD806-449B-4914-B6CA-CA1943661B44}">
      <dsp:nvSpPr>
        <dsp:cNvPr id="0" name=""/>
        <dsp:cNvSpPr/>
      </dsp:nvSpPr>
      <dsp:spPr>
        <a:xfrm>
          <a:off x="5851773" y="306754"/>
          <a:ext cx="1709069" cy="1687147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341242-7200-45DF-B612-DAD43D74F717}">
      <dsp:nvSpPr>
        <dsp:cNvPr id="0" name=""/>
        <dsp:cNvSpPr/>
      </dsp:nvSpPr>
      <dsp:spPr>
        <a:xfrm rot="10800000">
          <a:off x="5521362" y="2300655"/>
          <a:ext cx="2369891" cy="2811912"/>
        </a:xfrm>
        <a:prstGeom prst="round2SameRect">
          <a:avLst>
            <a:gd name="adj1" fmla="val 10500"/>
            <a:gd name="adj2" fmla="val 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000" b="1" kern="1200" dirty="0" smtClean="0"/>
            <a:t>Publication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Information brochure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Special Interest (</a:t>
          </a:r>
          <a:r>
            <a:rPr lang="en-US" sz="1100" kern="1200" noProof="0" dirty="0" smtClean="0"/>
            <a:t>House owners / senior citizens)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website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book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Annual report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noProof="0" dirty="0" smtClean="0"/>
            <a:t>Articles for scientific revu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 dirty="0"/>
        </a:p>
      </dsp:txBody>
      <dsp:txXfrm rot="10800000">
        <a:off x="5594244" y="2300655"/>
        <a:ext cx="2224127" cy="27390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9806" cy="340064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31975" y="0"/>
            <a:ext cx="4309806" cy="340064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C77DFEA1-F364-4C52-8F6C-370FFF11545F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64463"/>
            <a:ext cx="4309806" cy="34006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F6A3CB0E-3E69-408C-9E4E-F437B5B159A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47423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4309110" cy="340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32692" y="1"/>
            <a:ext cx="4309110" cy="340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71838" y="511175"/>
            <a:ext cx="3400425" cy="25511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4412" y="3232667"/>
            <a:ext cx="7955279" cy="3062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9" tIns="45779" rIns="91559" bIns="457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6464153"/>
            <a:ext cx="4309110" cy="340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9" tIns="45779" rIns="91559" bIns="4577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32692" y="6464153"/>
            <a:ext cx="4309110" cy="3402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559" tIns="45779" rIns="91559" bIns="4577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F562610-F9E3-4A39-AFAC-41607EF091F7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92883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78263" y="530225"/>
            <a:ext cx="2235200" cy="1676400"/>
          </a:xfrm>
          <a:ln/>
        </p:spPr>
      </p:sp>
      <p:sp>
        <p:nvSpPr>
          <p:cNvPr id="28675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 smtClean="0"/>
          </a:p>
        </p:txBody>
      </p:sp>
      <p:sp>
        <p:nvSpPr>
          <p:cNvPr id="2867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17550" indent="-274638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03313" indent="-220663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44638" indent="-220663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1987550" indent="-220663" defTabSz="9128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444750" indent="-220663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01950" indent="-220663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359150" indent="-220663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16350" indent="-220663" defTabSz="9128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F21C9558-F12D-49AB-B924-322B33B4E767}" type="slidenum">
              <a:rPr lang="fr-FR" altLang="de-DE" smtClean="0"/>
              <a:pPr>
                <a:spcBef>
                  <a:spcPct val="0"/>
                </a:spcBef>
              </a:pPr>
              <a:t>1</a:t>
            </a:fld>
            <a:endParaRPr lang="fr-FR" alt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62610-F9E3-4A39-AFAC-41607EF091F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46625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62610-F9E3-4A39-AFAC-41607EF091F7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776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62610-F9E3-4A39-AFAC-41607EF091F7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876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562610-F9E3-4A39-AFAC-41607EF091F7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2031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jpe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jpe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folie dunkelgrau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2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13315" name="Rectangle 3"/>
            <p:cNvSpPr>
              <a:spLocks noChangeAspect="1"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noProof="1"/>
            </a:p>
          </p:txBody>
        </p:sp>
        <p:pic>
          <p:nvPicPr>
            <p:cNvPr id="13316" name="Picture 4" descr="reg_logo_4c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31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6838" y="2492375"/>
            <a:ext cx="7459662" cy="4572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ct val="0"/>
              </a:spcBef>
              <a:buFont typeface="Wingdings" pitchFamily="2" charset="2"/>
              <a:buNone/>
              <a:defRPr sz="180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13319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1258888"/>
            <a:ext cx="1079500" cy="10795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3320" name="Rectangle 8"/>
          <p:cNvSpPr>
            <a:spLocks noGrp="1" noChangeArrowheads="1"/>
          </p:cNvSpPr>
          <p:nvPr>
            <p:ph type="ctrTitle"/>
          </p:nvPr>
        </p:nvSpPr>
        <p:spPr>
          <a:xfrm>
            <a:off x="1366838" y="1366838"/>
            <a:ext cx="7461250" cy="849312"/>
          </a:xfrm>
        </p:spPr>
        <p:txBody>
          <a:bodyPr anchor="ctr"/>
          <a:lstStyle>
            <a:lvl1pPr>
              <a:defRPr sz="44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3325" name="Rectangle 13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27.08.2015</a:t>
            </a:r>
            <a:endParaRPr lang="de-DE" dirty="0"/>
          </a:p>
        </p:txBody>
      </p:sp>
      <p:sp>
        <p:nvSpPr>
          <p:cNvPr id="13327" name="Rectangle 15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F554F58C-D0EB-43E3-A1DB-3CDD1F5B928E}" type="slidenum">
              <a:rPr lang="de-DE"/>
              <a:pPr/>
              <a:t>‹Nr.›</a:t>
            </a:fld>
            <a:endParaRPr lang="de-DE"/>
          </a:p>
        </p:txBody>
      </p:sp>
    </p:spTree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8600" cy="4525963"/>
          </a:xfrm>
        </p:spPr>
        <p:txBody>
          <a:bodyPr/>
          <a:lstStyle>
            <a:lvl1pPr>
              <a:defRPr sz="3200"/>
            </a:lvl1pPr>
            <a:lvl2pPr marL="720725" indent="-279400">
              <a:defRPr sz="2800"/>
            </a:lvl2pPr>
            <a:lvl3pPr marL="984250" indent="-257175">
              <a:defRPr sz="2600"/>
            </a:lvl3pPr>
            <a:lvl4pPr marL="1257300" indent="-273050">
              <a:defRPr sz="2400"/>
            </a:lvl4pPr>
            <a:lvl5pPr marL="1614488" indent="-325438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7725" y="1619250"/>
            <a:ext cx="4038600" cy="4525963"/>
          </a:xfrm>
        </p:spPr>
        <p:txBody>
          <a:bodyPr/>
          <a:lstStyle>
            <a:lvl1pPr>
              <a:defRPr sz="3200"/>
            </a:lvl1pPr>
            <a:lvl2pPr marL="722313" indent="-274638">
              <a:defRPr sz="2800"/>
            </a:lvl2pPr>
            <a:lvl3pPr marL="1073150" indent="-346075">
              <a:defRPr sz="2600"/>
            </a:lvl3pPr>
            <a:lvl4pPr marL="1257300" indent="-273050">
              <a:defRPr sz="2400"/>
            </a:lvl4pPr>
            <a:lvl5pPr marL="1617663" indent="-360363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998E87-D384-4FBA-8F8A-42D0A546BBD2}" type="datetime1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E8FB195-12F4-4663-A284-C7BCFA03AE5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4954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8600" cy="4525963"/>
          </a:xfrm>
        </p:spPr>
        <p:txBody>
          <a:bodyPr/>
          <a:lstStyle>
            <a:lvl1pPr>
              <a:defRPr sz="2800"/>
            </a:lvl1pPr>
            <a:lvl2pPr marL="720725" indent="-279400">
              <a:defRPr sz="2400"/>
            </a:lvl2pPr>
            <a:lvl3pPr marL="984250" indent="-257175">
              <a:defRPr sz="2000"/>
            </a:lvl3pPr>
            <a:lvl4pPr marL="1257300" indent="-273050">
              <a:defRPr sz="1800"/>
            </a:lvl4pPr>
            <a:lvl5pPr marL="1614488" indent="-325438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7725" y="1619250"/>
            <a:ext cx="4038600" cy="4525963"/>
          </a:xfrm>
        </p:spPr>
        <p:txBody>
          <a:bodyPr/>
          <a:lstStyle>
            <a:lvl1pPr>
              <a:defRPr sz="2800"/>
            </a:lvl1pPr>
            <a:lvl2pPr marL="722313" indent="-274638">
              <a:defRPr sz="2400"/>
            </a:lvl2pPr>
            <a:lvl3pPr marL="1073150" indent="-346075">
              <a:defRPr sz="2000"/>
            </a:lvl3pPr>
            <a:lvl4pPr marL="1257300" indent="-273050">
              <a:defRPr sz="1800"/>
            </a:lvl4pPr>
            <a:lvl5pPr marL="1617663" indent="-360363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BA03D00-2114-4019-A37C-563B5BEF3131}" type="datetime1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E8FB195-12F4-4663-A284-C7BCFA03AE5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317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8600" cy="4525963"/>
          </a:xfrm>
        </p:spPr>
        <p:txBody>
          <a:bodyPr/>
          <a:lstStyle>
            <a:lvl1pPr>
              <a:defRPr sz="2000"/>
            </a:lvl1pPr>
            <a:lvl2pPr marL="720725" indent="-279400">
              <a:defRPr sz="1800"/>
            </a:lvl2pPr>
            <a:lvl3pPr marL="984250" indent="-257175">
              <a:defRPr sz="1600"/>
            </a:lvl3pPr>
            <a:lvl4pPr marL="1257300" indent="-273050">
              <a:defRPr sz="1400"/>
            </a:lvl4pPr>
            <a:lvl5pPr marL="1614488" indent="-325438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7725" y="1619250"/>
            <a:ext cx="4038600" cy="4525963"/>
          </a:xfrm>
        </p:spPr>
        <p:txBody>
          <a:bodyPr/>
          <a:lstStyle>
            <a:lvl1pPr>
              <a:defRPr sz="2000"/>
            </a:lvl1pPr>
            <a:lvl2pPr marL="722313" indent="-274638">
              <a:defRPr sz="1800"/>
            </a:lvl2pPr>
            <a:lvl3pPr marL="1073150" indent="-346075">
              <a:defRPr sz="1600"/>
            </a:lvl3pPr>
            <a:lvl4pPr marL="1257300" indent="-273050">
              <a:defRPr sz="1400"/>
            </a:lvl4pPr>
            <a:lvl5pPr marL="1617663" indent="-360363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FFCA838-1FB0-4DBB-B938-65788D97E35E}" type="datetime1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E8FB195-12F4-4663-A284-C7BCFA03AE5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6869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172000D-B3DA-4A82-A883-53EBA429EB9D}" type="datetime1">
              <a:rPr lang="de-DE" smtClean="0"/>
              <a:t>25.04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AFD0203C-3C35-4409-9F56-744343BECB3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0839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F74BFB-4A9F-4C71-8FBF-66D5A5503332}" type="datetime1">
              <a:rPr lang="de-DE" smtClean="0"/>
              <a:t>25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1078AA9-F5EB-4AA0-8166-107B25AD3B3A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059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8FF2D74-450D-466B-8505-396D576E3425}" type="datetime1">
              <a:rPr lang="de-DE" smtClean="0"/>
              <a:t>25.04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070D71A4-CD6A-4202-8EE1-925E098AFA7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2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26876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268760"/>
            <a:ext cx="5111750" cy="485740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420888"/>
            <a:ext cx="3008313" cy="370527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DE0580F-5EF5-46E5-8BE2-5FFB92593621}" type="datetime1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80482EC2-2792-4440-99A4-1CB4833273E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5916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268759"/>
            <a:ext cx="5486400" cy="3458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F1843A-749C-4AF2-BA64-D9649BBD6CBE}" type="datetime1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6475B2E-3186-4E6D-813A-8CE0D29BE821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9855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88691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2117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folie dunkelgrau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178" name="Group 2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178179" name="Rectangle 3"/>
            <p:cNvSpPr>
              <a:spLocks noChangeAspect="1"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noProof="1"/>
            </a:p>
          </p:txBody>
        </p:sp>
        <p:pic>
          <p:nvPicPr>
            <p:cNvPr id="178180" name="Picture 4" descr="reg_logo_4c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7818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908175" y="1330325"/>
            <a:ext cx="6911975" cy="1377950"/>
          </a:xfrm>
        </p:spPr>
        <p:txBody>
          <a:bodyPr anchor="ctr"/>
          <a:lstStyle>
            <a:lvl1pPr>
              <a:lnSpc>
                <a:spcPct val="120000"/>
              </a:lnSpc>
              <a:defRPr sz="45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7818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908175" y="2997200"/>
            <a:ext cx="6911975" cy="4572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ct val="0"/>
              </a:spcBef>
              <a:buFont typeface="Wingdings" pitchFamily="2" charset="2"/>
              <a:buNone/>
              <a:defRPr sz="180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178183" name="Rectangle 7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0" y="1258888"/>
            <a:ext cx="1547813" cy="1547812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178187" name="Rectangle 11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27.08.2015</a:t>
            </a:r>
            <a:endParaRPr lang="de-DE" dirty="0"/>
          </a:p>
        </p:txBody>
      </p:sp>
      <p:sp>
        <p:nvSpPr>
          <p:cNvPr id="178188" name="Rectangle 12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178189" name="Rectangle 13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1E5229CD-7AB3-404C-A4C1-B5E897DC0C79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3014292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9876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90266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14150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9580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72810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7710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20054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91455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09075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folie dunkelgrau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4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3150" y="1255713"/>
            <a:ext cx="8064500" cy="1079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grpSp>
        <p:nvGrpSpPr>
          <p:cNvPr id="79876" name="Group 4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79877" name="Rectangle 5"/>
            <p:cNvSpPr>
              <a:spLocks noChangeAspect="1"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noProof="1"/>
            </a:p>
          </p:txBody>
        </p:sp>
        <p:pic>
          <p:nvPicPr>
            <p:cNvPr id="79878" name="Picture 6" descr="reg_logo_4c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987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366838" y="1366838"/>
            <a:ext cx="7319962" cy="849312"/>
          </a:xfrm>
        </p:spPr>
        <p:txBody>
          <a:bodyPr bIns="0" anchor="ctr"/>
          <a:lstStyle>
            <a:lvl1pPr>
              <a:defRPr sz="3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7988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366838" y="2517775"/>
            <a:ext cx="7319962" cy="4572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ct val="0"/>
              </a:spcBef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79882" name="Picture 10" descr="Kinderbetreuu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733800"/>
            <a:ext cx="3657600" cy="274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883" name="Picture 11" descr="Spielplaetze (1)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3733800"/>
            <a:ext cx="4038600" cy="274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8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1258888"/>
            <a:ext cx="1079500" cy="1079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79888" name="Rectangle 16"/>
          <p:cNvSpPr>
            <a:spLocks noGrp="1" noChangeArrowheads="1"/>
          </p:cNvSpPr>
          <p:nvPr>
            <p:ph type="dt" sz="half" idx="2"/>
          </p:nvPr>
        </p:nvSpPr>
        <p:spPr>
          <a:xfrm>
            <a:off x="1295400" y="6588125"/>
            <a:ext cx="1104900" cy="1539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6D00D24-E6B1-4312-9C51-A3230A283BAE}" type="datetime1">
              <a:rPr lang="de-DE" smtClean="0"/>
              <a:t>25.04.2016</a:t>
            </a:fld>
            <a:endParaRPr lang="de-DE"/>
          </a:p>
        </p:txBody>
      </p:sp>
      <p:sp>
        <p:nvSpPr>
          <p:cNvPr id="79889" name="Rectangle 17"/>
          <p:cNvSpPr>
            <a:spLocks noGrp="1" noChangeArrowheads="1"/>
          </p:cNvSpPr>
          <p:nvPr>
            <p:ph type="ftr" sz="quarter" idx="3"/>
          </p:nvPr>
        </p:nvSpPr>
        <p:spPr>
          <a:xfrm>
            <a:off x="2590800" y="6588125"/>
            <a:ext cx="6084888" cy="1539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 </a:t>
            </a:r>
            <a:endParaRPr lang="de-DE" dirty="0"/>
          </a:p>
        </p:txBody>
      </p:sp>
      <p:sp>
        <p:nvSpPr>
          <p:cNvPr id="79890" name="Rectangle 18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66725" y="6588125"/>
            <a:ext cx="676275" cy="1539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16460CD0-2D74-48CA-8DAA-68FAD9E8B9E0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folie + Bild + 2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8" name="Picture 8" descr="DSC_074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38388"/>
            <a:ext cx="9144000" cy="4519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29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9500" y="2338388"/>
            <a:ext cx="8064500" cy="82708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grpSp>
        <p:nvGrpSpPr>
          <p:cNvPr id="56322" name="Group 2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56323" name="Rectangle 3"/>
            <p:cNvSpPr>
              <a:spLocks noChangeAspect="1"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noProof="1"/>
            </a:p>
          </p:txBody>
        </p:sp>
        <p:pic>
          <p:nvPicPr>
            <p:cNvPr id="56324" name="Picture 4" descr="reg_logo_4c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63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366838" y="1366838"/>
            <a:ext cx="7319962" cy="849312"/>
          </a:xfrm>
        </p:spPr>
        <p:txBody>
          <a:bodyPr anchor="ctr"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6838" y="2517775"/>
            <a:ext cx="7319962" cy="4572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ct val="0"/>
              </a:spcBef>
              <a:buFont typeface="Wingdings" pitchFamily="2" charset="2"/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56327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258888"/>
            <a:ext cx="1079500" cy="10795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56330" name="Rectangle 10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3C054D5-B2E8-469C-AF60-AAF8B5B47339}" type="datetime1">
              <a:rPr lang="de-DE" smtClean="0"/>
              <a:t>25.04.2016</a:t>
            </a:fld>
            <a:endParaRPr lang="de-DE"/>
          </a:p>
        </p:txBody>
      </p:sp>
      <p:sp>
        <p:nvSpPr>
          <p:cNvPr id="56331" name="Rectangle 11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56332" name="Rectangle 12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F71431ED-C9DC-4144-9395-72772C097CF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6310236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2E1D00A-31A5-4132-A2EF-D709FE5FCC47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026F17AC-BDC7-43A6-8857-FED7D3A6F1B8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3585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A508A42-BF26-4D55-90E4-2C2A0661AB90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D7372A1-0D71-496B-8A26-5E3EACFB5271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0244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bIns="165600"/>
          <a:lstStyle>
            <a:lvl1pPr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 marL="809625" indent="-280988">
              <a:defRPr sz="1800"/>
            </a:lvl2pPr>
            <a:lvl3pPr marL="1073150" indent="-258763">
              <a:defRPr sz="1600"/>
            </a:lvl3pPr>
            <a:lvl4pPr marL="1344613" indent="-273050">
              <a:defRPr sz="1400"/>
            </a:lvl4pPr>
            <a:lvl5pPr marL="1617663" indent="-241300">
              <a:defRPr sz="12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E2EABFB-CC59-47D3-80AD-4BCC35030470}" type="datetime1">
              <a:rPr lang="de-DE" smtClean="0"/>
              <a:t>25.04.2016</a:t>
            </a:fld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3091A60-0177-46DA-9229-1BD45E726AA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612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63A2C-DB1F-4674-AFBB-8B8336B5AEB9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06E22D36-CAB2-44CD-B98B-6DEA249E24F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3761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63A2C-DB1F-4674-AFBB-8B8336B5AEB9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06E22D36-CAB2-44CD-B98B-6DEA249E24F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15589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8600" cy="4525963"/>
          </a:xfrm>
        </p:spPr>
        <p:txBody>
          <a:bodyPr/>
          <a:lstStyle>
            <a:lvl1pPr>
              <a:defRPr sz="3200"/>
            </a:lvl1pPr>
            <a:lvl2pPr marL="720725" indent="-279400">
              <a:defRPr sz="2800"/>
            </a:lvl2pPr>
            <a:lvl3pPr marL="984250" indent="-257175">
              <a:defRPr sz="2600"/>
            </a:lvl3pPr>
            <a:lvl4pPr marL="1257300" indent="-273050">
              <a:defRPr sz="2400"/>
            </a:lvl4pPr>
            <a:lvl5pPr marL="1614488" indent="-325438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7725" y="1619250"/>
            <a:ext cx="4038600" cy="4525963"/>
          </a:xfrm>
        </p:spPr>
        <p:txBody>
          <a:bodyPr/>
          <a:lstStyle>
            <a:lvl1pPr>
              <a:defRPr sz="3200"/>
            </a:lvl1pPr>
            <a:lvl2pPr marL="722313" indent="-274638">
              <a:defRPr sz="2800"/>
            </a:lvl2pPr>
            <a:lvl3pPr marL="1073150" indent="-346075">
              <a:defRPr sz="2600"/>
            </a:lvl3pPr>
            <a:lvl4pPr marL="1257300" indent="-273050">
              <a:defRPr sz="2400"/>
            </a:lvl4pPr>
            <a:lvl5pPr marL="1617663" indent="-360363"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289FE32-971D-43CA-8005-92FE02121A55}" type="datetime1">
              <a:rPr lang="de-DE" smtClean="0"/>
              <a:t>25.04.2016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E8FB195-12F4-4663-A284-C7BCFA03AE5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566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8600" cy="4525963"/>
          </a:xfrm>
        </p:spPr>
        <p:txBody>
          <a:bodyPr/>
          <a:lstStyle>
            <a:lvl1pPr>
              <a:defRPr sz="2800"/>
            </a:lvl1pPr>
            <a:lvl2pPr marL="720725" indent="-279400">
              <a:defRPr sz="2400"/>
            </a:lvl2pPr>
            <a:lvl3pPr marL="984250" indent="-257175">
              <a:defRPr sz="2000"/>
            </a:lvl3pPr>
            <a:lvl4pPr marL="1257300" indent="-273050">
              <a:defRPr sz="1800"/>
            </a:lvl4pPr>
            <a:lvl5pPr marL="1614488" indent="-325438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7725" y="1619250"/>
            <a:ext cx="4038600" cy="4525963"/>
          </a:xfrm>
        </p:spPr>
        <p:txBody>
          <a:bodyPr/>
          <a:lstStyle>
            <a:lvl1pPr>
              <a:defRPr sz="2800"/>
            </a:lvl1pPr>
            <a:lvl2pPr marL="722313" indent="-274638">
              <a:defRPr sz="2400"/>
            </a:lvl2pPr>
            <a:lvl3pPr marL="1073150" indent="-346075">
              <a:defRPr sz="2000"/>
            </a:lvl3pPr>
            <a:lvl4pPr marL="1257300" indent="-273050">
              <a:defRPr sz="1800"/>
            </a:lvl4pPr>
            <a:lvl5pPr marL="1617663" indent="-360363"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9D1263F-75D8-42ED-97A8-132B2F37745A}" type="datetime1">
              <a:rPr lang="de-DE" smtClean="0"/>
              <a:t>25.04.2016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E8FB195-12F4-4663-A284-C7BCFA03AE5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5771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8600" cy="4525963"/>
          </a:xfrm>
        </p:spPr>
        <p:txBody>
          <a:bodyPr/>
          <a:lstStyle>
            <a:lvl1pPr>
              <a:defRPr sz="2000"/>
            </a:lvl1pPr>
            <a:lvl2pPr marL="720725" indent="-279400">
              <a:defRPr sz="1800"/>
            </a:lvl2pPr>
            <a:lvl3pPr marL="984250" indent="-257175">
              <a:defRPr sz="1600"/>
            </a:lvl3pPr>
            <a:lvl4pPr marL="1257300" indent="-273050">
              <a:defRPr sz="1400"/>
            </a:lvl4pPr>
            <a:lvl5pPr marL="1614488" indent="-325438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7725" y="1619250"/>
            <a:ext cx="4038600" cy="4525963"/>
          </a:xfrm>
        </p:spPr>
        <p:txBody>
          <a:bodyPr/>
          <a:lstStyle>
            <a:lvl1pPr>
              <a:defRPr sz="2000"/>
            </a:lvl1pPr>
            <a:lvl2pPr marL="722313" indent="-274638">
              <a:defRPr sz="1800"/>
            </a:lvl2pPr>
            <a:lvl3pPr marL="1073150" indent="-346075">
              <a:defRPr sz="1600"/>
            </a:lvl3pPr>
            <a:lvl4pPr marL="1257300" indent="-273050">
              <a:defRPr sz="1400"/>
            </a:lvl4pPr>
            <a:lvl5pPr marL="1617663" indent="-360363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9581F49-6683-40A8-8B1D-EA8524766F73}" type="datetime1">
              <a:rPr lang="de-DE" smtClean="0"/>
              <a:t>25.04.2016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E8FB195-12F4-4663-A284-C7BCFA03AE5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360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D3FE9D8-0009-47E3-9D91-113DC8E94A3C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EF9CF4E-47ED-40EC-AC3E-EC32680F31E5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7190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63A2C-DB1F-4674-AFBB-8B8336B5AEB9}" type="datetime1">
              <a:rPr lang="de-DE" smtClean="0"/>
              <a:t>25.04.2016</a:t>
            </a:fld>
            <a:endParaRPr lang="de-DE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Daniela Long, OWHC Regional Secretariat North-West Europe, Regensburg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06E22D36-CAB2-44CD-B98B-6DEA249E24F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3286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folie + Bild + 1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56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3150" y="1255713"/>
            <a:ext cx="8064500" cy="1079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pic>
        <p:nvPicPr>
          <p:cNvPr id="31755" name="Picture 11" descr="Steinerne Brücke-Dom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001"/>
          <a:stretch>
            <a:fillRect/>
          </a:stretch>
        </p:blipFill>
        <p:spPr bwMode="auto">
          <a:xfrm>
            <a:off x="-15875" y="2339975"/>
            <a:ext cx="9159875" cy="4518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746" name="Group 2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31747" name="Rectangle 3"/>
            <p:cNvSpPr>
              <a:spLocks noChangeAspect="1"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noProof="1"/>
            </a:p>
          </p:txBody>
        </p:sp>
        <p:pic>
          <p:nvPicPr>
            <p:cNvPr id="31748" name="Picture 4" descr="reg_logo_4c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1749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366838" y="1366838"/>
            <a:ext cx="7319962" cy="477837"/>
          </a:xfrm>
        </p:spPr>
        <p:txBody>
          <a:bodyPr bIns="0" anchor="t"/>
          <a:lstStyle>
            <a:lvl1pPr>
              <a:defRPr sz="3300" b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31751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258888"/>
            <a:ext cx="1079500" cy="10795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70013" y="1914525"/>
            <a:ext cx="7319962" cy="446088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31760" name="Rectangle 16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27.08.2015</a:t>
            </a:r>
            <a:endParaRPr lang="de-DE" dirty="0"/>
          </a:p>
        </p:txBody>
      </p:sp>
      <p:sp>
        <p:nvSpPr>
          <p:cNvPr id="31761" name="Rectangle 17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31762" name="Rectangle 18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7E12CFC1-3D9F-4B35-86D8-34C921096EDD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9915151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469FF2F-C6C3-46BC-8EF7-06E688BB1E01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882CD1CF-7BC9-4124-8DA9-CA0FB2BD284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170506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9FCC411-7F4D-4DD8-BC4C-F91A92C8F4D4}" type="datetime1">
              <a:rPr lang="de-DE" smtClean="0"/>
              <a:t>25.04.2016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79D30790-C09E-44C9-9CEE-7F31778F4F1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21807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340768"/>
            <a:ext cx="3008313" cy="1162050"/>
          </a:xfrm>
        </p:spPr>
        <p:txBody>
          <a:bodyPr/>
          <a:lstStyle>
            <a:lvl1pPr algn="l">
              <a:defRPr sz="2000" b="1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340768"/>
            <a:ext cx="5111750" cy="478539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2492896"/>
            <a:ext cx="3008313" cy="363326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82B9CAA-1DB2-465A-8B96-D0309DD05961}" type="datetime1">
              <a:rPr lang="de-DE" smtClean="0"/>
              <a:t>25.04.2016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6E69FB0-4C1F-4D8D-8E3F-B52B683D24A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0942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268759"/>
            <a:ext cx="5486400" cy="3458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319A90A-8CD7-4DBF-BEA7-84BC5A64A29F}" type="datetime1">
              <a:rPr lang="de-DE" smtClean="0"/>
              <a:t>25.04.2016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942807E0-42E4-4633-8342-5442F7C1F6F0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318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folie hellgrau +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4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3150" y="1255713"/>
            <a:ext cx="8064500" cy="10795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wrap="none" lIns="0" tIns="0" rIns="0" bIns="0" anchor="ctr"/>
          <a:lstStyle/>
          <a:p>
            <a:endParaRPr lang="de-DE"/>
          </a:p>
        </p:txBody>
      </p:sp>
      <p:grpSp>
        <p:nvGrpSpPr>
          <p:cNvPr id="79876" name="Group 4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79877" name="Rectangle 5"/>
            <p:cNvSpPr>
              <a:spLocks noChangeAspect="1" noChangeArrowheads="1"/>
            </p:cNvSpPr>
            <p:nvPr userDrawn="1">
              <p:custDataLst>
                <p:tags r:id="rId3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noProof="1"/>
            </a:p>
          </p:txBody>
        </p:sp>
        <p:pic>
          <p:nvPicPr>
            <p:cNvPr id="79878" name="Picture 6" descr="reg_logo_4c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987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366838" y="1366838"/>
            <a:ext cx="7319962" cy="849312"/>
          </a:xfrm>
        </p:spPr>
        <p:txBody>
          <a:bodyPr bIns="0" anchor="ctr"/>
          <a:lstStyle>
            <a:lvl1pPr>
              <a:defRPr sz="3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7988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366838" y="2517775"/>
            <a:ext cx="7319962" cy="457200"/>
          </a:xfrm>
        </p:spPr>
        <p:txBody>
          <a:bodyPr/>
          <a:lstStyle>
            <a:lvl1pPr marL="0" indent="0">
              <a:lnSpc>
                <a:spcPts val="2400"/>
              </a:lnSpc>
              <a:spcBef>
                <a:spcPct val="0"/>
              </a:spcBef>
              <a:buFont typeface="Wingdings" pitchFamily="2" charset="2"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79882" name="Picture 10" descr="Kinderbetreuu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733800"/>
            <a:ext cx="3657600" cy="274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883" name="Picture 11" descr="Spielplaetze (1)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3733800"/>
            <a:ext cx="4038600" cy="2744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888" name="Rectangle 16"/>
          <p:cNvSpPr>
            <a:spLocks noGrp="1" noChangeArrowheads="1"/>
          </p:cNvSpPr>
          <p:nvPr>
            <p:ph type="dt" sz="half" idx="2"/>
          </p:nvPr>
        </p:nvSpPr>
        <p:spPr>
          <a:xfrm>
            <a:off x="1295400" y="6588125"/>
            <a:ext cx="1104900" cy="1539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041B79-4C9D-4BEE-A9BE-81D0A5532884}" type="datetime1">
              <a:rPr lang="de-DE" smtClean="0"/>
              <a:t>25.04.2016</a:t>
            </a:fld>
            <a:endParaRPr lang="de-DE"/>
          </a:p>
        </p:txBody>
      </p:sp>
      <p:sp>
        <p:nvSpPr>
          <p:cNvPr id="79889" name="Rectangle 17"/>
          <p:cNvSpPr>
            <a:spLocks noGrp="1" noChangeArrowheads="1"/>
          </p:cNvSpPr>
          <p:nvPr>
            <p:ph type="ftr" sz="quarter" idx="3"/>
          </p:nvPr>
        </p:nvSpPr>
        <p:spPr>
          <a:xfrm>
            <a:off x="2590800" y="6588125"/>
            <a:ext cx="6084888" cy="1539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Planungs- und Baureferentin Christine Schimpfermann</a:t>
            </a:r>
            <a:endParaRPr lang="de-DE"/>
          </a:p>
        </p:txBody>
      </p:sp>
      <p:sp>
        <p:nvSpPr>
          <p:cNvPr id="79890" name="Rectangle 18"/>
          <p:cNvSpPr>
            <a:spLocks noGrp="1" noChangeArrowheads="1"/>
          </p:cNvSpPr>
          <p:nvPr>
            <p:ph type="sldNum" sz="quarter" idx="4"/>
          </p:nvPr>
        </p:nvSpPr>
        <p:spPr>
          <a:xfrm>
            <a:off x="466725" y="6588125"/>
            <a:ext cx="676275" cy="1539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Seite </a:t>
            </a:r>
            <a:fld id="{16460CD0-2D74-48CA-8DAA-68FAD9E8B9E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98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1258888"/>
            <a:ext cx="1079500" cy="10795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049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A631425-95C5-48D0-ADB2-F4610C0A0705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026F17AC-BDC7-43A6-8857-FED7D3A6F1B8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9231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bIns="165600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FBE1EFD-D0FB-41FA-B3BD-6F5FD062CAAD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1D7372A1-0D71-496B-8A26-5E3EACFB5271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5276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bIns="1656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 marL="809625" indent="-280988">
              <a:defRPr sz="1800"/>
            </a:lvl2pPr>
            <a:lvl3pPr marL="1073150" indent="-258763">
              <a:defRPr sz="1600"/>
            </a:lvl3pPr>
            <a:lvl4pPr marL="1344613" indent="-273050">
              <a:defRPr sz="1400"/>
            </a:lvl4pPr>
            <a:lvl5pPr marL="1617663" indent="-241300">
              <a:defRPr sz="12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1B0B212-94BA-4A58-A88E-D70EABBC823C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53091A60-0177-46DA-9229-1BD45E726AAE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4532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6F4CB2C-7828-45FB-AF7F-3B95830E0366}" type="datetime1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Seite </a:t>
            </a:r>
            <a:fld id="{39037846-D675-4CCD-877C-4DAC407F4BB3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2724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90" name="Group 2"/>
          <p:cNvGrpSpPr>
            <a:grpSpLocks/>
          </p:cNvGrpSpPr>
          <p:nvPr/>
        </p:nvGrpSpPr>
        <p:grpSpPr bwMode="auto">
          <a:xfrm>
            <a:off x="-1279" y="-3411"/>
            <a:ext cx="9144000" cy="1257300"/>
            <a:chOff x="0" y="0"/>
            <a:chExt cx="5760" cy="792"/>
          </a:xfrm>
        </p:grpSpPr>
        <p:sp>
          <p:nvSpPr>
            <p:cNvPr id="12291" name="Rectangle 3"/>
            <p:cNvSpPr>
              <a:spLocks noChangeAspect="1" noChangeArrowheads="1"/>
            </p:cNvSpPr>
            <p:nvPr userDrawn="1">
              <p:custDataLst>
                <p:tags r:id="rId19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sz="3600" noProof="1">
                <a:solidFill>
                  <a:schemeClr val="tx2"/>
                </a:solidFill>
              </a:endParaRPr>
            </a:p>
          </p:txBody>
        </p:sp>
        <p:pic>
          <p:nvPicPr>
            <p:cNvPr id="12292" name="Picture 4" descr="reg_logo_4c"/>
            <p:cNvPicPr>
              <a:picLocks noChangeAspect="1" noChangeArrowheads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29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319088"/>
            <a:ext cx="639445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656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5" y="161925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95400" y="6477000"/>
            <a:ext cx="11049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BF9455C5-EA5A-44F8-AEAC-27E1FA0E4A82}" type="datetime1">
              <a:rPr lang="de-DE" smtClean="0"/>
              <a:t>25.04.2016</a:t>
            </a:fld>
            <a:endParaRPr lang="de-DE"/>
          </a:p>
        </p:txBody>
      </p:sp>
      <p:sp>
        <p:nvSpPr>
          <p:cNvPr id="12296" name="Rectangle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90800" y="6477000"/>
            <a:ext cx="6084888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12297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477000"/>
            <a:ext cx="676275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ite </a:t>
            </a:r>
            <a:fld id="{C63D8A36-1079-4656-8879-B3A78A6A26F1}" type="slidenum">
              <a:rPr lang="de-DE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720" r:id="rId2"/>
    <p:sldLayoutId id="2147483713" r:id="rId3"/>
    <p:sldLayoutId id="2147483717" r:id="rId4"/>
    <p:sldLayoutId id="2147483721" r:id="rId5"/>
    <p:sldLayoutId id="2147483663" r:id="rId6"/>
    <p:sldLayoutId id="2147483714" r:id="rId7"/>
    <p:sldLayoutId id="2147483718" r:id="rId8"/>
    <p:sldLayoutId id="2147483664" r:id="rId9"/>
    <p:sldLayoutId id="2147483715" r:id="rId10"/>
    <p:sldLayoutId id="2147483716" r:id="rId11"/>
    <p:sldLayoutId id="2147483719" r:id="rId12"/>
    <p:sldLayoutId id="2147483666" r:id="rId13"/>
    <p:sldLayoutId id="2147483667" r:id="rId14"/>
    <p:sldLayoutId id="2147483668" r:id="rId15"/>
    <p:sldLayoutId id="2147483669" r:id="rId16"/>
    <p:sldLayoutId id="2147483670" r:id="rId17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4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</a:defRPr>
      </a:lvl9pPr>
    </p:titleStyle>
    <p:bodyStyle>
      <a:lvl1pPr marL="438150" indent="-438150" algn="l" rtl="0" eaLnBrk="1" fontAlgn="base" hangingPunct="1">
        <a:spcBef>
          <a:spcPct val="5000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1074738" indent="-457200" algn="l" rtl="0" eaLnBrk="1" fontAlgn="base" hangingPunct="1">
        <a:spcBef>
          <a:spcPct val="10000"/>
        </a:spcBef>
        <a:spcAft>
          <a:spcPct val="0"/>
        </a:spcAft>
        <a:buClr>
          <a:srgbClr val="333333"/>
        </a:buClr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1700213" indent="-4460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600">
          <a:solidFill>
            <a:schemeClr val="tx1"/>
          </a:solidFill>
          <a:latin typeface="+mn-lt"/>
        </a:defRPr>
      </a:lvl3pPr>
      <a:lvl4pPr marL="2244725" indent="-365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</a:defRPr>
      </a:lvl4pPr>
      <a:lvl5pPr marL="2749550" indent="-32543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3206750" indent="-32543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3663950" indent="-32543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4121150" indent="-32543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4578350" indent="-32543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D99AA3-D37F-4DE6-A020-A97B45393B6A}" type="datetimeFigureOut">
              <a:rPr lang="de-DE" smtClean="0"/>
              <a:t>25.04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F41B4D-DF3E-43FA-AED7-1DB7B0E718A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873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850" name="Group 2"/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78851" name="Rectangle 3"/>
            <p:cNvSpPr>
              <a:spLocks noChangeAspect="1" noChangeArrowheads="1"/>
            </p:cNvSpPr>
            <p:nvPr userDrawn="1">
              <p:custDataLst>
                <p:tags r:id="rId17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270000" tIns="0" rIns="2340000" bIns="165600" anchor="b"/>
            <a:lstStyle/>
            <a:p>
              <a:endParaRPr lang="de-DE" sz="2000" b="1" noProof="1">
                <a:solidFill>
                  <a:schemeClr val="bg1"/>
                </a:solidFill>
              </a:endParaRPr>
            </a:p>
          </p:txBody>
        </p:sp>
        <p:pic>
          <p:nvPicPr>
            <p:cNvPr id="78852" name="Picture 4" descr="reg_logo_4c"/>
            <p:cNvPicPr>
              <a:picLocks noChangeAspect="1" noChangeArrowheads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88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304800"/>
            <a:ext cx="639445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656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78854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95400" y="6477000"/>
            <a:ext cx="11049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fld id="{33163A2C-DB1F-4674-AFBB-8B8336B5AEB9}" type="datetime1">
              <a:rPr lang="de-DE" smtClean="0"/>
              <a:t>25.04.2016</a:t>
            </a:fld>
            <a:endParaRPr lang="de-DE"/>
          </a:p>
        </p:txBody>
      </p:sp>
      <p:sp>
        <p:nvSpPr>
          <p:cNvPr id="78855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90800" y="6477000"/>
            <a:ext cx="6084888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Daniela Long, 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, Regensburg</a:t>
            </a:r>
            <a:endParaRPr lang="de-DE" dirty="0"/>
          </a:p>
        </p:txBody>
      </p:sp>
      <p:sp>
        <p:nvSpPr>
          <p:cNvPr id="7885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477000"/>
            <a:ext cx="676275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Seite </a:t>
            </a:r>
            <a:fld id="{06E22D36-CAB2-44CD-B98B-6DEA249E24F0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7885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5" y="161925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60" r:id="rId1"/>
    <p:sldLayoutId id="2147483733" r:id="rId2"/>
    <p:sldLayoutId id="2147483734" r:id="rId3"/>
    <p:sldLayoutId id="2147483735" r:id="rId4"/>
    <p:sldLayoutId id="2147483749" r:id="rId5"/>
    <p:sldLayoutId id="2147483748" r:id="rId6"/>
    <p:sldLayoutId id="2147483730" r:id="rId7"/>
    <p:sldLayoutId id="2147483731" r:id="rId8"/>
    <p:sldLayoutId id="2147483732" r:id="rId9"/>
    <p:sldLayoutId id="2147483694" r:id="rId10"/>
    <p:sldLayoutId id="2147483696" r:id="rId11"/>
    <p:sldLayoutId id="2147483697" r:id="rId12"/>
    <p:sldLayoutId id="2147483698" r:id="rId13"/>
    <p:sldLayoutId id="2147483699" r:id="rId14"/>
    <p:sldLayoutId id="2147483700" r:id="rId15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857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8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8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8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8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8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  <p:hf hdr="0" dt="0"/>
  <p:txStyles>
    <p:titleStyle>
      <a:lvl1pPr algn="l" rtl="0" fontAlgn="base">
        <a:spcBef>
          <a:spcPct val="0"/>
        </a:spcBef>
        <a:spcAft>
          <a:spcPct val="0"/>
        </a:spcAft>
        <a:defRPr sz="3600" b="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438150" indent="-438150" algn="l" rtl="0" fontAlgn="base">
        <a:spcBef>
          <a:spcPct val="50000"/>
        </a:spcBef>
        <a:spcAft>
          <a:spcPct val="20000"/>
        </a:spcAft>
        <a:buClr>
          <a:schemeClr val="accent2"/>
        </a:buClr>
        <a:buFont typeface="Wingdings" pitchFamily="2" charset="2"/>
        <a:buChar char="§"/>
        <a:defRPr sz="3200">
          <a:solidFill>
            <a:schemeClr val="bg2"/>
          </a:solidFill>
          <a:latin typeface="+mn-lt"/>
          <a:ea typeface="+mn-ea"/>
          <a:cs typeface="+mn-cs"/>
        </a:defRPr>
      </a:lvl1pPr>
      <a:lvl2pPr marL="1074738" indent="-457200" algn="l" rtl="0" fontAlgn="base">
        <a:spcBef>
          <a:spcPct val="10000"/>
        </a:spcBef>
        <a:spcAft>
          <a:spcPct val="0"/>
        </a:spcAft>
        <a:buClr>
          <a:schemeClr val="accent3"/>
        </a:buClr>
        <a:buFont typeface="Wingdings" pitchFamily="2" charset="2"/>
        <a:buChar char="§"/>
        <a:defRPr sz="2800">
          <a:solidFill>
            <a:schemeClr val="bg2"/>
          </a:solidFill>
          <a:latin typeface="+mn-lt"/>
        </a:defRPr>
      </a:lvl2pPr>
      <a:lvl3pPr marL="1700213" indent="-446088" algn="l" rtl="0" fontAlgn="base">
        <a:spcBef>
          <a:spcPct val="20000"/>
        </a:spcBef>
        <a:spcAft>
          <a:spcPct val="0"/>
        </a:spcAft>
        <a:buClr>
          <a:srgbClr val="FFFFFF"/>
        </a:buClr>
        <a:buFont typeface="Wingdings" pitchFamily="2" charset="2"/>
        <a:buChar char="§"/>
        <a:defRPr sz="2600">
          <a:solidFill>
            <a:schemeClr val="bg2"/>
          </a:solidFill>
          <a:latin typeface="+mn-lt"/>
        </a:defRPr>
      </a:lvl3pPr>
      <a:lvl4pPr marL="2244725" indent="-365125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2400">
          <a:solidFill>
            <a:schemeClr val="bg2"/>
          </a:solidFill>
          <a:latin typeface="+mn-lt"/>
        </a:defRPr>
      </a:lvl4pPr>
      <a:lvl5pPr marL="2749550" indent="-325438" algn="l" rtl="0" fontAlgn="base">
        <a:spcBef>
          <a:spcPct val="20000"/>
        </a:spcBef>
        <a:spcAft>
          <a:spcPct val="0"/>
        </a:spcAft>
        <a:buClr>
          <a:schemeClr val="accent3"/>
        </a:buClr>
        <a:buFont typeface="Wingdings" pitchFamily="2" charset="2"/>
        <a:buChar char="§"/>
        <a:defRPr sz="2000">
          <a:solidFill>
            <a:schemeClr val="bg2"/>
          </a:solidFill>
          <a:latin typeface="+mn-lt"/>
        </a:defRPr>
      </a:lvl5pPr>
      <a:lvl6pPr marL="3206750" indent="-325438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bg2"/>
          </a:solidFill>
          <a:latin typeface="+mn-lt"/>
        </a:defRPr>
      </a:lvl6pPr>
      <a:lvl7pPr marL="3663950" indent="-325438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bg2"/>
          </a:solidFill>
          <a:latin typeface="+mn-lt"/>
        </a:defRPr>
      </a:lvl7pPr>
      <a:lvl8pPr marL="4121150" indent="-325438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bg2"/>
          </a:solidFill>
          <a:latin typeface="+mn-lt"/>
        </a:defRPr>
      </a:lvl8pPr>
      <a:lvl9pPr marL="4578350" indent="-325438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bg2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oleObject" Target="../embeddings/oleObject1.bin"/><Relationship Id="rId4" Type="http://schemas.openxmlformats.org/officeDocument/2006/relationships/tags" Target="../tags/tag21.xml"/><Relationship Id="rId9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file:///\\GAMMA\Amt61\Welterbe\3_Netzwerkarbeit%20&amp;%20Wissenschaft_orange\36_Internationale%20Projekte\OWHC\PROJECTS\OWHC%20Film\Film%202014\FinalMovie\FBB_OWHC_Film_170715_1080p.mp4" TargetMode="External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4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11" descr="U:\Welterbe\2_Öffentlichkeitsarbeit_gelb\21_Fotos und Grafiken\10_Sonstige Fotos\Matthias Ripp\Regensburg DOM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4595813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7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42988" y="1258888"/>
            <a:ext cx="8101012" cy="1162000"/>
          </a:xfrm>
          <a:prstGeom prst="rect">
            <a:avLst/>
          </a:prstGeom>
          <a:solidFill>
            <a:schemeClr val="tx1">
              <a:lumMod val="60000"/>
              <a:lumOff val="40000"/>
              <a:alpha val="55000"/>
            </a:schemeClr>
          </a:solidFill>
          <a:ln>
            <a:noFill/>
          </a:ln>
        </p:spPr>
        <p:txBody>
          <a:bodyPr wrap="none" lIns="0" tIns="0" rIns="0" bIns="0" anchor="ctr"/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endParaRPr lang="en-US" altLang="de-DE" sz="1800">
              <a:solidFill>
                <a:srgbClr val="000000"/>
              </a:solidFill>
            </a:endParaRPr>
          </a:p>
        </p:txBody>
      </p:sp>
      <p:sp>
        <p:nvSpPr>
          <p:cNvPr id="11268" name="Rectangle 3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250825" y="260350"/>
            <a:ext cx="8893175" cy="97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70000" tIns="0" rIns="2340000" bIns="165600" anchor="b"/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ts val="2400"/>
              </a:lnSpc>
              <a:buClrTx/>
            </a:pPr>
            <a:endParaRPr lang="de-DE" altLang="de-DE" noProof="1">
              <a:solidFill>
                <a:srgbClr val="000000"/>
              </a:solidFill>
            </a:endParaRPr>
          </a:p>
        </p:txBody>
      </p:sp>
      <p:graphicFrame>
        <p:nvGraphicFramePr>
          <p:cNvPr id="11269" name="Rectangle 4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r:id="rId10" imgW="0" imgH="0" progId="TCLayout.ActiveDocument">
                  <p:embed/>
                </p:oleObj>
              </mc:Choice>
              <mc:Fallback>
                <p:oleObj r:id="rId10" imgW="0" imgH="0" progId="TCLayout.ActiveDocument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70" name="Rectangle 5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4697413" y="1354138"/>
            <a:ext cx="3978275" cy="1138758"/>
          </a:xfrm>
        </p:spPr>
        <p:txBody>
          <a:bodyPr/>
          <a:lstStyle/>
          <a:p>
            <a:pPr algn="ctr" eaLnBrk="1" hangingPunct="1"/>
            <a:r>
              <a:rPr lang="en-GB" altLang="de-DE" sz="1800" i="1" dirty="0" smtClean="0">
                <a:solidFill>
                  <a:schemeClr val="accent1"/>
                </a:solidFill>
              </a:rPr>
              <a:t>Organization of World Heritage Cities</a:t>
            </a:r>
            <a:r>
              <a:rPr lang="en-GB" altLang="de-DE" sz="1800" i="1" dirty="0" smtClean="0">
                <a:solidFill>
                  <a:schemeClr val="accent1"/>
                </a:solidFill>
              </a:rPr>
              <a:t/>
            </a:r>
            <a:br>
              <a:rPr lang="en-GB" altLang="de-DE" sz="1800" i="1" dirty="0" smtClean="0">
                <a:solidFill>
                  <a:schemeClr val="accent1"/>
                </a:solidFill>
              </a:rPr>
            </a:br>
            <a:r>
              <a:rPr lang="en-GB" altLang="de-DE" sz="1800" i="1" dirty="0" smtClean="0">
                <a:solidFill>
                  <a:schemeClr val="accent1"/>
                </a:solidFill>
              </a:rPr>
              <a:t/>
            </a:r>
            <a:br>
              <a:rPr lang="en-GB" altLang="de-DE" sz="1800" i="1" dirty="0" smtClean="0">
                <a:solidFill>
                  <a:schemeClr val="accent1"/>
                </a:solidFill>
              </a:rPr>
            </a:br>
            <a:r>
              <a:rPr lang="en-GB" altLang="de-DE" sz="1800" dirty="0" smtClean="0">
                <a:solidFill>
                  <a:schemeClr val="accent1"/>
                </a:solidFill>
              </a:rPr>
              <a:t>Conference in Vilnius</a:t>
            </a:r>
            <a:br>
              <a:rPr lang="en-GB" altLang="de-DE" sz="1800" dirty="0" smtClean="0">
                <a:solidFill>
                  <a:schemeClr val="accent1"/>
                </a:solidFill>
              </a:rPr>
            </a:br>
            <a:r>
              <a:rPr lang="en-GB" altLang="de-DE" sz="1800" dirty="0" smtClean="0">
                <a:solidFill>
                  <a:schemeClr val="accent1"/>
                </a:solidFill>
              </a:rPr>
              <a:t>April 27-28, 2016</a:t>
            </a:r>
            <a:endParaRPr lang="en-GB" altLang="de-DE" sz="1600" b="0" i="1" dirty="0" smtClean="0">
              <a:solidFill>
                <a:schemeClr val="accent1"/>
              </a:solidFill>
            </a:endParaRPr>
          </a:p>
        </p:txBody>
      </p:sp>
      <p:sp>
        <p:nvSpPr>
          <p:cNvPr id="11271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1258887"/>
            <a:ext cx="1042988" cy="1150161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endParaRPr lang="en-US" altLang="de-DE" sz="1800">
              <a:solidFill>
                <a:srgbClr val="000000"/>
              </a:solidFill>
            </a:endParaRPr>
          </a:p>
        </p:txBody>
      </p:sp>
      <p:sp>
        <p:nvSpPr>
          <p:cNvPr id="11272" name="Line 16"/>
          <p:cNvSpPr>
            <a:spLocks noChangeShapeType="1"/>
          </p:cNvSpPr>
          <p:nvPr/>
        </p:nvSpPr>
        <p:spPr bwMode="auto">
          <a:xfrm>
            <a:off x="1042988" y="0"/>
            <a:ext cx="30162" cy="6858000"/>
          </a:xfrm>
          <a:prstGeom prst="line">
            <a:avLst/>
          </a:prstGeom>
          <a:noFill/>
          <a:ln w="9525">
            <a:solidFill>
              <a:srgbClr val="EAEAEA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273" name="Text Box 29"/>
          <p:cNvSpPr txBox="1">
            <a:spLocks noChangeArrowheads="1"/>
          </p:cNvSpPr>
          <p:nvPr/>
        </p:nvSpPr>
        <p:spPr bwMode="auto">
          <a:xfrm>
            <a:off x="4572000" y="4077072"/>
            <a:ext cx="4572000" cy="16561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80000" rIns="180000" bIns="180000"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Tx/>
            </a:pPr>
            <a:endParaRPr lang="de-DE" altLang="de-DE" sz="1400" dirty="0" smtClean="0">
              <a:solidFill>
                <a:srgbClr val="999999"/>
              </a:solidFill>
            </a:endParaRPr>
          </a:p>
          <a:p>
            <a:pPr algn="ctr">
              <a:buClrTx/>
            </a:pPr>
            <a:r>
              <a:rPr lang="de-DE" altLang="de-DE" sz="1400" dirty="0" smtClean="0">
                <a:solidFill>
                  <a:srgbClr val="999999"/>
                </a:solidFill>
              </a:rPr>
              <a:t>Mr. Matthias Ripp</a:t>
            </a:r>
          </a:p>
          <a:p>
            <a:pPr algn="ctr">
              <a:buClrTx/>
            </a:pPr>
            <a:r>
              <a:rPr lang="de-DE" altLang="de-DE" sz="1400" dirty="0" smtClean="0">
                <a:solidFill>
                  <a:srgbClr val="999999"/>
                </a:solidFill>
              </a:rPr>
              <a:t>World Heritage </a:t>
            </a:r>
            <a:r>
              <a:rPr lang="de-DE" altLang="de-DE" sz="1400" dirty="0" err="1" smtClean="0">
                <a:solidFill>
                  <a:srgbClr val="999999"/>
                </a:solidFill>
              </a:rPr>
              <a:t>Coordination</a:t>
            </a:r>
            <a:endParaRPr lang="de-DE" altLang="de-DE" sz="1400" dirty="0" smtClean="0">
              <a:solidFill>
                <a:srgbClr val="999999"/>
              </a:solidFill>
            </a:endParaRPr>
          </a:p>
          <a:p>
            <a:pPr algn="ctr">
              <a:buClrTx/>
            </a:pPr>
            <a:r>
              <a:rPr lang="de-DE" altLang="de-DE" sz="1400" dirty="0" smtClean="0">
                <a:solidFill>
                  <a:srgbClr val="999999"/>
                </a:solidFill>
              </a:rPr>
              <a:t>City </a:t>
            </a:r>
            <a:r>
              <a:rPr lang="de-DE" altLang="de-DE" sz="1400" dirty="0" err="1" smtClean="0">
                <a:solidFill>
                  <a:srgbClr val="999999"/>
                </a:solidFill>
              </a:rPr>
              <a:t>of</a:t>
            </a:r>
            <a:r>
              <a:rPr lang="de-DE" altLang="de-DE" sz="1400" dirty="0" smtClean="0">
                <a:solidFill>
                  <a:srgbClr val="999999"/>
                </a:solidFill>
              </a:rPr>
              <a:t> Regensburg </a:t>
            </a:r>
            <a:endParaRPr lang="de-DE" altLang="de-DE" sz="1400" dirty="0">
              <a:solidFill>
                <a:srgbClr val="999999"/>
              </a:solidFill>
            </a:endParaRPr>
          </a:p>
          <a:p>
            <a:pPr algn="ctr">
              <a:buClrTx/>
            </a:pPr>
            <a:endParaRPr lang="de-DE" altLang="de-DE" sz="1400" dirty="0" smtClean="0">
              <a:solidFill>
                <a:srgbClr val="999999"/>
              </a:solidFill>
            </a:endParaRPr>
          </a:p>
          <a:p>
            <a:pPr algn="ctr">
              <a:buClrTx/>
            </a:pPr>
            <a:r>
              <a:rPr lang="de-DE" altLang="de-DE" sz="1400" dirty="0" smtClean="0">
                <a:solidFill>
                  <a:srgbClr val="999999"/>
                </a:solidFill>
              </a:rPr>
              <a:t>OWHC North-West Regional </a:t>
            </a:r>
            <a:r>
              <a:rPr lang="de-DE" altLang="de-DE" sz="1400" dirty="0" err="1" smtClean="0">
                <a:solidFill>
                  <a:srgbClr val="999999"/>
                </a:solidFill>
              </a:rPr>
              <a:t>Secretariat</a:t>
            </a:r>
            <a:endParaRPr lang="de-DE" altLang="de-DE" sz="1400" dirty="0">
              <a:solidFill>
                <a:srgbClr val="99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5948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9" name="Rechteck 2"/>
          <p:cNvSpPr>
            <a:spLocks noChangeArrowheads="1"/>
          </p:cNvSpPr>
          <p:nvPr/>
        </p:nvSpPr>
        <p:spPr bwMode="auto">
          <a:xfrm>
            <a:off x="971550" y="1700213"/>
            <a:ext cx="3313113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>
                <a:solidFill>
                  <a:srgbClr val="D00000"/>
                </a:solidFill>
              </a:rPr>
              <a:t>COMMUNICATION  INITIATIVE</a:t>
            </a:r>
          </a:p>
        </p:txBody>
      </p:sp>
      <p:pic>
        <p:nvPicPr>
          <p:cNvPr id="10" name="Grafik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163" y="2205038"/>
            <a:ext cx="2765425" cy="184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25"/>
          <p:cNvSpPr txBox="1">
            <a:spLocks noChangeArrowheads="1"/>
          </p:cNvSpPr>
          <p:nvPr/>
        </p:nvSpPr>
        <p:spPr bwMode="auto">
          <a:xfrm>
            <a:off x="1046163" y="3860800"/>
            <a:ext cx="10795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de-DE" altLang="de-DE" sz="800">
                <a:solidFill>
                  <a:schemeClr val="bg2"/>
                </a:solidFill>
              </a:rPr>
              <a:t>© Peter Ferstl</a:t>
            </a:r>
          </a:p>
        </p:txBody>
      </p:sp>
      <p:sp>
        <p:nvSpPr>
          <p:cNvPr id="12" name="Rechteck 2"/>
          <p:cNvSpPr>
            <a:spLocks noChangeArrowheads="1"/>
          </p:cNvSpPr>
          <p:nvPr/>
        </p:nvSpPr>
        <p:spPr bwMode="auto">
          <a:xfrm>
            <a:off x="4643438" y="2038350"/>
            <a:ext cx="1081087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/>
              <a:t>Exhibition</a:t>
            </a:r>
          </a:p>
        </p:txBody>
      </p:sp>
      <p:sp>
        <p:nvSpPr>
          <p:cNvPr id="13" name="Rechteck 2"/>
          <p:cNvSpPr>
            <a:spLocks noChangeArrowheads="1"/>
          </p:cNvSpPr>
          <p:nvPr/>
        </p:nvSpPr>
        <p:spPr bwMode="auto">
          <a:xfrm>
            <a:off x="4643438" y="2444750"/>
            <a:ext cx="352901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strengthens relationships between the World Heritage Cities members of the Regional Secretariat;</a:t>
            </a:r>
          </a:p>
          <a:p>
            <a:pPr eaLnBrk="1" hangingPunct="1">
              <a:buClrTx/>
            </a:pPr>
            <a:endParaRPr lang="en-US" altLang="de-DE" sz="12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communicates about the OWHC to a wide public</a:t>
            </a:r>
          </a:p>
        </p:txBody>
      </p:sp>
      <p:sp>
        <p:nvSpPr>
          <p:cNvPr id="14" name="Ellipse 13"/>
          <p:cNvSpPr/>
          <p:nvPr/>
        </p:nvSpPr>
        <p:spPr bwMode="auto">
          <a:xfrm>
            <a:off x="4565650" y="2209800"/>
            <a:ext cx="73025" cy="73025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tIns="180000" rIns="180000" bIns="180000" anchor="ctr">
            <a:spAutoFit/>
          </a:bodyPr>
          <a:lstStyle/>
          <a:p>
            <a:pPr eaLnBrk="0" hangingPunct="0">
              <a:defRPr/>
            </a:pPr>
            <a:endParaRPr lang="de-DE" sz="1800">
              <a:solidFill>
                <a:schemeClr val="tx1"/>
              </a:solidFill>
            </a:endParaRPr>
          </a:p>
        </p:txBody>
      </p:sp>
      <p:pic>
        <p:nvPicPr>
          <p:cNvPr id="15" name="Grafik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988" y="4164013"/>
            <a:ext cx="2767012" cy="207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hteck 2"/>
          <p:cNvSpPr>
            <a:spLocks noChangeArrowheads="1"/>
          </p:cNvSpPr>
          <p:nvPr/>
        </p:nvSpPr>
        <p:spPr bwMode="auto">
          <a:xfrm>
            <a:off x="4638675" y="4164013"/>
            <a:ext cx="1079500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/>
              <a:t>Brochure</a:t>
            </a:r>
          </a:p>
        </p:txBody>
      </p:sp>
      <p:sp>
        <p:nvSpPr>
          <p:cNvPr id="17" name="Rechteck 2"/>
          <p:cNvSpPr>
            <a:spLocks noChangeArrowheads="1"/>
          </p:cNvSpPr>
          <p:nvPr/>
        </p:nvSpPr>
        <p:spPr bwMode="auto">
          <a:xfrm>
            <a:off x="4637088" y="4570413"/>
            <a:ext cx="35290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rief summary of the exhibition in a smaller and easier-to-disseminate format</a:t>
            </a:r>
          </a:p>
        </p:txBody>
      </p:sp>
      <p:sp>
        <p:nvSpPr>
          <p:cNvPr id="18" name="Ellipse 17"/>
          <p:cNvSpPr/>
          <p:nvPr/>
        </p:nvSpPr>
        <p:spPr bwMode="auto">
          <a:xfrm>
            <a:off x="4560888" y="4335463"/>
            <a:ext cx="71437" cy="73025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tIns="180000" rIns="180000" bIns="180000" anchor="ctr">
            <a:spAutoFit/>
          </a:bodyPr>
          <a:lstStyle/>
          <a:p>
            <a:pPr eaLnBrk="0" hangingPunct="0">
              <a:defRPr/>
            </a:pPr>
            <a:endParaRPr lang="de-DE" sz="1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195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Rechteck 2"/>
          <p:cNvSpPr>
            <a:spLocks noChangeArrowheads="1"/>
          </p:cNvSpPr>
          <p:nvPr/>
        </p:nvSpPr>
        <p:spPr bwMode="auto">
          <a:xfrm>
            <a:off x="971550" y="1700213"/>
            <a:ext cx="3313113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>
                <a:solidFill>
                  <a:srgbClr val="D00000"/>
                </a:solidFill>
              </a:rPr>
              <a:t>SOLIDARITY INITIATIVE</a:t>
            </a:r>
          </a:p>
        </p:txBody>
      </p:sp>
      <p:sp>
        <p:nvSpPr>
          <p:cNvPr id="8" name="Rechteck 2"/>
          <p:cNvSpPr>
            <a:spLocks noChangeArrowheads="1"/>
          </p:cNvSpPr>
          <p:nvPr/>
        </p:nvSpPr>
        <p:spPr bwMode="auto">
          <a:xfrm>
            <a:off x="1193800" y="4437063"/>
            <a:ext cx="2519363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/>
              <a:t>City to city visits</a:t>
            </a:r>
          </a:p>
        </p:txBody>
      </p:sp>
      <p:sp>
        <p:nvSpPr>
          <p:cNvPr id="9" name="Rechteck 2"/>
          <p:cNvSpPr>
            <a:spLocks noChangeArrowheads="1"/>
          </p:cNvSpPr>
          <p:nvPr/>
        </p:nvSpPr>
        <p:spPr bwMode="auto">
          <a:xfrm>
            <a:off x="971550" y="4008438"/>
            <a:ext cx="29511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Increase in exchange of experience between the member cities</a:t>
            </a:r>
          </a:p>
        </p:txBody>
      </p:sp>
      <p:sp>
        <p:nvSpPr>
          <p:cNvPr id="10" name="Ellipse 9"/>
          <p:cNvSpPr/>
          <p:nvPr/>
        </p:nvSpPr>
        <p:spPr bwMode="auto">
          <a:xfrm>
            <a:off x="1116013" y="4608513"/>
            <a:ext cx="71437" cy="73025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tIns="180000" rIns="180000" bIns="180000" anchor="ctr">
            <a:spAutoFit/>
          </a:bodyPr>
          <a:lstStyle/>
          <a:p>
            <a:pPr eaLnBrk="0" hangingPunct="0">
              <a:defRPr/>
            </a:pPr>
            <a:endParaRPr lang="de-DE" sz="1800">
              <a:solidFill>
                <a:schemeClr val="tx1"/>
              </a:solidFill>
            </a:endParaRPr>
          </a:p>
        </p:txBody>
      </p:sp>
      <p:sp>
        <p:nvSpPr>
          <p:cNvPr id="11" name="Rechteck 2"/>
          <p:cNvSpPr>
            <a:spLocks noChangeArrowheads="1"/>
          </p:cNvSpPr>
          <p:nvPr/>
        </p:nvSpPr>
        <p:spPr bwMode="auto">
          <a:xfrm>
            <a:off x="1187450" y="4797425"/>
            <a:ext cx="3097213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algn="just"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The City of Regensburg organized three city-to-city visits in 2012, with Vienna, Wismar and </a:t>
            </a:r>
            <a:r>
              <a:rPr lang="en-US" altLang="de-DE" sz="12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Český</a:t>
            </a: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en-US" altLang="de-DE" sz="12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Krumlov</a:t>
            </a: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. Such issues as management structures, the use of historic buildings, design regulations, the role of the visitor center were analyzed and discussed</a:t>
            </a:r>
          </a:p>
        </p:txBody>
      </p:sp>
      <p:sp>
        <p:nvSpPr>
          <p:cNvPr id="12" name="Rechteck 2"/>
          <p:cNvSpPr>
            <a:spLocks noChangeArrowheads="1"/>
          </p:cNvSpPr>
          <p:nvPr/>
        </p:nvSpPr>
        <p:spPr bwMode="auto">
          <a:xfrm>
            <a:off x="6794500" y="3619500"/>
            <a:ext cx="2065338" cy="156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The paper refers to the World Heritage and its management. A broader version with a European point of view is in progress and will be published within the Regional Secretariat.</a:t>
            </a:r>
          </a:p>
        </p:txBody>
      </p:sp>
      <p:sp>
        <p:nvSpPr>
          <p:cNvPr id="13" name="Ellipse 12"/>
          <p:cNvSpPr/>
          <p:nvPr/>
        </p:nvSpPr>
        <p:spPr bwMode="auto">
          <a:xfrm>
            <a:off x="6716713" y="3384550"/>
            <a:ext cx="73025" cy="73025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tIns="180000" rIns="180000" bIns="180000" anchor="ctr">
            <a:spAutoFit/>
          </a:bodyPr>
          <a:lstStyle/>
          <a:p>
            <a:pPr eaLnBrk="0" hangingPunct="0">
              <a:defRPr/>
            </a:pPr>
            <a:endParaRPr lang="de-DE" sz="1800">
              <a:solidFill>
                <a:schemeClr val="tx1"/>
              </a:solidFill>
            </a:endParaRPr>
          </a:p>
        </p:txBody>
      </p:sp>
      <p:pic>
        <p:nvPicPr>
          <p:cNvPr id="14" name="Grafik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325" y="2157413"/>
            <a:ext cx="2665413" cy="177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23"/>
          <p:cNvSpPr txBox="1">
            <a:spLocks noChangeArrowheads="1"/>
          </p:cNvSpPr>
          <p:nvPr/>
        </p:nvSpPr>
        <p:spPr bwMode="auto">
          <a:xfrm>
            <a:off x="2114550" y="3716338"/>
            <a:ext cx="16652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algn="r" eaLnBrk="1" hangingPunct="1">
              <a:buClrTx/>
            </a:pPr>
            <a:r>
              <a:rPr lang="de-DE" altLang="de-DE" sz="800">
                <a:solidFill>
                  <a:schemeClr val="bg2"/>
                </a:solidFill>
              </a:rPr>
              <a:t>© Municipality of Regensburg</a:t>
            </a:r>
          </a:p>
        </p:txBody>
      </p:sp>
      <p:sp>
        <p:nvSpPr>
          <p:cNvPr id="16" name="Rechteck 2"/>
          <p:cNvSpPr>
            <a:spLocks noChangeArrowheads="1"/>
          </p:cNvSpPr>
          <p:nvPr/>
        </p:nvSpPr>
        <p:spPr bwMode="auto">
          <a:xfrm>
            <a:off x="4427538" y="1700213"/>
            <a:ext cx="3313112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>
                <a:solidFill>
                  <a:srgbClr val="D00000"/>
                </a:solidFill>
              </a:rPr>
              <a:t>STRATEGIC INITIATIVE</a:t>
            </a:r>
          </a:p>
        </p:txBody>
      </p:sp>
      <p:sp>
        <p:nvSpPr>
          <p:cNvPr id="18" name="Rechteck 2"/>
          <p:cNvSpPr>
            <a:spLocks noChangeArrowheads="1"/>
          </p:cNvSpPr>
          <p:nvPr/>
        </p:nvSpPr>
        <p:spPr bwMode="auto">
          <a:xfrm>
            <a:off x="6588125" y="2205038"/>
            <a:ext cx="21971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aims to strengthen the position of the Regional Secretariat Northwest Europe within the OWHC network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6450" y="2281411"/>
            <a:ext cx="2316673" cy="3301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3940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>
              <a:solidFill>
                <a:schemeClr val="bg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7" name="Rechteck 2"/>
          <p:cNvSpPr>
            <a:spLocks noChangeArrowheads="1"/>
          </p:cNvSpPr>
          <p:nvPr/>
        </p:nvSpPr>
        <p:spPr bwMode="auto">
          <a:xfrm>
            <a:off x="971550" y="1700213"/>
            <a:ext cx="3313113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en-US" altLang="de-DE" sz="1400" b="1">
                <a:solidFill>
                  <a:srgbClr val="D00000"/>
                </a:solidFill>
              </a:rPr>
              <a:t>EXPERTISE INITIATIVE</a:t>
            </a:r>
          </a:p>
        </p:txBody>
      </p:sp>
      <p:sp>
        <p:nvSpPr>
          <p:cNvPr id="8" name="Rechteck 2"/>
          <p:cNvSpPr>
            <a:spLocks noChangeArrowheads="1"/>
          </p:cNvSpPr>
          <p:nvPr/>
        </p:nvSpPr>
        <p:spPr bwMode="auto">
          <a:xfrm>
            <a:off x="971550" y="3933825"/>
            <a:ext cx="238601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egional Conference, September 2012, </a:t>
            </a:r>
            <a:r>
              <a:rPr lang="en-US" altLang="de-DE" sz="1200" b="1" dirty="0" err="1">
                <a:solidFill>
                  <a:schemeClr val="bg1">
                    <a:lumMod val="60000"/>
                    <a:lumOff val="40000"/>
                  </a:schemeClr>
                </a:solidFill>
              </a:rPr>
              <a:t>Beemster</a:t>
            </a:r>
            <a:r>
              <a:rPr lang="en-US" altLang="de-DE" sz="1200" b="1" dirty="0">
                <a:solidFill>
                  <a:schemeClr val="bg1">
                    <a:lumMod val="60000"/>
                    <a:lumOff val="40000"/>
                  </a:schemeClr>
                </a:solidFill>
              </a:rPr>
              <a:t> (Netherlands)</a:t>
            </a:r>
          </a:p>
        </p:txBody>
      </p:sp>
      <p:sp>
        <p:nvSpPr>
          <p:cNvPr id="9" name="Rechteck 2"/>
          <p:cNvSpPr>
            <a:spLocks noChangeArrowheads="1"/>
          </p:cNvSpPr>
          <p:nvPr/>
        </p:nvSpPr>
        <p:spPr bwMode="auto">
          <a:xfrm>
            <a:off x="981075" y="4664075"/>
            <a:ext cx="223202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exchange of  expertise on the management plan principles</a:t>
            </a:r>
          </a:p>
          <a:p>
            <a:pPr eaLnBrk="1" hangingPunct="1">
              <a:buClrTx/>
            </a:pPr>
            <a:endParaRPr lang="en-US" altLang="de-DE" sz="12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identification of the historic urban landscapes</a:t>
            </a:r>
          </a:p>
        </p:txBody>
      </p:sp>
      <p:pic>
        <p:nvPicPr>
          <p:cNvPr id="10" name="Grafik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575" y="2157413"/>
            <a:ext cx="2363788" cy="177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31"/>
          <p:cNvSpPr txBox="1">
            <a:spLocks noChangeArrowheads="1"/>
          </p:cNvSpPr>
          <p:nvPr/>
        </p:nvSpPr>
        <p:spPr bwMode="auto">
          <a:xfrm>
            <a:off x="1046163" y="3738563"/>
            <a:ext cx="18240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de-DE" altLang="de-DE" sz="800">
                <a:solidFill>
                  <a:schemeClr val="bg2"/>
                </a:solidFill>
              </a:rPr>
              <a:t>© Municipality of Beemster</a:t>
            </a:r>
          </a:p>
        </p:txBody>
      </p:sp>
      <p:pic>
        <p:nvPicPr>
          <p:cNvPr id="14" name="Grafik 3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613" y="2157413"/>
            <a:ext cx="2659062" cy="177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36"/>
          <p:cNvSpPr txBox="1">
            <a:spLocks noChangeArrowheads="1"/>
          </p:cNvSpPr>
          <p:nvPr/>
        </p:nvSpPr>
        <p:spPr bwMode="auto">
          <a:xfrm>
            <a:off x="6170613" y="2157413"/>
            <a:ext cx="14351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de-DE" altLang="de-DE" sz="800">
                <a:solidFill>
                  <a:schemeClr val="bg2"/>
                </a:solidFill>
              </a:rPr>
              <a:t>© Municipality of Lublin</a:t>
            </a:r>
          </a:p>
        </p:txBody>
      </p:sp>
      <p:sp>
        <p:nvSpPr>
          <p:cNvPr id="16" name="Rechteck 2"/>
          <p:cNvSpPr>
            <a:spLocks noChangeArrowheads="1"/>
          </p:cNvSpPr>
          <p:nvPr/>
        </p:nvSpPr>
        <p:spPr bwMode="auto">
          <a:xfrm>
            <a:off x="3463925" y="3933825"/>
            <a:ext cx="23860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60000"/>
                    <a:lumOff val="40000"/>
                  </a:schemeClr>
                </a:solidFill>
              </a:rPr>
              <a:t>Regional Meeting, </a:t>
            </a:r>
            <a:r>
              <a:rPr lang="en-US" altLang="de-DE" sz="1200" b="1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November </a:t>
            </a:r>
            <a:r>
              <a:rPr lang="en-US" altLang="de-DE" sz="1200" b="1" dirty="0">
                <a:solidFill>
                  <a:schemeClr val="bg1">
                    <a:lumMod val="60000"/>
                    <a:lumOff val="40000"/>
                  </a:schemeClr>
                </a:solidFill>
              </a:rPr>
              <a:t>2013, Regensburg</a:t>
            </a:r>
          </a:p>
        </p:txBody>
      </p:sp>
      <p:sp>
        <p:nvSpPr>
          <p:cNvPr id="17" name="Rechteck 2"/>
          <p:cNvSpPr>
            <a:spLocks noChangeArrowheads="1"/>
          </p:cNvSpPr>
          <p:nvPr/>
        </p:nvSpPr>
        <p:spPr bwMode="auto">
          <a:xfrm>
            <a:off x="3473450" y="4664075"/>
            <a:ext cx="22320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r>
              <a:rPr lang="de-DE" sz="1200" b="1" dirty="0" err="1" smtClean="0">
                <a:solidFill>
                  <a:schemeClr val="bg1">
                    <a:lumMod val="20000"/>
                    <a:lumOff val="80000"/>
                  </a:schemeClr>
                </a:solidFill>
              </a:rPr>
              <a:t>Crisis</a:t>
            </a:r>
            <a:r>
              <a:rPr lang="de-DE" sz="1200" b="1" dirty="0" smtClean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de-DE" sz="12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as</a:t>
            </a:r>
            <a:r>
              <a:rPr 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de-DE" sz="12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Opportunity</a:t>
            </a:r>
            <a:r>
              <a:rPr 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</a:t>
            </a:r>
            <a:r>
              <a:rPr lang="de-DE" sz="12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for</a:t>
            </a:r>
            <a:r>
              <a:rPr 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 World Heritage Cities – </a:t>
            </a:r>
            <a:r>
              <a:rPr lang="de-DE" sz="1200" b="1" dirty="0" err="1" smtClean="0">
                <a:solidFill>
                  <a:schemeClr val="bg1">
                    <a:lumMod val="20000"/>
                    <a:lumOff val="80000"/>
                  </a:schemeClr>
                </a:solidFill>
              </a:rPr>
              <a:t>Resilience</a:t>
            </a:r>
            <a:endParaRPr lang="de-DE" sz="12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8" name="Rechteck 2"/>
          <p:cNvSpPr>
            <a:spLocks noChangeArrowheads="1"/>
          </p:cNvSpPr>
          <p:nvPr/>
        </p:nvSpPr>
        <p:spPr bwMode="auto">
          <a:xfrm>
            <a:off x="6170613" y="3954463"/>
            <a:ext cx="23860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erMan Project Conference, April 2013, Lublin (Poland)</a:t>
            </a:r>
          </a:p>
        </p:txBody>
      </p:sp>
      <p:sp>
        <p:nvSpPr>
          <p:cNvPr id="19" name="Rechteck 2"/>
          <p:cNvSpPr>
            <a:spLocks noChangeArrowheads="1"/>
          </p:cNvSpPr>
          <p:nvPr/>
        </p:nvSpPr>
        <p:spPr bwMode="auto">
          <a:xfrm>
            <a:off x="6180138" y="4684713"/>
            <a:ext cx="22320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2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the activities of the OWHC and the Regional Secretariat were presented during a conference within the EU HerMan Project</a:t>
            </a:r>
          </a:p>
        </p:txBody>
      </p:sp>
      <p:pic>
        <p:nvPicPr>
          <p:cNvPr id="21" name="Picture 3" descr="D:\OWHC\Photos\Fotos_Quedlinburg_Kenny\P1070021.JPG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2147771"/>
            <a:ext cx="2592288" cy="1806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34"/>
          <p:cNvSpPr txBox="1">
            <a:spLocks noChangeArrowheads="1"/>
          </p:cNvSpPr>
          <p:nvPr/>
        </p:nvSpPr>
        <p:spPr bwMode="auto">
          <a:xfrm>
            <a:off x="4284663" y="2159000"/>
            <a:ext cx="176847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algn="r" eaLnBrk="1" hangingPunct="1">
              <a:buClrTx/>
            </a:pPr>
            <a:r>
              <a:rPr lang="de-DE" altLang="de-DE" sz="800" dirty="0">
                <a:solidFill>
                  <a:schemeClr val="bg2"/>
                </a:solidFill>
              </a:rPr>
              <a:t>© </a:t>
            </a:r>
            <a:r>
              <a:rPr lang="de-DE" altLang="de-DE" sz="800" dirty="0" err="1">
                <a:solidFill>
                  <a:schemeClr val="bg2"/>
                </a:solidFill>
              </a:rPr>
              <a:t>Municipality</a:t>
            </a:r>
            <a:r>
              <a:rPr lang="de-DE" altLang="de-DE" sz="800" dirty="0">
                <a:solidFill>
                  <a:schemeClr val="bg2"/>
                </a:solidFill>
              </a:rPr>
              <a:t> </a:t>
            </a:r>
            <a:r>
              <a:rPr lang="de-DE" altLang="de-DE" sz="800" dirty="0" err="1">
                <a:solidFill>
                  <a:schemeClr val="bg2"/>
                </a:solidFill>
              </a:rPr>
              <a:t>of</a:t>
            </a:r>
            <a:r>
              <a:rPr lang="de-DE" altLang="de-DE" sz="800" dirty="0">
                <a:solidFill>
                  <a:schemeClr val="bg2"/>
                </a:solidFill>
              </a:rPr>
              <a:t> Regensburg</a:t>
            </a:r>
          </a:p>
        </p:txBody>
      </p:sp>
    </p:spTree>
    <p:extLst>
      <p:ext uri="{BB962C8B-B14F-4D97-AF65-F5344CB8AC3E}">
        <p14:creationId xmlns:p14="http://schemas.microsoft.com/office/powerpoint/2010/main" val="334664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394450" cy="914400"/>
          </a:xfrm>
        </p:spPr>
        <p:txBody>
          <a:bodyPr/>
          <a:lstStyle/>
          <a:p>
            <a:r>
              <a:rPr lang="de-DE" dirty="0" err="1" smtClean="0"/>
              <a:t>OWHC</a:t>
            </a:r>
            <a:r>
              <a:rPr lang="de-DE" dirty="0" smtClean="0"/>
              <a:t> North-West Europe Regional Meeting</a:t>
            </a:r>
            <a:br>
              <a:rPr lang="de-DE" dirty="0" smtClean="0"/>
            </a:br>
            <a:r>
              <a:rPr lang="de-DE" sz="1800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September 27-29, 2016 in Stralsund/Germany</a:t>
            </a:r>
            <a:endParaRPr lang="de-DE" sz="2800" dirty="0"/>
          </a:p>
        </p:txBody>
      </p:sp>
      <p:sp>
        <p:nvSpPr>
          <p:cNvPr id="8" name="Rechteck 7"/>
          <p:cNvSpPr/>
          <p:nvPr/>
        </p:nvSpPr>
        <p:spPr>
          <a:xfrm>
            <a:off x="0" y="1268760"/>
            <a:ext cx="9163209" cy="1800200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  <a:p>
            <a:pPr algn="ctr"/>
            <a:endParaRPr lang="de-DE" i="1" dirty="0" smtClean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de-DE" i="1" dirty="0" smtClean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Welcome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to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Hanseatic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Town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Stralsund!</a:t>
            </a:r>
          </a:p>
          <a:p>
            <a:pPr algn="ctr"/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Historic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cities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Stralsund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and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Wismar  (World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Heritage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i="1" dirty="0" err="1" smtClean="0">
                <a:solidFill>
                  <a:schemeClr val="bg1">
                    <a:lumMod val="75000"/>
                  </a:schemeClr>
                </a:solidFill>
              </a:rPr>
              <a:t>since</a:t>
            </a:r>
            <a:r>
              <a:rPr lang="de-DE" i="1" dirty="0" smtClean="0">
                <a:solidFill>
                  <a:schemeClr val="bg1">
                    <a:lumMod val="75000"/>
                  </a:schemeClr>
                </a:solidFill>
              </a:rPr>
              <a:t> 2002)</a:t>
            </a:r>
          </a:p>
          <a:p>
            <a:pPr algn="ctr"/>
            <a:endParaRPr lang="de-DE" sz="1400" i="1" dirty="0" smtClean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Population: 57.540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inhabitants</a:t>
            </a:r>
            <a:endParaRPr lang="de-DE" sz="1400" i="1" dirty="0" smtClean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A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town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made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from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brick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, A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town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museums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, A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town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by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sea</a:t>
            </a:r>
            <a:endParaRPr lang="de-DE" sz="1400" i="1" dirty="0" smtClean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A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town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close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to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nature</a:t>
            </a:r>
            <a:endParaRPr lang="de-DE" sz="1400" i="1" dirty="0" smtClean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de-DE" sz="1400" dirty="0" smtClean="0">
              <a:solidFill>
                <a:schemeClr val="bg1">
                  <a:lumMod val="75000"/>
                </a:schemeClr>
              </a:solidFill>
            </a:endParaRPr>
          </a:p>
          <a:p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074" name="Picture 2" descr="U:\Welterbe\Stralsund_Impressionen0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439" y="3085316"/>
            <a:ext cx="5667881" cy="3772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290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4067944" y="2708920"/>
            <a:ext cx="5051568" cy="2808312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/>
          </a:p>
          <a:p>
            <a:pPr algn="ctr"/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r>
              <a:rPr lang="de-DE" dirty="0" smtClean="0">
                <a:solidFill>
                  <a:schemeClr val="bg1">
                    <a:lumMod val="75000"/>
                  </a:schemeClr>
                </a:solidFill>
              </a:rPr>
              <a:t>Topic</a:t>
            </a:r>
          </a:p>
          <a:p>
            <a:pPr algn="ctr"/>
            <a:r>
              <a:rPr lang="de-DE" sz="2400" b="1" dirty="0" smtClean="0">
                <a:solidFill>
                  <a:schemeClr val="bg1">
                    <a:lumMod val="75000"/>
                  </a:schemeClr>
                </a:solidFill>
              </a:rPr>
              <a:t>„</a:t>
            </a:r>
            <a:r>
              <a:rPr lang="de-DE" sz="2400" b="1" dirty="0" err="1" smtClean="0">
                <a:solidFill>
                  <a:schemeClr val="bg1">
                    <a:lumMod val="75000"/>
                  </a:schemeClr>
                </a:solidFill>
              </a:rPr>
              <a:t>Heritage</a:t>
            </a:r>
            <a:r>
              <a:rPr lang="de-DE" sz="2400" b="1" dirty="0" smtClean="0">
                <a:solidFill>
                  <a:schemeClr val="bg1">
                    <a:lumMod val="75000"/>
                  </a:schemeClr>
                </a:solidFill>
              </a:rPr>
              <a:t> &amp; Community Involvement“</a:t>
            </a:r>
          </a:p>
          <a:p>
            <a:pPr algn="ctr"/>
            <a:endParaRPr lang="de-DE" dirty="0" smtClean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394450" cy="914400"/>
          </a:xfrm>
        </p:spPr>
        <p:txBody>
          <a:bodyPr/>
          <a:lstStyle/>
          <a:p>
            <a:r>
              <a:rPr lang="de-DE" dirty="0" err="1" smtClean="0"/>
              <a:t>OWHC</a:t>
            </a:r>
            <a:r>
              <a:rPr lang="de-DE" dirty="0" smtClean="0"/>
              <a:t> North-West Europe Regional Meeting</a:t>
            </a:r>
            <a:br>
              <a:rPr lang="de-DE" dirty="0" smtClean="0"/>
            </a:br>
            <a:r>
              <a:rPr lang="de-DE" sz="1800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September 27-29, 2016 in Stralsund/Germany</a:t>
            </a:r>
            <a:endParaRPr lang="de-DE" sz="2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488" y="1268760"/>
            <a:ext cx="4092432" cy="5617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22101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-19210" y="2408011"/>
            <a:ext cx="9163209" cy="2808312"/>
          </a:xfrm>
          <a:prstGeom prst="rect">
            <a:avLst/>
          </a:prstGeom>
          <a:solidFill>
            <a:schemeClr val="bg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1400" i="1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Key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note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speech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, Workshops,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meeting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for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members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 in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good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standing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, 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Podium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for</a:t>
            </a:r>
            <a:r>
              <a:rPr lang="de-DE" sz="1400" i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>
                <a:solidFill>
                  <a:schemeClr val="bg1">
                    <a:lumMod val="75000"/>
                  </a:schemeClr>
                </a:solidFill>
              </a:rPr>
              <a:t>member</a:t>
            </a:r>
            <a:r>
              <a:rPr lang="de-DE" sz="140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i="1" dirty="0" err="1" smtClean="0">
                <a:solidFill>
                  <a:schemeClr val="bg1">
                    <a:lumMod val="75000"/>
                  </a:schemeClr>
                </a:solidFill>
              </a:rPr>
              <a:t>cities</a:t>
            </a:r>
            <a:endParaRPr lang="de-DE" sz="1400" i="1" dirty="0" smtClean="0">
              <a:solidFill>
                <a:schemeClr val="bg1">
                  <a:lumMod val="75000"/>
                </a:schemeClr>
              </a:solidFill>
            </a:endParaRPr>
          </a:p>
          <a:p>
            <a:endParaRPr lang="de-DE" sz="1400" i="1" dirty="0">
              <a:solidFill>
                <a:schemeClr val="bg1">
                  <a:lumMod val="75000"/>
                </a:schemeClr>
              </a:solidFill>
            </a:endParaRPr>
          </a:p>
          <a:p>
            <a:endParaRPr lang="de-DE" sz="14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Target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groups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ar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member</a:t>
            </a:r>
            <a:r>
              <a:rPr lang="de-DE" sz="1400" u="sng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cities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,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politicans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,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mayors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, </a:t>
            </a:r>
            <a:r>
              <a:rPr lang="de-DE" sz="1400" u="sng" dirty="0" smtClean="0">
                <a:solidFill>
                  <a:schemeClr val="bg1">
                    <a:lumMod val="75000"/>
                  </a:schemeClr>
                </a:solidFill>
              </a:rPr>
              <a:t>all professionals</a:t>
            </a:r>
          </a:p>
          <a:p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and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experts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and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interested</a:t>
            </a:r>
            <a:r>
              <a:rPr lang="de-DE" sz="1400" u="sng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u="sng" dirty="0" err="1" smtClean="0">
                <a:solidFill>
                  <a:schemeClr val="bg1">
                    <a:lumMod val="75000"/>
                  </a:schemeClr>
                </a:solidFill>
              </a:rPr>
              <a:t>cities</a:t>
            </a:r>
            <a:r>
              <a:rPr lang="de-DE" sz="1400" u="sng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in World </a:t>
            </a:r>
            <a:r>
              <a:rPr lang="de-DE" sz="1400" dirty="0" err="1" smtClean="0">
                <a:solidFill>
                  <a:schemeClr val="bg1">
                    <a:lumMod val="75000"/>
                  </a:schemeClr>
                </a:solidFill>
              </a:rPr>
              <a:t>Heritage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</a:p>
          <a:p>
            <a:endParaRPr lang="de-DE" sz="1400" dirty="0" smtClean="0">
              <a:solidFill>
                <a:schemeClr val="bg1">
                  <a:lumMod val="75000"/>
                </a:schemeClr>
              </a:solidFill>
            </a:endParaRPr>
          </a:p>
          <a:p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For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mor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detailed</a:t>
            </a:r>
            <a:r>
              <a:rPr lang="de-DE" sz="12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information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about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conferences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OWHC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North-West</a:t>
            </a:r>
          </a:p>
          <a:p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Region,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pleas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take</a:t>
            </a:r>
            <a:r>
              <a:rPr lang="de-DE" sz="1200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a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look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at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b="1" u="sng" dirty="0" smtClean="0">
                <a:solidFill>
                  <a:schemeClr val="bg1">
                    <a:lumMod val="75000"/>
                  </a:schemeClr>
                </a:solidFill>
              </a:rPr>
              <a:t>Final Report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last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conference</a:t>
            </a:r>
            <a:endParaRPr lang="de-DE" sz="1200" dirty="0" smtClean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held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in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b="1" u="sng" dirty="0" smtClean="0">
                <a:solidFill>
                  <a:schemeClr val="bg1">
                    <a:lumMod val="75000"/>
                  </a:schemeClr>
                </a:solidFill>
              </a:rPr>
              <a:t>Quedlinburg in 2015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with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topic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„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Crisis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as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Opportunity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for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  <a:p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World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Heritag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 Cities – </a:t>
            </a:r>
            <a:r>
              <a:rPr lang="de-DE" sz="1200" dirty="0" err="1" smtClean="0">
                <a:solidFill>
                  <a:schemeClr val="bg1">
                    <a:lumMod val="75000"/>
                  </a:schemeClr>
                </a:solidFill>
              </a:rPr>
              <a:t>Resilience</a:t>
            </a:r>
            <a:r>
              <a:rPr lang="de-DE" sz="1200" dirty="0" smtClean="0">
                <a:solidFill>
                  <a:schemeClr val="bg1">
                    <a:lumMod val="75000"/>
                  </a:schemeClr>
                </a:solidFill>
              </a:rPr>
              <a:t>“</a:t>
            </a:r>
          </a:p>
          <a:p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  <a:p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394450" cy="914400"/>
          </a:xfrm>
        </p:spPr>
        <p:txBody>
          <a:bodyPr/>
          <a:lstStyle/>
          <a:p>
            <a:r>
              <a:rPr lang="de-DE" dirty="0" err="1" smtClean="0"/>
              <a:t>OWHC</a:t>
            </a:r>
            <a:r>
              <a:rPr lang="de-DE" dirty="0" smtClean="0"/>
              <a:t> North-West Regional Meeting</a:t>
            </a:r>
            <a:br>
              <a:rPr lang="de-DE" dirty="0" smtClean="0"/>
            </a:br>
            <a:r>
              <a:rPr lang="de-DE" sz="1800" dirty="0" smtClean="0">
                <a:solidFill>
                  <a:schemeClr val="bg1">
                    <a:lumMod val="60000"/>
                    <a:lumOff val="40000"/>
                  </a:schemeClr>
                </a:solidFill>
              </a:rPr>
              <a:t>September 27-29, 2016 in Stralsund/Germany</a:t>
            </a:r>
            <a:endParaRPr lang="de-DE" sz="2800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931" y="2757381"/>
            <a:ext cx="2898068" cy="1932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hteck 2"/>
          <p:cNvSpPr/>
          <p:nvPr/>
        </p:nvSpPr>
        <p:spPr>
          <a:xfrm>
            <a:off x="6444208" y="4690370"/>
            <a:ext cx="2592288" cy="1787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700" dirty="0" err="1" smtClean="0">
                <a:solidFill>
                  <a:schemeClr val="bg1"/>
                </a:solidFill>
              </a:rPr>
              <a:t>Badstüberstraße</a:t>
            </a:r>
            <a:r>
              <a:rPr lang="de-DE" sz="700" dirty="0" smtClean="0">
                <a:solidFill>
                  <a:schemeClr val="bg1"/>
                </a:solidFill>
              </a:rPr>
              <a:t>, Stralsund</a:t>
            </a:r>
            <a:endParaRPr lang="de-DE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50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dirty="0" smtClean="0"/>
          </a:p>
          <a:p>
            <a:pPr marL="0" indent="0" algn="ctr">
              <a:buNone/>
            </a:pPr>
            <a:endParaRPr lang="de-DE" dirty="0"/>
          </a:p>
          <a:p>
            <a:pPr marL="0" indent="0" algn="ctr">
              <a:buNone/>
            </a:pPr>
            <a:endParaRPr lang="de-DE" dirty="0" smtClean="0"/>
          </a:p>
          <a:p>
            <a:pPr marL="0" indent="0" algn="ctr">
              <a:buNone/>
            </a:pPr>
            <a:endParaRPr lang="de-DE" dirty="0"/>
          </a:p>
          <a:p>
            <a:pPr marL="0" indent="0" algn="ctr">
              <a:buNone/>
            </a:pPr>
            <a:r>
              <a:rPr lang="de-DE" dirty="0" smtClean="0">
                <a:hlinkClick r:id="rId2" action="ppaction://hlinkfile"/>
              </a:rPr>
              <a:t>Imagefilm 2015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7398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7E12CFC1-3D9F-4B35-86D8-34C921096EDD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437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/>
        </p:nvSpPr>
        <p:spPr>
          <a:xfrm>
            <a:off x="0" y="5301208"/>
            <a:ext cx="5724128" cy="369332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0" y="4437112"/>
            <a:ext cx="5724128" cy="369332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11" name="Textfeld 10"/>
          <p:cNvSpPr txBox="1"/>
          <p:nvPr/>
        </p:nvSpPr>
        <p:spPr>
          <a:xfrm>
            <a:off x="0" y="3645024"/>
            <a:ext cx="5724128" cy="369332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-4534" y="2780928"/>
            <a:ext cx="5724128" cy="369332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0" y="1988840"/>
            <a:ext cx="5724128" cy="369332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err="1" smtClean="0"/>
              <a:t>Overview</a:t>
            </a:r>
            <a:endParaRPr lang="de-DE" sz="2400" dirty="0"/>
          </a:p>
        </p:txBody>
      </p:sp>
      <p:sp>
        <p:nvSpPr>
          <p:cNvPr id="7" name="Inhaltsplatzhalt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sz="1600" dirty="0" smtClean="0"/>
          </a:p>
          <a:p>
            <a:r>
              <a:rPr lang="de-DE" sz="1600" dirty="0" smtClean="0"/>
              <a:t>World Heritage </a:t>
            </a:r>
            <a:r>
              <a:rPr lang="de-DE" sz="1600" dirty="0" err="1" smtClean="0"/>
              <a:t>Coordination</a:t>
            </a:r>
            <a:r>
              <a:rPr lang="de-DE" sz="1600" dirty="0" smtClean="0"/>
              <a:t> Regensburg</a:t>
            </a:r>
          </a:p>
          <a:p>
            <a:endParaRPr lang="de-DE" sz="1600" dirty="0" smtClean="0"/>
          </a:p>
          <a:p>
            <a:r>
              <a:rPr lang="de-DE" sz="1600" dirty="0" smtClean="0"/>
              <a:t>OWHC North-West Regional </a:t>
            </a:r>
            <a:r>
              <a:rPr lang="de-DE" sz="1600" dirty="0" err="1" smtClean="0"/>
              <a:t>Secretariat</a:t>
            </a:r>
            <a:endParaRPr lang="de-DE" sz="1600" dirty="0" smtClean="0"/>
          </a:p>
          <a:p>
            <a:pPr marL="0" indent="0">
              <a:buNone/>
            </a:pPr>
            <a:endParaRPr lang="de-DE" sz="1600" dirty="0" smtClean="0"/>
          </a:p>
          <a:p>
            <a:r>
              <a:rPr lang="de-DE" sz="1600" dirty="0" smtClean="0"/>
              <a:t>Regional Conference 2016 in Stralsund/German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1E5229CD-7AB3-404C-A4C1-B5E897DC0C79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10242" name="Picture 2" descr="U:\Welterbe\2_Öffentlichkeitsarbeit_gelb\21_Fotos und Grafiken\10_Sonstige Fotos\Matthias Ripp\Steinerne Brück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1268760"/>
            <a:ext cx="3419872" cy="5589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369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rld Heritage Regensburg</a:t>
            </a:r>
            <a:br>
              <a:rPr lang="de-DE" dirty="0" smtClean="0"/>
            </a:br>
            <a:r>
              <a:rPr lang="de-DE" sz="1800" dirty="0" smtClean="0">
                <a:solidFill>
                  <a:schemeClr val="bg1">
                    <a:lumMod val="75000"/>
                  </a:schemeClr>
                </a:solidFill>
              </a:rPr>
              <a:t>„Altstadt Regensburg mit Stadtamhof“</a:t>
            </a:r>
            <a:endParaRPr lang="de-DE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3</a:t>
            </a:fld>
            <a:endParaRPr lang="de-DE"/>
          </a:p>
        </p:txBody>
      </p:sp>
      <p:grpSp>
        <p:nvGrpSpPr>
          <p:cNvPr id="6" name="Group 2"/>
          <p:cNvGrpSpPr>
            <a:grpSpLocks/>
          </p:cNvGrpSpPr>
          <p:nvPr/>
        </p:nvGrpSpPr>
        <p:grpSpPr bwMode="auto">
          <a:xfrm>
            <a:off x="1500261" y="1720850"/>
            <a:ext cx="6632575" cy="4367213"/>
            <a:chOff x="969" y="1200"/>
            <a:chExt cx="3822" cy="2380"/>
          </a:xfrm>
        </p:grpSpPr>
        <p:sp>
          <p:nvSpPr>
            <p:cNvPr id="7" name="Freeform 3"/>
            <p:cNvSpPr>
              <a:spLocks/>
            </p:cNvSpPr>
            <p:nvPr/>
          </p:nvSpPr>
          <p:spPr bwMode="auto">
            <a:xfrm>
              <a:off x="2983" y="1463"/>
              <a:ext cx="1808" cy="922"/>
            </a:xfrm>
            <a:custGeom>
              <a:avLst/>
              <a:gdLst>
                <a:gd name="T0" fmla="*/ 5 w 2099"/>
                <a:gd name="T1" fmla="*/ 226 h 1101"/>
                <a:gd name="T2" fmla="*/ 0 w 2099"/>
                <a:gd name="T3" fmla="*/ 243 h 1101"/>
                <a:gd name="T4" fmla="*/ 19 w 2099"/>
                <a:gd name="T5" fmla="*/ 276 h 1101"/>
                <a:gd name="T6" fmla="*/ 40 w 2099"/>
                <a:gd name="T7" fmla="*/ 291 h 1101"/>
                <a:gd name="T8" fmla="*/ 58 w 2099"/>
                <a:gd name="T9" fmla="*/ 316 h 1101"/>
                <a:gd name="T10" fmla="*/ 78 w 2099"/>
                <a:gd name="T11" fmla="*/ 337 h 1101"/>
                <a:gd name="T12" fmla="*/ 70 w 2099"/>
                <a:gd name="T13" fmla="*/ 349 h 1101"/>
                <a:gd name="T14" fmla="*/ 80 w 2099"/>
                <a:gd name="T15" fmla="*/ 377 h 1101"/>
                <a:gd name="T16" fmla="*/ 107 w 2099"/>
                <a:gd name="T17" fmla="*/ 399 h 1101"/>
                <a:gd name="T18" fmla="*/ 131 w 2099"/>
                <a:gd name="T19" fmla="*/ 417 h 1101"/>
                <a:gd name="T20" fmla="*/ 168 w 2099"/>
                <a:gd name="T21" fmla="*/ 412 h 1101"/>
                <a:gd name="T22" fmla="*/ 147 w 2099"/>
                <a:gd name="T23" fmla="*/ 361 h 1101"/>
                <a:gd name="T24" fmla="*/ 187 w 2099"/>
                <a:gd name="T25" fmla="*/ 361 h 1101"/>
                <a:gd name="T26" fmla="*/ 173 w 2099"/>
                <a:gd name="T27" fmla="*/ 386 h 1101"/>
                <a:gd name="T28" fmla="*/ 200 w 2099"/>
                <a:gd name="T29" fmla="*/ 421 h 1101"/>
                <a:gd name="T30" fmla="*/ 239 w 2099"/>
                <a:gd name="T31" fmla="*/ 434 h 1101"/>
                <a:gd name="T32" fmla="*/ 271 w 2099"/>
                <a:gd name="T33" fmla="*/ 448 h 1101"/>
                <a:gd name="T34" fmla="*/ 320 w 2099"/>
                <a:gd name="T35" fmla="*/ 431 h 1101"/>
                <a:gd name="T36" fmla="*/ 357 w 2099"/>
                <a:gd name="T37" fmla="*/ 408 h 1101"/>
                <a:gd name="T38" fmla="*/ 395 w 2099"/>
                <a:gd name="T39" fmla="*/ 370 h 1101"/>
                <a:gd name="T40" fmla="*/ 420 w 2099"/>
                <a:gd name="T41" fmla="*/ 334 h 1101"/>
                <a:gd name="T42" fmla="*/ 477 w 2099"/>
                <a:gd name="T43" fmla="*/ 326 h 1101"/>
                <a:gd name="T44" fmla="*/ 517 w 2099"/>
                <a:gd name="T45" fmla="*/ 312 h 1101"/>
                <a:gd name="T46" fmla="*/ 562 w 2099"/>
                <a:gd name="T47" fmla="*/ 323 h 1101"/>
                <a:gd name="T48" fmla="*/ 624 w 2099"/>
                <a:gd name="T49" fmla="*/ 316 h 1101"/>
                <a:gd name="T50" fmla="*/ 634 w 2099"/>
                <a:gd name="T51" fmla="*/ 282 h 1101"/>
                <a:gd name="T52" fmla="*/ 679 w 2099"/>
                <a:gd name="T53" fmla="*/ 295 h 1101"/>
                <a:gd name="T54" fmla="*/ 720 w 2099"/>
                <a:gd name="T55" fmla="*/ 323 h 1101"/>
                <a:gd name="T56" fmla="*/ 744 w 2099"/>
                <a:gd name="T57" fmla="*/ 352 h 1101"/>
                <a:gd name="T58" fmla="*/ 749 w 2099"/>
                <a:gd name="T59" fmla="*/ 379 h 1101"/>
                <a:gd name="T60" fmla="*/ 778 w 2099"/>
                <a:gd name="T61" fmla="*/ 273 h 1101"/>
                <a:gd name="T62" fmla="*/ 743 w 2099"/>
                <a:gd name="T63" fmla="*/ 248 h 1101"/>
                <a:gd name="T64" fmla="*/ 754 w 2099"/>
                <a:gd name="T65" fmla="*/ 186 h 1101"/>
                <a:gd name="T66" fmla="*/ 807 w 2099"/>
                <a:gd name="T67" fmla="*/ 182 h 1101"/>
                <a:gd name="T68" fmla="*/ 830 w 2099"/>
                <a:gd name="T69" fmla="*/ 138 h 1101"/>
                <a:gd name="T70" fmla="*/ 860 w 2099"/>
                <a:gd name="T71" fmla="*/ 119 h 1101"/>
                <a:gd name="T72" fmla="*/ 864 w 2099"/>
                <a:gd name="T73" fmla="*/ 154 h 1101"/>
                <a:gd name="T74" fmla="*/ 868 w 2099"/>
                <a:gd name="T75" fmla="*/ 250 h 1101"/>
                <a:gd name="T76" fmla="*/ 897 w 2099"/>
                <a:gd name="T77" fmla="*/ 244 h 1101"/>
                <a:gd name="T78" fmla="*/ 895 w 2099"/>
                <a:gd name="T79" fmla="*/ 209 h 1101"/>
                <a:gd name="T80" fmla="*/ 883 w 2099"/>
                <a:gd name="T81" fmla="*/ 158 h 1101"/>
                <a:gd name="T82" fmla="*/ 923 w 2099"/>
                <a:gd name="T83" fmla="*/ 152 h 1101"/>
                <a:gd name="T84" fmla="*/ 943 w 2099"/>
                <a:gd name="T85" fmla="*/ 80 h 1101"/>
                <a:gd name="T86" fmla="*/ 914 w 2099"/>
                <a:gd name="T87" fmla="*/ 59 h 1101"/>
                <a:gd name="T88" fmla="*/ 923 w 2099"/>
                <a:gd name="T89" fmla="*/ 38 h 1101"/>
                <a:gd name="T90" fmla="*/ 984 w 2099"/>
                <a:gd name="T91" fmla="*/ 49 h 1101"/>
                <a:gd name="T92" fmla="*/ 964 w 2099"/>
                <a:gd name="T93" fmla="*/ 13 h 1101"/>
                <a:gd name="T94" fmla="*/ 911 w 2099"/>
                <a:gd name="T95" fmla="*/ 6 h 1101"/>
                <a:gd name="T96" fmla="*/ 19 w 2099"/>
                <a:gd name="T97" fmla="*/ 209 h 11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099" h="1101">
                  <a:moveTo>
                    <a:pt x="40" y="509"/>
                  </a:moveTo>
                  <a:lnTo>
                    <a:pt x="32" y="534"/>
                  </a:lnTo>
                  <a:lnTo>
                    <a:pt x="6" y="541"/>
                  </a:lnTo>
                  <a:lnTo>
                    <a:pt x="11" y="551"/>
                  </a:lnTo>
                  <a:lnTo>
                    <a:pt x="25" y="571"/>
                  </a:lnTo>
                  <a:lnTo>
                    <a:pt x="17" y="576"/>
                  </a:lnTo>
                  <a:lnTo>
                    <a:pt x="10" y="581"/>
                  </a:lnTo>
                  <a:lnTo>
                    <a:pt x="0" y="589"/>
                  </a:lnTo>
                  <a:lnTo>
                    <a:pt x="11" y="618"/>
                  </a:lnTo>
                  <a:lnTo>
                    <a:pt x="0" y="651"/>
                  </a:lnTo>
                  <a:lnTo>
                    <a:pt x="8" y="656"/>
                  </a:lnTo>
                  <a:lnTo>
                    <a:pt x="40" y="671"/>
                  </a:lnTo>
                  <a:lnTo>
                    <a:pt x="58" y="673"/>
                  </a:lnTo>
                  <a:lnTo>
                    <a:pt x="65" y="686"/>
                  </a:lnTo>
                  <a:lnTo>
                    <a:pt x="77" y="691"/>
                  </a:lnTo>
                  <a:lnTo>
                    <a:pt x="83" y="709"/>
                  </a:lnTo>
                  <a:lnTo>
                    <a:pt x="75" y="734"/>
                  </a:lnTo>
                  <a:lnTo>
                    <a:pt x="77" y="748"/>
                  </a:lnTo>
                  <a:lnTo>
                    <a:pt x="110" y="749"/>
                  </a:lnTo>
                  <a:lnTo>
                    <a:pt x="122" y="766"/>
                  </a:lnTo>
                  <a:lnTo>
                    <a:pt x="135" y="778"/>
                  </a:lnTo>
                  <a:lnTo>
                    <a:pt x="152" y="778"/>
                  </a:lnTo>
                  <a:lnTo>
                    <a:pt x="163" y="803"/>
                  </a:lnTo>
                  <a:lnTo>
                    <a:pt x="165" y="818"/>
                  </a:lnTo>
                  <a:lnTo>
                    <a:pt x="168" y="833"/>
                  </a:lnTo>
                  <a:lnTo>
                    <a:pt x="153" y="839"/>
                  </a:lnTo>
                  <a:lnTo>
                    <a:pt x="158" y="843"/>
                  </a:lnTo>
                  <a:lnTo>
                    <a:pt x="147" y="849"/>
                  </a:lnTo>
                  <a:lnTo>
                    <a:pt x="168" y="858"/>
                  </a:lnTo>
                  <a:lnTo>
                    <a:pt x="168" y="869"/>
                  </a:lnTo>
                  <a:lnTo>
                    <a:pt x="163" y="894"/>
                  </a:lnTo>
                  <a:lnTo>
                    <a:pt x="168" y="913"/>
                  </a:lnTo>
                  <a:lnTo>
                    <a:pt x="187" y="924"/>
                  </a:lnTo>
                  <a:lnTo>
                    <a:pt x="212" y="938"/>
                  </a:lnTo>
                  <a:lnTo>
                    <a:pt x="225" y="961"/>
                  </a:lnTo>
                  <a:lnTo>
                    <a:pt x="225" y="968"/>
                  </a:lnTo>
                  <a:lnTo>
                    <a:pt x="248" y="974"/>
                  </a:lnTo>
                  <a:lnTo>
                    <a:pt x="263" y="1006"/>
                  </a:lnTo>
                  <a:lnTo>
                    <a:pt x="272" y="1013"/>
                  </a:lnTo>
                  <a:lnTo>
                    <a:pt x="278" y="1013"/>
                  </a:lnTo>
                  <a:lnTo>
                    <a:pt x="293" y="1038"/>
                  </a:lnTo>
                  <a:lnTo>
                    <a:pt x="328" y="1021"/>
                  </a:lnTo>
                  <a:lnTo>
                    <a:pt x="337" y="1029"/>
                  </a:lnTo>
                  <a:lnTo>
                    <a:pt x="353" y="999"/>
                  </a:lnTo>
                  <a:lnTo>
                    <a:pt x="335" y="986"/>
                  </a:lnTo>
                  <a:lnTo>
                    <a:pt x="298" y="919"/>
                  </a:lnTo>
                  <a:lnTo>
                    <a:pt x="298" y="913"/>
                  </a:lnTo>
                  <a:lnTo>
                    <a:pt x="310" y="876"/>
                  </a:lnTo>
                  <a:lnTo>
                    <a:pt x="328" y="876"/>
                  </a:lnTo>
                  <a:lnTo>
                    <a:pt x="347" y="876"/>
                  </a:lnTo>
                  <a:lnTo>
                    <a:pt x="377" y="858"/>
                  </a:lnTo>
                  <a:lnTo>
                    <a:pt x="395" y="876"/>
                  </a:lnTo>
                  <a:lnTo>
                    <a:pt x="390" y="894"/>
                  </a:lnTo>
                  <a:lnTo>
                    <a:pt x="372" y="894"/>
                  </a:lnTo>
                  <a:lnTo>
                    <a:pt x="365" y="913"/>
                  </a:lnTo>
                  <a:lnTo>
                    <a:pt x="365" y="938"/>
                  </a:lnTo>
                  <a:lnTo>
                    <a:pt x="427" y="979"/>
                  </a:lnTo>
                  <a:lnTo>
                    <a:pt x="420" y="993"/>
                  </a:lnTo>
                  <a:lnTo>
                    <a:pt x="402" y="993"/>
                  </a:lnTo>
                  <a:lnTo>
                    <a:pt x="420" y="1023"/>
                  </a:lnTo>
                  <a:lnTo>
                    <a:pt x="420" y="1054"/>
                  </a:lnTo>
                  <a:lnTo>
                    <a:pt x="437" y="1046"/>
                  </a:lnTo>
                  <a:lnTo>
                    <a:pt x="475" y="1048"/>
                  </a:lnTo>
                  <a:lnTo>
                    <a:pt x="505" y="1054"/>
                  </a:lnTo>
                  <a:lnTo>
                    <a:pt x="522" y="1069"/>
                  </a:lnTo>
                  <a:lnTo>
                    <a:pt x="532" y="1091"/>
                  </a:lnTo>
                  <a:lnTo>
                    <a:pt x="548" y="1101"/>
                  </a:lnTo>
                  <a:lnTo>
                    <a:pt x="572" y="1088"/>
                  </a:lnTo>
                  <a:lnTo>
                    <a:pt x="587" y="1073"/>
                  </a:lnTo>
                  <a:lnTo>
                    <a:pt x="617" y="1054"/>
                  </a:lnTo>
                  <a:lnTo>
                    <a:pt x="647" y="1059"/>
                  </a:lnTo>
                  <a:lnTo>
                    <a:pt x="673" y="1046"/>
                  </a:lnTo>
                  <a:lnTo>
                    <a:pt x="685" y="1058"/>
                  </a:lnTo>
                  <a:lnTo>
                    <a:pt x="734" y="1046"/>
                  </a:lnTo>
                  <a:lnTo>
                    <a:pt x="720" y="1016"/>
                  </a:lnTo>
                  <a:lnTo>
                    <a:pt x="752" y="991"/>
                  </a:lnTo>
                  <a:lnTo>
                    <a:pt x="774" y="991"/>
                  </a:lnTo>
                  <a:lnTo>
                    <a:pt x="815" y="948"/>
                  </a:lnTo>
                  <a:lnTo>
                    <a:pt x="805" y="906"/>
                  </a:lnTo>
                  <a:lnTo>
                    <a:pt x="832" y="899"/>
                  </a:lnTo>
                  <a:lnTo>
                    <a:pt x="825" y="881"/>
                  </a:lnTo>
                  <a:lnTo>
                    <a:pt x="842" y="859"/>
                  </a:lnTo>
                  <a:lnTo>
                    <a:pt x="882" y="839"/>
                  </a:lnTo>
                  <a:lnTo>
                    <a:pt x="887" y="813"/>
                  </a:lnTo>
                  <a:lnTo>
                    <a:pt x="909" y="801"/>
                  </a:lnTo>
                  <a:lnTo>
                    <a:pt x="957" y="769"/>
                  </a:lnTo>
                  <a:lnTo>
                    <a:pt x="975" y="768"/>
                  </a:lnTo>
                  <a:lnTo>
                    <a:pt x="1007" y="789"/>
                  </a:lnTo>
                  <a:lnTo>
                    <a:pt x="1032" y="781"/>
                  </a:lnTo>
                  <a:lnTo>
                    <a:pt x="1055" y="741"/>
                  </a:lnTo>
                  <a:lnTo>
                    <a:pt x="1075" y="739"/>
                  </a:lnTo>
                  <a:lnTo>
                    <a:pt x="1089" y="758"/>
                  </a:lnTo>
                  <a:lnTo>
                    <a:pt x="1105" y="778"/>
                  </a:lnTo>
                  <a:lnTo>
                    <a:pt x="1122" y="776"/>
                  </a:lnTo>
                  <a:lnTo>
                    <a:pt x="1155" y="763"/>
                  </a:lnTo>
                  <a:lnTo>
                    <a:pt x="1185" y="784"/>
                  </a:lnTo>
                  <a:lnTo>
                    <a:pt x="1247" y="778"/>
                  </a:lnTo>
                  <a:lnTo>
                    <a:pt x="1265" y="753"/>
                  </a:lnTo>
                  <a:lnTo>
                    <a:pt x="1290" y="766"/>
                  </a:lnTo>
                  <a:lnTo>
                    <a:pt x="1315" y="766"/>
                  </a:lnTo>
                  <a:lnTo>
                    <a:pt x="1345" y="748"/>
                  </a:lnTo>
                  <a:lnTo>
                    <a:pt x="1345" y="709"/>
                  </a:lnTo>
                  <a:lnTo>
                    <a:pt x="1352" y="691"/>
                  </a:lnTo>
                  <a:lnTo>
                    <a:pt x="1335" y="686"/>
                  </a:lnTo>
                  <a:lnTo>
                    <a:pt x="1362" y="673"/>
                  </a:lnTo>
                  <a:lnTo>
                    <a:pt x="1401" y="663"/>
                  </a:lnTo>
                  <a:lnTo>
                    <a:pt x="1426" y="679"/>
                  </a:lnTo>
                  <a:lnTo>
                    <a:pt x="1432" y="716"/>
                  </a:lnTo>
                  <a:lnTo>
                    <a:pt x="1467" y="759"/>
                  </a:lnTo>
                  <a:lnTo>
                    <a:pt x="1502" y="759"/>
                  </a:lnTo>
                  <a:lnTo>
                    <a:pt x="1512" y="768"/>
                  </a:lnTo>
                  <a:lnTo>
                    <a:pt x="1517" y="784"/>
                  </a:lnTo>
                  <a:lnTo>
                    <a:pt x="1549" y="794"/>
                  </a:lnTo>
                  <a:lnTo>
                    <a:pt x="1579" y="778"/>
                  </a:lnTo>
                  <a:lnTo>
                    <a:pt x="1587" y="806"/>
                  </a:lnTo>
                  <a:lnTo>
                    <a:pt x="1571" y="856"/>
                  </a:lnTo>
                  <a:lnTo>
                    <a:pt x="1552" y="851"/>
                  </a:lnTo>
                  <a:lnTo>
                    <a:pt x="1546" y="876"/>
                  </a:lnTo>
                  <a:lnTo>
                    <a:pt x="1572" y="899"/>
                  </a:lnTo>
                  <a:lnTo>
                    <a:pt x="1579" y="919"/>
                  </a:lnTo>
                  <a:lnTo>
                    <a:pt x="1597" y="906"/>
                  </a:lnTo>
                  <a:lnTo>
                    <a:pt x="1646" y="839"/>
                  </a:lnTo>
                  <a:lnTo>
                    <a:pt x="1657" y="668"/>
                  </a:lnTo>
                  <a:lnTo>
                    <a:pt x="1641" y="661"/>
                  </a:lnTo>
                  <a:lnTo>
                    <a:pt x="1641" y="624"/>
                  </a:lnTo>
                  <a:lnTo>
                    <a:pt x="1616" y="613"/>
                  </a:lnTo>
                  <a:lnTo>
                    <a:pt x="1572" y="631"/>
                  </a:lnTo>
                  <a:lnTo>
                    <a:pt x="1567" y="601"/>
                  </a:lnTo>
                  <a:lnTo>
                    <a:pt x="1542" y="594"/>
                  </a:lnTo>
                  <a:lnTo>
                    <a:pt x="1572" y="521"/>
                  </a:lnTo>
                  <a:lnTo>
                    <a:pt x="1572" y="471"/>
                  </a:lnTo>
                  <a:lnTo>
                    <a:pt x="1591" y="453"/>
                  </a:lnTo>
                  <a:lnTo>
                    <a:pt x="1646" y="441"/>
                  </a:lnTo>
                  <a:lnTo>
                    <a:pt x="1671" y="423"/>
                  </a:lnTo>
                  <a:lnTo>
                    <a:pt x="1707" y="416"/>
                  </a:lnTo>
                  <a:lnTo>
                    <a:pt x="1702" y="441"/>
                  </a:lnTo>
                  <a:lnTo>
                    <a:pt x="1732" y="430"/>
                  </a:lnTo>
                  <a:lnTo>
                    <a:pt x="1751" y="410"/>
                  </a:lnTo>
                  <a:lnTo>
                    <a:pt x="1737" y="398"/>
                  </a:lnTo>
                  <a:lnTo>
                    <a:pt x="1751" y="336"/>
                  </a:lnTo>
                  <a:lnTo>
                    <a:pt x="1774" y="325"/>
                  </a:lnTo>
                  <a:lnTo>
                    <a:pt x="1787" y="343"/>
                  </a:lnTo>
                  <a:lnTo>
                    <a:pt x="1792" y="343"/>
                  </a:lnTo>
                  <a:lnTo>
                    <a:pt x="1812" y="288"/>
                  </a:lnTo>
                  <a:lnTo>
                    <a:pt x="1817" y="288"/>
                  </a:lnTo>
                  <a:lnTo>
                    <a:pt x="1831" y="330"/>
                  </a:lnTo>
                  <a:lnTo>
                    <a:pt x="1836" y="343"/>
                  </a:lnTo>
                  <a:lnTo>
                    <a:pt x="1822" y="375"/>
                  </a:lnTo>
                  <a:lnTo>
                    <a:pt x="1812" y="435"/>
                  </a:lnTo>
                  <a:lnTo>
                    <a:pt x="1799" y="465"/>
                  </a:lnTo>
                  <a:lnTo>
                    <a:pt x="1799" y="521"/>
                  </a:lnTo>
                  <a:lnTo>
                    <a:pt x="1831" y="606"/>
                  </a:lnTo>
                  <a:lnTo>
                    <a:pt x="1854" y="624"/>
                  </a:lnTo>
                  <a:lnTo>
                    <a:pt x="1872" y="668"/>
                  </a:lnTo>
                  <a:lnTo>
                    <a:pt x="1891" y="624"/>
                  </a:lnTo>
                  <a:lnTo>
                    <a:pt x="1891" y="594"/>
                  </a:lnTo>
                  <a:lnTo>
                    <a:pt x="1902" y="588"/>
                  </a:lnTo>
                  <a:lnTo>
                    <a:pt x="1897" y="564"/>
                  </a:lnTo>
                  <a:lnTo>
                    <a:pt x="1902" y="544"/>
                  </a:lnTo>
                  <a:lnTo>
                    <a:pt x="1886" y="509"/>
                  </a:lnTo>
                  <a:lnTo>
                    <a:pt x="1891" y="484"/>
                  </a:lnTo>
                  <a:lnTo>
                    <a:pt x="1886" y="441"/>
                  </a:lnTo>
                  <a:lnTo>
                    <a:pt x="1867" y="453"/>
                  </a:lnTo>
                  <a:lnTo>
                    <a:pt x="1861" y="386"/>
                  </a:lnTo>
                  <a:lnTo>
                    <a:pt x="1861" y="375"/>
                  </a:lnTo>
                  <a:lnTo>
                    <a:pt x="1891" y="350"/>
                  </a:lnTo>
                  <a:lnTo>
                    <a:pt x="1922" y="336"/>
                  </a:lnTo>
                  <a:lnTo>
                    <a:pt x="1947" y="368"/>
                  </a:lnTo>
                  <a:lnTo>
                    <a:pt x="1964" y="256"/>
                  </a:lnTo>
                  <a:lnTo>
                    <a:pt x="2007" y="233"/>
                  </a:lnTo>
                  <a:lnTo>
                    <a:pt x="1982" y="215"/>
                  </a:lnTo>
                  <a:lnTo>
                    <a:pt x="1989" y="196"/>
                  </a:lnTo>
                  <a:lnTo>
                    <a:pt x="1959" y="196"/>
                  </a:lnTo>
                  <a:lnTo>
                    <a:pt x="1941" y="178"/>
                  </a:lnTo>
                  <a:lnTo>
                    <a:pt x="1909" y="153"/>
                  </a:lnTo>
                  <a:lnTo>
                    <a:pt x="1927" y="146"/>
                  </a:lnTo>
                  <a:lnTo>
                    <a:pt x="1941" y="153"/>
                  </a:lnTo>
                  <a:lnTo>
                    <a:pt x="1971" y="135"/>
                  </a:lnTo>
                  <a:lnTo>
                    <a:pt x="1952" y="121"/>
                  </a:lnTo>
                  <a:lnTo>
                    <a:pt x="1947" y="91"/>
                  </a:lnTo>
                  <a:lnTo>
                    <a:pt x="1964" y="103"/>
                  </a:lnTo>
                  <a:lnTo>
                    <a:pt x="2014" y="110"/>
                  </a:lnTo>
                  <a:lnTo>
                    <a:pt x="2033" y="128"/>
                  </a:lnTo>
                  <a:lnTo>
                    <a:pt x="2076" y="121"/>
                  </a:lnTo>
                  <a:lnTo>
                    <a:pt x="2099" y="98"/>
                  </a:lnTo>
                  <a:lnTo>
                    <a:pt x="2051" y="91"/>
                  </a:lnTo>
                  <a:lnTo>
                    <a:pt x="2069" y="55"/>
                  </a:lnTo>
                  <a:lnTo>
                    <a:pt x="2033" y="31"/>
                  </a:lnTo>
                  <a:lnTo>
                    <a:pt x="1996" y="48"/>
                  </a:lnTo>
                  <a:lnTo>
                    <a:pt x="1959" y="18"/>
                  </a:lnTo>
                  <a:lnTo>
                    <a:pt x="1934" y="6"/>
                  </a:lnTo>
                  <a:lnTo>
                    <a:pt x="1922" y="13"/>
                  </a:lnTo>
                  <a:lnTo>
                    <a:pt x="1902" y="0"/>
                  </a:lnTo>
                  <a:lnTo>
                    <a:pt x="353" y="734"/>
                  </a:lnTo>
                  <a:lnTo>
                    <a:pt x="40" y="509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" name="Freeform 4"/>
            <p:cNvSpPr>
              <a:spLocks/>
            </p:cNvSpPr>
            <p:nvPr/>
          </p:nvSpPr>
          <p:spPr bwMode="auto">
            <a:xfrm>
              <a:off x="2957" y="1378"/>
              <a:ext cx="1662" cy="705"/>
            </a:xfrm>
            <a:custGeom>
              <a:avLst/>
              <a:gdLst>
                <a:gd name="T0" fmla="*/ 863 w 1931"/>
                <a:gd name="T1" fmla="*/ 33 h 844"/>
                <a:gd name="T2" fmla="*/ 822 w 1931"/>
                <a:gd name="T3" fmla="*/ 42 h 844"/>
                <a:gd name="T4" fmla="*/ 832 w 1931"/>
                <a:gd name="T5" fmla="*/ 58 h 844"/>
                <a:gd name="T6" fmla="*/ 782 w 1931"/>
                <a:gd name="T7" fmla="*/ 64 h 844"/>
                <a:gd name="T8" fmla="*/ 747 w 1931"/>
                <a:gd name="T9" fmla="*/ 42 h 844"/>
                <a:gd name="T10" fmla="*/ 695 w 1931"/>
                <a:gd name="T11" fmla="*/ 44 h 844"/>
                <a:gd name="T12" fmla="*/ 673 w 1931"/>
                <a:gd name="T13" fmla="*/ 34 h 844"/>
                <a:gd name="T14" fmla="*/ 633 w 1931"/>
                <a:gd name="T15" fmla="*/ 40 h 844"/>
                <a:gd name="T16" fmla="*/ 626 w 1931"/>
                <a:gd name="T17" fmla="*/ 59 h 844"/>
                <a:gd name="T18" fmla="*/ 606 w 1931"/>
                <a:gd name="T19" fmla="*/ 62 h 844"/>
                <a:gd name="T20" fmla="*/ 580 w 1931"/>
                <a:gd name="T21" fmla="*/ 74 h 844"/>
                <a:gd name="T22" fmla="*/ 565 w 1931"/>
                <a:gd name="T23" fmla="*/ 62 h 844"/>
                <a:gd name="T24" fmla="*/ 524 w 1931"/>
                <a:gd name="T25" fmla="*/ 50 h 844"/>
                <a:gd name="T26" fmla="*/ 498 w 1931"/>
                <a:gd name="T27" fmla="*/ 59 h 844"/>
                <a:gd name="T28" fmla="*/ 449 w 1931"/>
                <a:gd name="T29" fmla="*/ 59 h 844"/>
                <a:gd name="T30" fmla="*/ 432 w 1931"/>
                <a:gd name="T31" fmla="*/ 82 h 844"/>
                <a:gd name="T32" fmla="*/ 443 w 1931"/>
                <a:gd name="T33" fmla="*/ 52 h 844"/>
                <a:gd name="T34" fmla="*/ 442 w 1931"/>
                <a:gd name="T35" fmla="*/ 25 h 844"/>
                <a:gd name="T36" fmla="*/ 405 w 1931"/>
                <a:gd name="T37" fmla="*/ 11 h 844"/>
                <a:gd name="T38" fmla="*/ 396 w 1931"/>
                <a:gd name="T39" fmla="*/ 19 h 844"/>
                <a:gd name="T40" fmla="*/ 372 w 1931"/>
                <a:gd name="T41" fmla="*/ 0 h 844"/>
                <a:gd name="T42" fmla="*/ 359 w 1931"/>
                <a:gd name="T43" fmla="*/ 18 h 844"/>
                <a:gd name="T44" fmla="*/ 375 w 1931"/>
                <a:gd name="T45" fmla="*/ 30 h 844"/>
                <a:gd name="T46" fmla="*/ 342 w 1931"/>
                <a:gd name="T47" fmla="*/ 42 h 844"/>
                <a:gd name="T48" fmla="*/ 331 w 1931"/>
                <a:gd name="T49" fmla="*/ 48 h 844"/>
                <a:gd name="T50" fmla="*/ 319 w 1931"/>
                <a:gd name="T51" fmla="*/ 87 h 844"/>
                <a:gd name="T52" fmla="*/ 287 w 1931"/>
                <a:gd name="T53" fmla="*/ 94 h 844"/>
                <a:gd name="T54" fmla="*/ 313 w 1931"/>
                <a:gd name="T55" fmla="*/ 119 h 844"/>
                <a:gd name="T56" fmla="*/ 317 w 1931"/>
                <a:gd name="T57" fmla="*/ 139 h 844"/>
                <a:gd name="T58" fmla="*/ 281 w 1931"/>
                <a:gd name="T59" fmla="*/ 112 h 844"/>
                <a:gd name="T60" fmla="*/ 269 w 1931"/>
                <a:gd name="T61" fmla="*/ 126 h 844"/>
                <a:gd name="T62" fmla="*/ 269 w 1931"/>
                <a:gd name="T63" fmla="*/ 132 h 844"/>
                <a:gd name="T64" fmla="*/ 268 w 1931"/>
                <a:gd name="T65" fmla="*/ 150 h 844"/>
                <a:gd name="T66" fmla="*/ 290 w 1931"/>
                <a:gd name="T67" fmla="*/ 159 h 844"/>
                <a:gd name="T68" fmla="*/ 287 w 1931"/>
                <a:gd name="T69" fmla="*/ 165 h 844"/>
                <a:gd name="T70" fmla="*/ 279 w 1931"/>
                <a:gd name="T71" fmla="*/ 185 h 844"/>
                <a:gd name="T72" fmla="*/ 246 w 1931"/>
                <a:gd name="T73" fmla="*/ 200 h 844"/>
                <a:gd name="T74" fmla="*/ 263 w 1931"/>
                <a:gd name="T75" fmla="*/ 165 h 844"/>
                <a:gd name="T76" fmla="*/ 226 w 1931"/>
                <a:gd name="T77" fmla="*/ 112 h 844"/>
                <a:gd name="T78" fmla="*/ 235 w 1931"/>
                <a:gd name="T79" fmla="*/ 167 h 844"/>
                <a:gd name="T80" fmla="*/ 212 w 1931"/>
                <a:gd name="T81" fmla="*/ 157 h 844"/>
                <a:gd name="T82" fmla="*/ 191 w 1931"/>
                <a:gd name="T83" fmla="*/ 176 h 844"/>
                <a:gd name="T84" fmla="*/ 160 w 1931"/>
                <a:gd name="T85" fmla="*/ 182 h 844"/>
                <a:gd name="T86" fmla="*/ 130 w 1931"/>
                <a:gd name="T87" fmla="*/ 185 h 844"/>
                <a:gd name="T88" fmla="*/ 112 w 1931"/>
                <a:gd name="T89" fmla="*/ 200 h 844"/>
                <a:gd name="T90" fmla="*/ 100 w 1931"/>
                <a:gd name="T91" fmla="*/ 185 h 844"/>
                <a:gd name="T92" fmla="*/ 93 w 1931"/>
                <a:gd name="T93" fmla="*/ 210 h 844"/>
                <a:gd name="T94" fmla="*/ 79 w 1931"/>
                <a:gd name="T95" fmla="*/ 226 h 844"/>
                <a:gd name="T96" fmla="*/ 59 w 1931"/>
                <a:gd name="T97" fmla="*/ 231 h 844"/>
                <a:gd name="T98" fmla="*/ 48 w 1931"/>
                <a:gd name="T99" fmla="*/ 214 h 844"/>
                <a:gd name="T100" fmla="*/ 48 w 1931"/>
                <a:gd name="T101" fmla="*/ 206 h 844"/>
                <a:gd name="T102" fmla="*/ 79 w 1931"/>
                <a:gd name="T103" fmla="*/ 200 h 844"/>
                <a:gd name="T104" fmla="*/ 29 w 1931"/>
                <a:gd name="T105" fmla="*/ 175 h 844"/>
                <a:gd name="T106" fmla="*/ 9 w 1931"/>
                <a:gd name="T107" fmla="*/ 161 h 844"/>
                <a:gd name="T108" fmla="*/ 5 w 1931"/>
                <a:gd name="T109" fmla="*/ 180 h 844"/>
                <a:gd name="T110" fmla="*/ 14 w 1931"/>
                <a:gd name="T111" fmla="*/ 211 h 844"/>
                <a:gd name="T112" fmla="*/ 34 w 1931"/>
                <a:gd name="T113" fmla="*/ 248 h 844"/>
                <a:gd name="T114" fmla="*/ 912 w 1931"/>
                <a:gd name="T115" fmla="*/ 44 h 8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1931" h="844">
                  <a:moveTo>
                    <a:pt x="1931" y="110"/>
                  </a:moveTo>
                  <a:lnTo>
                    <a:pt x="1896" y="103"/>
                  </a:lnTo>
                  <a:lnTo>
                    <a:pt x="1828" y="80"/>
                  </a:lnTo>
                  <a:lnTo>
                    <a:pt x="1780" y="80"/>
                  </a:lnTo>
                  <a:lnTo>
                    <a:pt x="1741" y="98"/>
                  </a:lnTo>
                  <a:lnTo>
                    <a:pt x="1741" y="103"/>
                  </a:lnTo>
                  <a:lnTo>
                    <a:pt x="1773" y="123"/>
                  </a:lnTo>
                  <a:lnTo>
                    <a:pt x="1773" y="141"/>
                  </a:lnTo>
                  <a:lnTo>
                    <a:pt x="1761" y="141"/>
                  </a:lnTo>
                  <a:lnTo>
                    <a:pt x="1731" y="116"/>
                  </a:lnTo>
                  <a:lnTo>
                    <a:pt x="1670" y="128"/>
                  </a:lnTo>
                  <a:lnTo>
                    <a:pt x="1656" y="158"/>
                  </a:lnTo>
                  <a:lnTo>
                    <a:pt x="1631" y="146"/>
                  </a:lnTo>
                  <a:lnTo>
                    <a:pt x="1608" y="146"/>
                  </a:lnTo>
                  <a:lnTo>
                    <a:pt x="1583" y="103"/>
                  </a:lnTo>
                  <a:lnTo>
                    <a:pt x="1521" y="103"/>
                  </a:lnTo>
                  <a:lnTo>
                    <a:pt x="1505" y="128"/>
                  </a:lnTo>
                  <a:lnTo>
                    <a:pt x="1473" y="110"/>
                  </a:lnTo>
                  <a:lnTo>
                    <a:pt x="1441" y="116"/>
                  </a:lnTo>
                  <a:lnTo>
                    <a:pt x="1448" y="85"/>
                  </a:lnTo>
                  <a:lnTo>
                    <a:pt x="1425" y="85"/>
                  </a:lnTo>
                  <a:lnTo>
                    <a:pt x="1381" y="128"/>
                  </a:lnTo>
                  <a:lnTo>
                    <a:pt x="1374" y="98"/>
                  </a:lnTo>
                  <a:lnTo>
                    <a:pt x="1338" y="98"/>
                  </a:lnTo>
                  <a:lnTo>
                    <a:pt x="1314" y="110"/>
                  </a:lnTo>
                  <a:lnTo>
                    <a:pt x="1338" y="146"/>
                  </a:lnTo>
                  <a:lnTo>
                    <a:pt x="1326" y="146"/>
                  </a:lnTo>
                  <a:lnTo>
                    <a:pt x="1326" y="158"/>
                  </a:lnTo>
                  <a:lnTo>
                    <a:pt x="1301" y="158"/>
                  </a:lnTo>
                  <a:lnTo>
                    <a:pt x="1283" y="153"/>
                  </a:lnTo>
                  <a:lnTo>
                    <a:pt x="1253" y="178"/>
                  </a:lnTo>
                  <a:lnTo>
                    <a:pt x="1259" y="201"/>
                  </a:lnTo>
                  <a:lnTo>
                    <a:pt x="1228" y="183"/>
                  </a:lnTo>
                  <a:lnTo>
                    <a:pt x="1214" y="165"/>
                  </a:lnTo>
                  <a:lnTo>
                    <a:pt x="1196" y="165"/>
                  </a:lnTo>
                  <a:lnTo>
                    <a:pt x="1196" y="153"/>
                  </a:lnTo>
                  <a:lnTo>
                    <a:pt x="1166" y="116"/>
                  </a:lnTo>
                  <a:lnTo>
                    <a:pt x="1124" y="116"/>
                  </a:lnTo>
                  <a:lnTo>
                    <a:pt x="1111" y="123"/>
                  </a:lnTo>
                  <a:lnTo>
                    <a:pt x="1118" y="141"/>
                  </a:lnTo>
                  <a:lnTo>
                    <a:pt x="1063" y="153"/>
                  </a:lnTo>
                  <a:lnTo>
                    <a:pt x="1056" y="146"/>
                  </a:lnTo>
                  <a:lnTo>
                    <a:pt x="1049" y="141"/>
                  </a:lnTo>
                  <a:lnTo>
                    <a:pt x="1008" y="153"/>
                  </a:lnTo>
                  <a:lnTo>
                    <a:pt x="951" y="146"/>
                  </a:lnTo>
                  <a:lnTo>
                    <a:pt x="951" y="165"/>
                  </a:lnTo>
                  <a:lnTo>
                    <a:pt x="934" y="178"/>
                  </a:lnTo>
                  <a:lnTo>
                    <a:pt x="914" y="201"/>
                  </a:lnTo>
                  <a:lnTo>
                    <a:pt x="909" y="195"/>
                  </a:lnTo>
                  <a:lnTo>
                    <a:pt x="928" y="146"/>
                  </a:lnTo>
                  <a:lnTo>
                    <a:pt x="939" y="128"/>
                  </a:lnTo>
                  <a:lnTo>
                    <a:pt x="939" y="110"/>
                  </a:lnTo>
                  <a:lnTo>
                    <a:pt x="946" y="85"/>
                  </a:lnTo>
                  <a:lnTo>
                    <a:pt x="934" y="61"/>
                  </a:lnTo>
                  <a:lnTo>
                    <a:pt x="934" y="43"/>
                  </a:lnTo>
                  <a:lnTo>
                    <a:pt x="891" y="30"/>
                  </a:lnTo>
                  <a:lnTo>
                    <a:pt x="859" y="25"/>
                  </a:lnTo>
                  <a:lnTo>
                    <a:pt x="848" y="30"/>
                  </a:lnTo>
                  <a:lnTo>
                    <a:pt x="848" y="48"/>
                  </a:lnTo>
                  <a:lnTo>
                    <a:pt x="836" y="48"/>
                  </a:lnTo>
                  <a:lnTo>
                    <a:pt x="823" y="30"/>
                  </a:lnTo>
                  <a:lnTo>
                    <a:pt x="799" y="18"/>
                  </a:lnTo>
                  <a:lnTo>
                    <a:pt x="786" y="0"/>
                  </a:lnTo>
                  <a:lnTo>
                    <a:pt x="774" y="6"/>
                  </a:lnTo>
                  <a:lnTo>
                    <a:pt x="761" y="30"/>
                  </a:lnTo>
                  <a:lnTo>
                    <a:pt x="761" y="43"/>
                  </a:lnTo>
                  <a:lnTo>
                    <a:pt x="786" y="55"/>
                  </a:lnTo>
                  <a:lnTo>
                    <a:pt x="779" y="61"/>
                  </a:lnTo>
                  <a:lnTo>
                    <a:pt x="793" y="73"/>
                  </a:lnTo>
                  <a:lnTo>
                    <a:pt x="779" y="73"/>
                  </a:lnTo>
                  <a:lnTo>
                    <a:pt x="761" y="98"/>
                  </a:lnTo>
                  <a:lnTo>
                    <a:pt x="724" y="103"/>
                  </a:lnTo>
                  <a:lnTo>
                    <a:pt x="712" y="98"/>
                  </a:lnTo>
                  <a:lnTo>
                    <a:pt x="694" y="103"/>
                  </a:lnTo>
                  <a:lnTo>
                    <a:pt x="701" y="116"/>
                  </a:lnTo>
                  <a:lnTo>
                    <a:pt x="664" y="146"/>
                  </a:lnTo>
                  <a:lnTo>
                    <a:pt x="657" y="183"/>
                  </a:lnTo>
                  <a:lnTo>
                    <a:pt x="676" y="213"/>
                  </a:lnTo>
                  <a:lnTo>
                    <a:pt x="657" y="208"/>
                  </a:lnTo>
                  <a:lnTo>
                    <a:pt x="621" y="226"/>
                  </a:lnTo>
                  <a:lnTo>
                    <a:pt x="609" y="231"/>
                  </a:lnTo>
                  <a:lnTo>
                    <a:pt x="614" y="270"/>
                  </a:lnTo>
                  <a:lnTo>
                    <a:pt x="651" y="275"/>
                  </a:lnTo>
                  <a:lnTo>
                    <a:pt x="664" y="295"/>
                  </a:lnTo>
                  <a:lnTo>
                    <a:pt x="689" y="330"/>
                  </a:lnTo>
                  <a:lnTo>
                    <a:pt x="701" y="366"/>
                  </a:lnTo>
                  <a:lnTo>
                    <a:pt x="669" y="343"/>
                  </a:lnTo>
                  <a:lnTo>
                    <a:pt x="651" y="295"/>
                  </a:lnTo>
                  <a:lnTo>
                    <a:pt x="609" y="275"/>
                  </a:lnTo>
                  <a:lnTo>
                    <a:pt x="596" y="275"/>
                  </a:lnTo>
                  <a:lnTo>
                    <a:pt x="591" y="288"/>
                  </a:lnTo>
                  <a:lnTo>
                    <a:pt x="566" y="306"/>
                  </a:lnTo>
                  <a:lnTo>
                    <a:pt x="571" y="311"/>
                  </a:lnTo>
                  <a:lnTo>
                    <a:pt x="596" y="311"/>
                  </a:lnTo>
                  <a:lnTo>
                    <a:pt x="602" y="330"/>
                  </a:lnTo>
                  <a:lnTo>
                    <a:pt x="571" y="325"/>
                  </a:lnTo>
                  <a:lnTo>
                    <a:pt x="541" y="300"/>
                  </a:lnTo>
                  <a:lnTo>
                    <a:pt x="541" y="325"/>
                  </a:lnTo>
                  <a:lnTo>
                    <a:pt x="566" y="366"/>
                  </a:lnTo>
                  <a:lnTo>
                    <a:pt x="566" y="380"/>
                  </a:lnTo>
                  <a:lnTo>
                    <a:pt x="584" y="391"/>
                  </a:lnTo>
                  <a:lnTo>
                    <a:pt x="614" y="391"/>
                  </a:lnTo>
                  <a:lnTo>
                    <a:pt x="639" y="428"/>
                  </a:lnTo>
                  <a:lnTo>
                    <a:pt x="651" y="435"/>
                  </a:lnTo>
                  <a:lnTo>
                    <a:pt x="609" y="405"/>
                  </a:lnTo>
                  <a:lnTo>
                    <a:pt x="596" y="405"/>
                  </a:lnTo>
                  <a:lnTo>
                    <a:pt x="577" y="421"/>
                  </a:lnTo>
                  <a:lnTo>
                    <a:pt x="591" y="453"/>
                  </a:lnTo>
                  <a:lnTo>
                    <a:pt x="577" y="490"/>
                  </a:lnTo>
                  <a:lnTo>
                    <a:pt x="554" y="496"/>
                  </a:lnTo>
                  <a:lnTo>
                    <a:pt x="522" y="490"/>
                  </a:lnTo>
                  <a:lnTo>
                    <a:pt x="547" y="478"/>
                  </a:lnTo>
                  <a:lnTo>
                    <a:pt x="559" y="435"/>
                  </a:lnTo>
                  <a:lnTo>
                    <a:pt x="559" y="405"/>
                  </a:lnTo>
                  <a:lnTo>
                    <a:pt x="516" y="330"/>
                  </a:lnTo>
                  <a:lnTo>
                    <a:pt x="497" y="281"/>
                  </a:lnTo>
                  <a:lnTo>
                    <a:pt x="479" y="275"/>
                  </a:lnTo>
                  <a:lnTo>
                    <a:pt x="467" y="336"/>
                  </a:lnTo>
                  <a:lnTo>
                    <a:pt x="474" y="380"/>
                  </a:lnTo>
                  <a:lnTo>
                    <a:pt x="497" y="410"/>
                  </a:lnTo>
                  <a:lnTo>
                    <a:pt x="497" y="416"/>
                  </a:lnTo>
                  <a:lnTo>
                    <a:pt x="474" y="405"/>
                  </a:lnTo>
                  <a:lnTo>
                    <a:pt x="449" y="385"/>
                  </a:lnTo>
                  <a:lnTo>
                    <a:pt x="401" y="391"/>
                  </a:lnTo>
                  <a:lnTo>
                    <a:pt x="406" y="416"/>
                  </a:lnTo>
                  <a:lnTo>
                    <a:pt x="406" y="435"/>
                  </a:lnTo>
                  <a:lnTo>
                    <a:pt x="394" y="435"/>
                  </a:lnTo>
                  <a:lnTo>
                    <a:pt x="387" y="416"/>
                  </a:lnTo>
                  <a:lnTo>
                    <a:pt x="339" y="446"/>
                  </a:lnTo>
                  <a:lnTo>
                    <a:pt x="327" y="440"/>
                  </a:lnTo>
                  <a:lnTo>
                    <a:pt x="321" y="428"/>
                  </a:lnTo>
                  <a:lnTo>
                    <a:pt x="277" y="453"/>
                  </a:lnTo>
                  <a:lnTo>
                    <a:pt x="271" y="471"/>
                  </a:lnTo>
                  <a:lnTo>
                    <a:pt x="254" y="471"/>
                  </a:lnTo>
                  <a:lnTo>
                    <a:pt x="236" y="490"/>
                  </a:lnTo>
                  <a:lnTo>
                    <a:pt x="229" y="478"/>
                  </a:lnTo>
                  <a:lnTo>
                    <a:pt x="229" y="446"/>
                  </a:lnTo>
                  <a:lnTo>
                    <a:pt x="211" y="453"/>
                  </a:lnTo>
                  <a:lnTo>
                    <a:pt x="204" y="471"/>
                  </a:lnTo>
                  <a:lnTo>
                    <a:pt x="211" y="501"/>
                  </a:lnTo>
                  <a:lnTo>
                    <a:pt x="197" y="515"/>
                  </a:lnTo>
                  <a:lnTo>
                    <a:pt x="181" y="520"/>
                  </a:lnTo>
                  <a:lnTo>
                    <a:pt x="161" y="545"/>
                  </a:lnTo>
                  <a:lnTo>
                    <a:pt x="167" y="556"/>
                  </a:lnTo>
                  <a:lnTo>
                    <a:pt x="161" y="570"/>
                  </a:lnTo>
                  <a:lnTo>
                    <a:pt x="131" y="551"/>
                  </a:lnTo>
                  <a:lnTo>
                    <a:pt x="124" y="570"/>
                  </a:lnTo>
                  <a:lnTo>
                    <a:pt x="124" y="581"/>
                  </a:lnTo>
                  <a:lnTo>
                    <a:pt x="94" y="556"/>
                  </a:lnTo>
                  <a:lnTo>
                    <a:pt x="101" y="526"/>
                  </a:lnTo>
                  <a:lnTo>
                    <a:pt x="76" y="508"/>
                  </a:lnTo>
                  <a:lnTo>
                    <a:pt x="64" y="496"/>
                  </a:lnTo>
                  <a:lnTo>
                    <a:pt x="101" y="508"/>
                  </a:lnTo>
                  <a:lnTo>
                    <a:pt x="124" y="515"/>
                  </a:lnTo>
                  <a:lnTo>
                    <a:pt x="149" y="508"/>
                  </a:lnTo>
                  <a:lnTo>
                    <a:pt x="167" y="490"/>
                  </a:lnTo>
                  <a:lnTo>
                    <a:pt x="124" y="440"/>
                  </a:lnTo>
                  <a:lnTo>
                    <a:pt x="101" y="428"/>
                  </a:lnTo>
                  <a:lnTo>
                    <a:pt x="64" y="428"/>
                  </a:lnTo>
                  <a:lnTo>
                    <a:pt x="46" y="416"/>
                  </a:lnTo>
                  <a:lnTo>
                    <a:pt x="25" y="398"/>
                  </a:lnTo>
                  <a:lnTo>
                    <a:pt x="19" y="398"/>
                  </a:lnTo>
                  <a:lnTo>
                    <a:pt x="5" y="400"/>
                  </a:lnTo>
                  <a:lnTo>
                    <a:pt x="0" y="418"/>
                  </a:lnTo>
                  <a:lnTo>
                    <a:pt x="10" y="443"/>
                  </a:lnTo>
                  <a:lnTo>
                    <a:pt x="12" y="471"/>
                  </a:lnTo>
                  <a:lnTo>
                    <a:pt x="29" y="500"/>
                  </a:lnTo>
                  <a:lnTo>
                    <a:pt x="29" y="520"/>
                  </a:lnTo>
                  <a:lnTo>
                    <a:pt x="40" y="540"/>
                  </a:lnTo>
                  <a:lnTo>
                    <a:pt x="40" y="565"/>
                  </a:lnTo>
                  <a:lnTo>
                    <a:pt x="71" y="611"/>
                  </a:lnTo>
                  <a:lnTo>
                    <a:pt x="71" y="621"/>
                  </a:lnTo>
                  <a:lnTo>
                    <a:pt x="384" y="844"/>
                  </a:lnTo>
                  <a:lnTo>
                    <a:pt x="1931" y="11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2313" y="1424"/>
              <a:ext cx="63" cy="95"/>
            </a:xfrm>
            <a:custGeom>
              <a:avLst/>
              <a:gdLst>
                <a:gd name="T0" fmla="*/ 4 w 101"/>
                <a:gd name="T1" fmla="*/ 4 h 145"/>
                <a:gd name="T2" fmla="*/ 4 w 101"/>
                <a:gd name="T3" fmla="*/ 3 h 145"/>
                <a:gd name="T4" fmla="*/ 4 w 101"/>
                <a:gd name="T5" fmla="*/ 1 h 145"/>
                <a:gd name="T6" fmla="*/ 4 w 101"/>
                <a:gd name="T7" fmla="*/ 1 h 145"/>
                <a:gd name="T8" fmla="*/ 2 w 101"/>
                <a:gd name="T9" fmla="*/ 0 h 145"/>
                <a:gd name="T10" fmla="*/ 2 w 101"/>
                <a:gd name="T11" fmla="*/ 1 h 145"/>
                <a:gd name="T12" fmla="*/ 1 w 101"/>
                <a:gd name="T13" fmla="*/ 2 h 145"/>
                <a:gd name="T14" fmla="*/ 0 w 101"/>
                <a:gd name="T15" fmla="*/ 1 h 145"/>
                <a:gd name="T16" fmla="*/ 0 w 101"/>
                <a:gd name="T17" fmla="*/ 1 h 145"/>
                <a:gd name="T18" fmla="*/ 1 w 101"/>
                <a:gd name="T19" fmla="*/ 5 h 145"/>
                <a:gd name="T20" fmla="*/ 1 w 101"/>
                <a:gd name="T21" fmla="*/ 5 h 145"/>
                <a:gd name="T22" fmla="*/ 1 w 101"/>
                <a:gd name="T23" fmla="*/ 7 h 145"/>
                <a:gd name="T24" fmla="*/ 2 w 101"/>
                <a:gd name="T25" fmla="*/ 8 h 145"/>
                <a:gd name="T26" fmla="*/ 4 w 101"/>
                <a:gd name="T27" fmla="*/ 9 h 145"/>
                <a:gd name="T28" fmla="*/ 4 w 101"/>
                <a:gd name="T29" fmla="*/ 8 h 145"/>
                <a:gd name="T30" fmla="*/ 4 w 101"/>
                <a:gd name="T31" fmla="*/ 7 h 145"/>
                <a:gd name="T32" fmla="*/ 6 w 101"/>
                <a:gd name="T33" fmla="*/ 8 h 145"/>
                <a:gd name="T34" fmla="*/ 6 w 101"/>
                <a:gd name="T35" fmla="*/ 9 h 145"/>
                <a:gd name="T36" fmla="*/ 5 w 101"/>
                <a:gd name="T37" fmla="*/ 9 h 145"/>
                <a:gd name="T38" fmla="*/ 4 w 101"/>
                <a:gd name="T39" fmla="*/ 9 h 145"/>
                <a:gd name="T40" fmla="*/ 4 w 101"/>
                <a:gd name="T41" fmla="*/ 10 h 145"/>
                <a:gd name="T42" fmla="*/ 5 w 101"/>
                <a:gd name="T43" fmla="*/ 11 h 145"/>
                <a:gd name="T44" fmla="*/ 6 w 101"/>
                <a:gd name="T45" fmla="*/ 11 h 145"/>
                <a:gd name="T46" fmla="*/ 6 w 101"/>
                <a:gd name="T47" fmla="*/ 12 h 145"/>
                <a:gd name="T48" fmla="*/ 4 w 101"/>
                <a:gd name="T49" fmla="*/ 13 h 145"/>
                <a:gd name="T50" fmla="*/ 5 w 101"/>
                <a:gd name="T51" fmla="*/ 15 h 145"/>
                <a:gd name="T52" fmla="*/ 7 w 101"/>
                <a:gd name="T53" fmla="*/ 16 h 145"/>
                <a:gd name="T54" fmla="*/ 7 w 101"/>
                <a:gd name="T55" fmla="*/ 18 h 145"/>
                <a:gd name="T56" fmla="*/ 7 w 101"/>
                <a:gd name="T57" fmla="*/ 15 h 145"/>
                <a:gd name="T58" fmla="*/ 7 w 101"/>
                <a:gd name="T59" fmla="*/ 13 h 145"/>
                <a:gd name="T60" fmla="*/ 8 w 101"/>
                <a:gd name="T61" fmla="*/ 10 h 145"/>
                <a:gd name="T62" fmla="*/ 9 w 101"/>
                <a:gd name="T63" fmla="*/ 9 h 145"/>
                <a:gd name="T64" fmla="*/ 9 w 101"/>
                <a:gd name="T65" fmla="*/ 6 h 145"/>
                <a:gd name="T66" fmla="*/ 9 w 101"/>
                <a:gd name="T67" fmla="*/ 5 h 145"/>
                <a:gd name="T68" fmla="*/ 9 w 101"/>
                <a:gd name="T69" fmla="*/ 5 h 145"/>
                <a:gd name="T70" fmla="*/ 7 w 101"/>
                <a:gd name="T71" fmla="*/ 4 h 145"/>
                <a:gd name="T72" fmla="*/ 6 w 101"/>
                <a:gd name="T73" fmla="*/ 2 h 145"/>
                <a:gd name="T74" fmla="*/ 6 w 101"/>
                <a:gd name="T75" fmla="*/ 3 h 145"/>
                <a:gd name="T76" fmla="*/ 4 w 101"/>
                <a:gd name="T77" fmla="*/ 3 h 145"/>
                <a:gd name="T78" fmla="*/ 4 w 101"/>
                <a:gd name="T79" fmla="*/ 4 h 145"/>
                <a:gd name="T80" fmla="*/ 4 w 101"/>
                <a:gd name="T81" fmla="*/ 4 h 14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1" h="145">
                  <a:moveTo>
                    <a:pt x="51" y="30"/>
                  </a:moveTo>
                  <a:lnTo>
                    <a:pt x="41" y="27"/>
                  </a:lnTo>
                  <a:lnTo>
                    <a:pt x="40" y="12"/>
                  </a:lnTo>
                  <a:lnTo>
                    <a:pt x="38" y="3"/>
                  </a:lnTo>
                  <a:lnTo>
                    <a:pt x="30" y="0"/>
                  </a:lnTo>
                  <a:lnTo>
                    <a:pt x="21" y="5"/>
                  </a:lnTo>
                  <a:lnTo>
                    <a:pt x="16" y="13"/>
                  </a:lnTo>
                  <a:lnTo>
                    <a:pt x="0" y="3"/>
                  </a:lnTo>
                  <a:lnTo>
                    <a:pt x="0" y="12"/>
                  </a:lnTo>
                  <a:lnTo>
                    <a:pt x="6" y="35"/>
                  </a:lnTo>
                  <a:lnTo>
                    <a:pt x="11" y="43"/>
                  </a:lnTo>
                  <a:lnTo>
                    <a:pt x="13" y="57"/>
                  </a:lnTo>
                  <a:lnTo>
                    <a:pt x="26" y="68"/>
                  </a:lnTo>
                  <a:lnTo>
                    <a:pt x="36" y="73"/>
                  </a:lnTo>
                  <a:lnTo>
                    <a:pt x="50" y="65"/>
                  </a:lnTo>
                  <a:lnTo>
                    <a:pt x="50" y="57"/>
                  </a:lnTo>
                  <a:lnTo>
                    <a:pt x="60" y="62"/>
                  </a:lnTo>
                  <a:lnTo>
                    <a:pt x="63" y="77"/>
                  </a:lnTo>
                  <a:lnTo>
                    <a:pt x="55" y="80"/>
                  </a:lnTo>
                  <a:lnTo>
                    <a:pt x="45" y="80"/>
                  </a:lnTo>
                  <a:lnTo>
                    <a:pt x="45" y="88"/>
                  </a:lnTo>
                  <a:lnTo>
                    <a:pt x="55" y="90"/>
                  </a:lnTo>
                  <a:lnTo>
                    <a:pt x="63" y="92"/>
                  </a:lnTo>
                  <a:lnTo>
                    <a:pt x="56" y="105"/>
                  </a:lnTo>
                  <a:lnTo>
                    <a:pt x="45" y="110"/>
                  </a:lnTo>
                  <a:lnTo>
                    <a:pt x="55" y="127"/>
                  </a:lnTo>
                  <a:lnTo>
                    <a:pt x="70" y="135"/>
                  </a:lnTo>
                  <a:lnTo>
                    <a:pt x="75" y="145"/>
                  </a:lnTo>
                  <a:lnTo>
                    <a:pt x="80" y="127"/>
                  </a:lnTo>
                  <a:lnTo>
                    <a:pt x="81" y="107"/>
                  </a:lnTo>
                  <a:lnTo>
                    <a:pt x="85" y="88"/>
                  </a:lnTo>
                  <a:lnTo>
                    <a:pt x="93" y="70"/>
                  </a:lnTo>
                  <a:lnTo>
                    <a:pt x="96" y="52"/>
                  </a:lnTo>
                  <a:lnTo>
                    <a:pt x="101" y="43"/>
                  </a:lnTo>
                  <a:lnTo>
                    <a:pt x="93" y="42"/>
                  </a:lnTo>
                  <a:lnTo>
                    <a:pt x="80" y="30"/>
                  </a:lnTo>
                  <a:lnTo>
                    <a:pt x="68" y="15"/>
                  </a:lnTo>
                  <a:lnTo>
                    <a:pt x="61" y="23"/>
                  </a:lnTo>
                  <a:lnTo>
                    <a:pt x="46" y="27"/>
                  </a:lnTo>
                  <a:lnTo>
                    <a:pt x="51" y="3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2313" y="1424"/>
              <a:ext cx="63" cy="95"/>
            </a:xfrm>
            <a:custGeom>
              <a:avLst/>
              <a:gdLst>
                <a:gd name="T0" fmla="*/ 4 w 101"/>
                <a:gd name="T1" fmla="*/ 4 h 145"/>
                <a:gd name="T2" fmla="*/ 4 w 101"/>
                <a:gd name="T3" fmla="*/ 3 h 145"/>
                <a:gd name="T4" fmla="*/ 4 w 101"/>
                <a:gd name="T5" fmla="*/ 1 h 145"/>
                <a:gd name="T6" fmla="*/ 4 w 101"/>
                <a:gd name="T7" fmla="*/ 1 h 145"/>
                <a:gd name="T8" fmla="*/ 2 w 101"/>
                <a:gd name="T9" fmla="*/ 0 h 145"/>
                <a:gd name="T10" fmla="*/ 2 w 101"/>
                <a:gd name="T11" fmla="*/ 1 h 145"/>
                <a:gd name="T12" fmla="*/ 1 w 101"/>
                <a:gd name="T13" fmla="*/ 2 h 145"/>
                <a:gd name="T14" fmla="*/ 0 w 101"/>
                <a:gd name="T15" fmla="*/ 1 h 145"/>
                <a:gd name="T16" fmla="*/ 0 w 101"/>
                <a:gd name="T17" fmla="*/ 1 h 145"/>
                <a:gd name="T18" fmla="*/ 1 w 101"/>
                <a:gd name="T19" fmla="*/ 5 h 145"/>
                <a:gd name="T20" fmla="*/ 1 w 101"/>
                <a:gd name="T21" fmla="*/ 5 h 145"/>
                <a:gd name="T22" fmla="*/ 1 w 101"/>
                <a:gd name="T23" fmla="*/ 7 h 145"/>
                <a:gd name="T24" fmla="*/ 2 w 101"/>
                <a:gd name="T25" fmla="*/ 8 h 145"/>
                <a:gd name="T26" fmla="*/ 4 w 101"/>
                <a:gd name="T27" fmla="*/ 9 h 145"/>
                <a:gd name="T28" fmla="*/ 4 w 101"/>
                <a:gd name="T29" fmla="*/ 8 h 145"/>
                <a:gd name="T30" fmla="*/ 4 w 101"/>
                <a:gd name="T31" fmla="*/ 7 h 145"/>
                <a:gd name="T32" fmla="*/ 6 w 101"/>
                <a:gd name="T33" fmla="*/ 8 h 145"/>
                <a:gd name="T34" fmla="*/ 6 w 101"/>
                <a:gd name="T35" fmla="*/ 9 h 145"/>
                <a:gd name="T36" fmla="*/ 5 w 101"/>
                <a:gd name="T37" fmla="*/ 9 h 145"/>
                <a:gd name="T38" fmla="*/ 4 w 101"/>
                <a:gd name="T39" fmla="*/ 9 h 145"/>
                <a:gd name="T40" fmla="*/ 4 w 101"/>
                <a:gd name="T41" fmla="*/ 10 h 145"/>
                <a:gd name="T42" fmla="*/ 5 w 101"/>
                <a:gd name="T43" fmla="*/ 11 h 145"/>
                <a:gd name="T44" fmla="*/ 6 w 101"/>
                <a:gd name="T45" fmla="*/ 11 h 145"/>
                <a:gd name="T46" fmla="*/ 6 w 101"/>
                <a:gd name="T47" fmla="*/ 12 h 145"/>
                <a:gd name="T48" fmla="*/ 4 w 101"/>
                <a:gd name="T49" fmla="*/ 13 h 145"/>
                <a:gd name="T50" fmla="*/ 5 w 101"/>
                <a:gd name="T51" fmla="*/ 15 h 145"/>
                <a:gd name="T52" fmla="*/ 7 w 101"/>
                <a:gd name="T53" fmla="*/ 16 h 145"/>
                <a:gd name="T54" fmla="*/ 7 w 101"/>
                <a:gd name="T55" fmla="*/ 18 h 145"/>
                <a:gd name="T56" fmla="*/ 7 w 101"/>
                <a:gd name="T57" fmla="*/ 15 h 145"/>
                <a:gd name="T58" fmla="*/ 7 w 101"/>
                <a:gd name="T59" fmla="*/ 13 h 145"/>
                <a:gd name="T60" fmla="*/ 8 w 101"/>
                <a:gd name="T61" fmla="*/ 10 h 145"/>
                <a:gd name="T62" fmla="*/ 9 w 101"/>
                <a:gd name="T63" fmla="*/ 9 h 145"/>
                <a:gd name="T64" fmla="*/ 9 w 101"/>
                <a:gd name="T65" fmla="*/ 6 h 145"/>
                <a:gd name="T66" fmla="*/ 9 w 101"/>
                <a:gd name="T67" fmla="*/ 5 h 145"/>
                <a:gd name="T68" fmla="*/ 9 w 101"/>
                <a:gd name="T69" fmla="*/ 5 h 145"/>
                <a:gd name="T70" fmla="*/ 7 w 101"/>
                <a:gd name="T71" fmla="*/ 4 h 145"/>
                <a:gd name="T72" fmla="*/ 6 w 101"/>
                <a:gd name="T73" fmla="*/ 2 h 145"/>
                <a:gd name="T74" fmla="*/ 6 w 101"/>
                <a:gd name="T75" fmla="*/ 3 h 145"/>
                <a:gd name="T76" fmla="*/ 4 w 101"/>
                <a:gd name="T77" fmla="*/ 3 h 145"/>
                <a:gd name="T78" fmla="*/ 4 w 101"/>
                <a:gd name="T79" fmla="*/ 4 h 145"/>
                <a:gd name="T80" fmla="*/ 4 w 101"/>
                <a:gd name="T81" fmla="*/ 4 h 14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1" h="145">
                  <a:moveTo>
                    <a:pt x="51" y="30"/>
                  </a:moveTo>
                  <a:lnTo>
                    <a:pt x="41" y="27"/>
                  </a:lnTo>
                  <a:lnTo>
                    <a:pt x="40" y="12"/>
                  </a:lnTo>
                  <a:lnTo>
                    <a:pt x="38" y="3"/>
                  </a:lnTo>
                  <a:lnTo>
                    <a:pt x="30" y="0"/>
                  </a:lnTo>
                  <a:lnTo>
                    <a:pt x="21" y="5"/>
                  </a:lnTo>
                  <a:lnTo>
                    <a:pt x="16" y="13"/>
                  </a:lnTo>
                  <a:lnTo>
                    <a:pt x="0" y="3"/>
                  </a:lnTo>
                  <a:lnTo>
                    <a:pt x="0" y="12"/>
                  </a:lnTo>
                  <a:lnTo>
                    <a:pt x="6" y="35"/>
                  </a:lnTo>
                  <a:lnTo>
                    <a:pt x="11" y="43"/>
                  </a:lnTo>
                  <a:lnTo>
                    <a:pt x="13" y="57"/>
                  </a:lnTo>
                  <a:lnTo>
                    <a:pt x="26" y="68"/>
                  </a:lnTo>
                  <a:lnTo>
                    <a:pt x="36" y="73"/>
                  </a:lnTo>
                  <a:lnTo>
                    <a:pt x="50" y="65"/>
                  </a:lnTo>
                  <a:lnTo>
                    <a:pt x="50" y="57"/>
                  </a:lnTo>
                  <a:lnTo>
                    <a:pt x="60" y="62"/>
                  </a:lnTo>
                  <a:lnTo>
                    <a:pt x="63" y="77"/>
                  </a:lnTo>
                  <a:lnTo>
                    <a:pt x="55" y="80"/>
                  </a:lnTo>
                  <a:lnTo>
                    <a:pt x="45" y="80"/>
                  </a:lnTo>
                  <a:lnTo>
                    <a:pt x="45" y="88"/>
                  </a:lnTo>
                  <a:lnTo>
                    <a:pt x="55" y="90"/>
                  </a:lnTo>
                  <a:lnTo>
                    <a:pt x="63" y="92"/>
                  </a:lnTo>
                  <a:lnTo>
                    <a:pt x="56" y="105"/>
                  </a:lnTo>
                  <a:lnTo>
                    <a:pt x="45" y="110"/>
                  </a:lnTo>
                  <a:lnTo>
                    <a:pt x="55" y="127"/>
                  </a:lnTo>
                  <a:lnTo>
                    <a:pt x="70" y="135"/>
                  </a:lnTo>
                  <a:lnTo>
                    <a:pt x="75" y="145"/>
                  </a:lnTo>
                  <a:lnTo>
                    <a:pt x="80" y="127"/>
                  </a:lnTo>
                  <a:lnTo>
                    <a:pt x="81" y="107"/>
                  </a:lnTo>
                  <a:lnTo>
                    <a:pt x="85" y="88"/>
                  </a:lnTo>
                  <a:lnTo>
                    <a:pt x="93" y="70"/>
                  </a:lnTo>
                  <a:lnTo>
                    <a:pt x="96" y="52"/>
                  </a:lnTo>
                  <a:lnTo>
                    <a:pt x="101" y="43"/>
                  </a:lnTo>
                  <a:lnTo>
                    <a:pt x="93" y="42"/>
                  </a:lnTo>
                  <a:lnTo>
                    <a:pt x="80" y="30"/>
                  </a:lnTo>
                  <a:lnTo>
                    <a:pt x="68" y="15"/>
                  </a:lnTo>
                  <a:lnTo>
                    <a:pt x="61" y="23"/>
                  </a:lnTo>
                  <a:lnTo>
                    <a:pt x="46" y="27"/>
                  </a:lnTo>
                  <a:lnTo>
                    <a:pt x="51" y="3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2378" y="1418"/>
              <a:ext cx="33" cy="37"/>
            </a:xfrm>
            <a:custGeom>
              <a:avLst/>
              <a:gdLst>
                <a:gd name="T0" fmla="*/ 1 w 53"/>
                <a:gd name="T1" fmla="*/ 1 h 56"/>
                <a:gd name="T2" fmla="*/ 0 w 53"/>
                <a:gd name="T3" fmla="*/ 3 h 56"/>
                <a:gd name="T4" fmla="*/ 1 w 53"/>
                <a:gd name="T5" fmla="*/ 5 h 56"/>
                <a:gd name="T6" fmla="*/ 1 w 53"/>
                <a:gd name="T7" fmla="*/ 6 h 56"/>
                <a:gd name="T8" fmla="*/ 1 w 53"/>
                <a:gd name="T9" fmla="*/ 7 h 56"/>
                <a:gd name="T10" fmla="*/ 2 w 53"/>
                <a:gd name="T11" fmla="*/ 7 h 56"/>
                <a:gd name="T12" fmla="*/ 2 w 53"/>
                <a:gd name="T13" fmla="*/ 6 h 56"/>
                <a:gd name="T14" fmla="*/ 4 w 53"/>
                <a:gd name="T15" fmla="*/ 5 h 56"/>
                <a:gd name="T16" fmla="*/ 4 w 53"/>
                <a:gd name="T17" fmla="*/ 5 h 56"/>
                <a:gd name="T18" fmla="*/ 5 w 53"/>
                <a:gd name="T19" fmla="*/ 3 h 56"/>
                <a:gd name="T20" fmla="*/ 5 w 53"/>
                <a:gd name="T21" fmla="*/ 1 h 56"/>
                <a:gd name="T22" fmla="*/ 3 w 53"/>
                <a:gd name="T23" fmla="*/ 0 h 56"/>
                <a:gd name="T24" fmla="*/ 1 w 53"/>
                <a:gd name="T25" fmla="*/ 2 h 56"/>
                <a:gd name="T26" fmla="*/ 1 w 53"/>
                <a:gd name="T27" fmla="*/ 2 h 56"/>
                <a:gd name="T28" fmla="*/ 1 w 53"/>
                <a:gd name="T29" fmla="*/ 1 h 56"/>
                <a:gd name="T30" fmla="*/ 1 w 53"/>
                <a:gd name="T31" fmla="*/ 1 h 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6">
                  <a:moveTo>
                    <a:pt x="8" y="10"/>
                  </a:moveTo>
                  <a:lnTo>
                    <a:pt x="0" y="21"/>
                  </a:lnTo>
                  <a:lnTo>
                    <a:pt x="2" y="36"/>
                  </a:lnTo>
                  <a:lnTo>
                    <a:pt x="3" y="48"/>
                  </a:lnTo>
                  <a:lnTo>
                    <a:pt x="12" y="56"/>
                  </a:lnTo>
                  <a:lnTo>
                    <a:pt x="22" y="53"/>
                  </a:lnTo>
                  <a:lnTo>
                    <a:pt x="27" y="46"/>
                  </a:lnTo>
                  <a:lnTo>
                    <a:pt x="37" y="36"/>
                  </a:lnTo>
                  <a:lnTo>
                    <a:pt x="47" y="35"/>
                  </a:lnTo>
                  <a:lnTo>
                    <a:pt x="53" y="21"/>
                  </a:lnTo>
                  <a:lnTo>
                    <a:pt x="53" y="8"/>
                  </a:lnTo>
                  <a:lnTo>
                    <a:pt x="33" y="0"/>
                  </a:lnTo>
                  <a:lnTo>
                    <a:pt x="12" y="13"/>
                  </a:lnTo>
                  <a:lnTo>
                    <a:pt x="8" y="16"/>
                  </a:lnTo>
                  <a:lnTo>
                    <a:pt x="8" y="1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2378" y="1418"/>
              <a:ext cx="33" cy="37"/>
            </a:xfrm>
            <a:custGeom>
              <a:avLst/>
              <a:gdLst>
                <a:gd name="T0" fmla="*/ 1 w 53"/>
                <a:gd name="T1" fmla="*/ 1 h 56"/>
                <a:gd name="T2" fmla="*/ 0 w 53"/>
                <a:gd name="T3" fmla="*/ 3 h 56"/>
                <a:gd name="T4" fmla="*/ 1 w 53"/>
                <a:gd name="T5" fmla="*/ 5 h 56"/>
                <a:gd name="T6" fmla="*/ 1 w 53"/>
                <a:gd name="T7" fmla="*/ 6 h 56"/>
                <a:gd name="T8" fmla="*/ 1 w 53"/>
                <a:gd name="T9" fmla="*/ 7 h 56"/>
                <a:gd name="T10" fmla="*/ 2 w 53"/>
                <a:gd name="T11" fmla="*/ 7 h 56"/>
                <a:gd name="T12" fmla="*/ 2 w 53"/>
                <a:gd name="T13" fmla="*/ 6 h 56"/>
                <a:gd name="T14" fmla="*/ 4 w 53"/>
                <a:gd name="T15" fmla="*/ 5 h 56"/>
                <a:gd name="T16" fmla="*/ 4 w 53"/>
                <a:gd name="T17" fmla="*/ 5 h 56"/>
                <a:gd name="T18" fmla="*/ 5 w 53"/>
                <a:gd name="T19" fmla="*/ 3 h 56"/>
                <a:gd name="T20" fmla="*/ 5 w 53"/>
                <a:gd name="T21" fmla="*/ 1 h 56"/>
                <a:gd name="T22" fmla="*/ 3 w 53"/>
                <a:gd name="T23" fmla="*/ 0 h 56"/>
                <a:gd name="T24" fmla="*/ 1 w 53"/>
                <a:gd name="T25" fmla="*/ 2 h 56"/>
                <a:gd name="T26" fmla="*/ 1 w 53"/>
                <a:gd name="T27" fmla="*/ 2 h 56"/>
                <a:gd name="T28" fmla="*/ 1 w 53"/>
                <a:gd name="T29" fmla="*/ 1 h 56"/>
                <a:gd name="T30" fmla="*/ 1 w 53"/>
                <a:gd name="T31" fmla="*/ 1 h 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6">
                  <a:moveTo>
                    <a:pt x="8" y="10"/>
                  </a:moveTo>
                  <a:lnTo>
                    <a:pt x="0" y="21"/>
                  </a:lnTo>
                  <a:lnTo>
                    <a:pt x="2" y="36"/>
                  </a:lnTo>
                  <a:lnTo>
                    <a:pt x="3" y="48"/>
                  </a:lnTo>
                  <a:lnTo>
                    <a:pt x="12" y="56"/>
                  </a:lnTo>
                  <a:lnTo>
                    <a:pt x="22" y="53"/>
                  </a:lnTo>
                  <a:lnTo>
                    <a:pt x="27" y="46"/>
                  </a:lnTo>
                  <a:lnTo>
                    <a:pt x="37" y="36"/>
                  </a:lnTo>
                  <a:lnTo>
                    <a:pt x="47" y="35"/>
                  </a:lnTo>
                  <a:lnTo>
                    <a:pt x="53" y="21"/>
                  </a:lnTo>
                  <a:lnTo>
                    <a:pt x="53" y="8"/>
                  </a:lnTo>
                  <a:lnTo>
                    <a:pt x="33" y="0"/>
                  </a:lnTo>
                  <a:lnTo>
                    <a:pt x="12" y="13"/>
                  </a:lnTo>
                  <a:lnTo>
                    <a:pt x="8" y="16"/>
                  </a:lnTo>
                  <a:lnTo>
                    <a:pt x="8" y="1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2378" y="1475"/>
              <a:ext cx="23" cy="35"/>
            </a:xfrm>
            <a:custGeom>
              <a:avLst/>
              <a:gdLst>
                <a:gd name="T0" fmla="*/ 2 w 37"/>
                <a:gd name="T1" fmla="*/ 2 h 53"/>
                <a:gd name="T2" fmla="*/ 1 w 37"/>
                <a:gd name="T3" fmla="*/ 1 h 53"/>
                <a:gd name="T4" fmla="*/ 0 w 37"/>
                <a:gd name="T5" fmla="*/ 0 h 53"/>
                <a:gd name="T6" fmla="*/ 1 w 37"/>
                <a:gd name="T7" fmla="*/ 3 h 53"/>
                <a:gd name="T8" fmla="*/ 1 w 37"/>
                <a:gd name="T9" fmla="*/ 5 h 53"/>
                <a:gd name="T10" fmla="*/ 2 w 37"/>
                <a:gd name="T11" fmla="*/ 7 h 53"/>
                <a:gd name="T12" fmla="*/ 2 w 37"/>
                <a:gd name="T13" fmla="*/ 7 h 53"/>
                <a:gd name="T14" fmla="*/ 3 w 37"/>
                <a:gd name="T15" fmla="*/ 5 h 53"/>
                <a:gd name="T16" fmla="*/ 4 w 37"/>
                <a:gd name="T17" fmla="*/ 3 h 53"/>
                <a:gd name="T18" fmla="*/ 2 w 37"/>
                <a:gd name="T19" fmla="*/ 3 h 53"/>
                <a:gd name="T20" fmla="*/ 1 w 37"/>
                <a:gd name="T21" fmla="*/ 3 h 53"/>
                <a:gd name="T22" fmla="*/ 1 w 37"/>
                <a:gd name="T23" fmla="*/ 2 h 53"/>
                <a:gd name="T24" fmla="*/ 1 w 37"/>
                <a:gd name="T25" fmla="*/ 1 h 53"/>
                <a:gd name="T26" fmla="*/ 2 w 37"/>
                <a:gd name="T27" fmla="*/ 2 h 53"/>
                <a:gd name="T28" fmla="*/ 2 w 37"/>
                <a:gd name="T29" fmla="*/ 2 h 5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7" h="53">
                  <a:moveTo>
                    <a:pt x="22" y="15"/>
                  </a:moveTo>
                  <a:lnTo>
                    <a:pt x="12" y="8"/>
                  </a:lnTo>
                  <a:lnTo>
                    <a:pt x="0" y="0"/>
                  </a:lnTo>
                  <a:lnTo>
                    <a:pt x="2" y="28"/>
                  </a:lnTo>
                  <a:lnTo>
                    <a:pt x="13" y="36"/>
                  </a:lnTo>
                  <a:lnTo>
                    <a:pt x="22" y="50"/>
                  </a:lnTo>
                  <a:lnTo>
                    <a:pt x="30" y="53"/>
                  </a:lnTo>
                  <a:lnTo>
                    <a:pt x="33" y="40"/>
                  </a:lnTo>
                  <a:lnTo>
                    <a:pt x="37" y="25"/>
                  </a:lnTo>
                  <a:lnTo>
                    <a:pt x="27" y="20"/>
                  </a:lnTo>
                  <a:lnTo>
                    <a:pt x="18" y="21"/>
                  </a:lnTo>
                  <a:lnTo>
                    <a:pt x="10" y="13"/>
                  </a:lnTo>
                  <a:lnTo>
                    <a:pt x="2" y="8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2378" y="1475"/>
              <a:ext cx="23" cy="35"/>
            </a:xfrm>
            <a:custGeom>
              <a:avLst/>
              <a:gdLst>
                <a:gd name="T0" fmla="*/ 2 w 37"/>
                <a:gd name="T1" fmla="*/ 2 h 53"/>
                <a:gd name="T2" fmla="*/ 1 w 37"/>
                <a:gd name="T3" fmla="*/ 1 h 53"/>
                <a:gd name="T4" fmla="*/ 0 w 37"/>
                <a:gd name="T5" fmla="*/ 0 h 53"/>
                <a:gd name="T6" fmla="*/ 1 w 37"/>
                <a:gd name="T7" fmla="*/ 3 h 53"/>
                <a:gd name="T8" fmla="*/ 1 w 37"/>
                <a:gd name="T9" fmla="*/ 5 h 53"/>
                <a:gd name="T10" fmla="*/ 2 w 37"/>
                <a:gd name="T11" fmla="*/ 7 h 53"/>
                <a:gd name="T12" fmla="*/ 2 w 37"/>
                <a:gd name="T13" fmla="*/ 7 h 53"/>
                <a:gd name="T14" fmla="*/ 3 w 37"/>
                <a:gd name="T15" fmla="*/ 5 h 53"/>
                <a:gd name="T16" fmla="*/ 4 w 37"/>
                <a:gd name="T17" fmla="*/ 3 h 53"/>
                <a:gd name="T18" fmla="*/ 2 w 37"/>
                <a:gd name="T19" fmla="*/ 3 h 53"/>
                <a:gd name="T20" fmla="*/ 1 w 37"/>
                <a:gd name="T21" fmla="*/ 3 h 53"/>
                <a:gd name="T22" fmla="*/ 1 w 37"/>
                <a:gd name="T23" fmla="*/ 2 h 53"/>
                <a:gd name="T24" fmla="*/ 1 w 37"/>
                <a:gd name="T25" fmla="*/ 1 h 53"/>
                <a:gd name="T26" fmla="*/ 2 w 37"/>
                <a:gd name="T27" fmla="*/ 2 h 53"/>
                <a:gd name="T28" fmla="*/ 2 w 37"/>
                <a:gd name="T29" fmla="*/ 2 h 5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7" h="53">
                  <a:moveTo>
                    <a:pt x="22" y="15"/>
                  </a:moveTo>
                  <a:lnTo>
                    <a:pt x="12" y="8"/>
                  </a:lnTo>
                  <a:lnTo>
                    <a:pt x="0" y="0"/>
                  </a:lnTo>
                  <a:lnTo>
                    <a:pt x="2" y="28"/>
                  </a:lnTo>
                  <a:lnTo>
                    <a:pt x="13" y="36"/>
                  </a:lnTo>
                  <a:lnTo>
                    <a:pt x="22" y="50"/>
                  </a:lnTo>
                  <a:lnTo>
                    <a:pt x="30" y="53"/>
                  </a:lnTo>
                  <a:lnTo>
                    <a:pt x="33" y="40"/>
                  </a:lnTo>
                  <a:lnTo>
                    <a:pt x="37" y="25"/>
                  </a:lnTo>
                  <a:lnTo>
                    <a:pt x="27" y="20"/>
                  </a:lnTo>
                  <a:lnTo>
                    <a:pt x="18" y="21"/>
                  </a:lnTo>
                  <a:lnTo>
                    <a:pt x="10" y="13"/>
                  </a:lnTo>
                  <a:lnTo>
                    <a:pt x="2" y="8"/>
                  </a:lnTo>
                  <a:lnTo>
                    <a:pt x="22" y="1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3735" y="2449"/>
              <a:ext cx="7" cy="6"/>
            </a:xfrm>
            <a:custGeom>
              <a:avLst/>
              <a:gdLst>
                <a:gd name="T0" fmla="*/ 1 w 11"/>
                <a:gd name="T1" fmla="*/ 0 h 9"/>
                <a:gd name="T2" fmla="*/ 0 w 11"/>
                <a:gd name="T3" fmla="*/ 1 h 9"/>
                <a:gd name="T4" fmla="*/ 1 w 11"/>
                <a:gd name="T5" fmla="*/ 1 h 9"/>
                <a:gd name="T6" fmla="*/ 1 w 11"/>
                <a:gd name="T7" fmla="*/ 1 h 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9">
                  <a:moveTo>
                    <a:pt x="5" y="0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11" y="9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3167" y="2597"/>
              <a:ext cx="108" cy="119"/>
            </a:xfrm>
            <a:custGeom>
              <a:avLst/>
              <a:gdLst>
                <a:gd name="T0" fmla="*/ 7 w 170"/>
                <a:gd name="T1" fmla="*/ 5 h 179"/>
                <a:gd name="T2" fmla="*/ 7 w 170"/>
                <a:gd name="T3" fmla="*/ 4 h 179"/>
                <a:gd name="T4" fmla="*/ 6 w 170"/>
                <a:gd name="T5" fmla="*/ 3 h 179"/>
                <a:gd name="T6" fmla="*/ 4 w 170"/>
                <a:gd name="T7" fmla="*/ 1 h 179"/>
                <a:gd name="T8" fmla="*/ 3 w 170"/>
                <a:gd name="T9" fmla="*/ 0 h 179"/>
                <a:gd name="T10" fmla="*/ 2 w 170"/>
                <a:gd name="T11" fmla="*/ 1 h 179"/>
                <a:gd name="T12" fmla="*/ 1 w 170"/>
                <a:gd name="T13" fmla="*/ 1 h 179"/>
                <a:gd name="T14" fmla="*/ 0 w 170"/>
                <a:gd name="T15" fmla="*/ 0 h 179"/>
                <a:gd name="T16" fmla="*/ 1 w 170"/>
                <a:gd name="T17" fmla="*/ 2 h 179"/>
                <a:gd name="T18" fmla="*/ 3 w 170"/>
                <a:gd name="T19" fmla="*/ 5 h 179"/>
                <a:gd name="T20" fmla="*/ 4 w 170"/>
                <a:gd name="T21" fmla="*/ 6 h 179"/>
                <a:gd name="T22" fmla="*/ 6 w 170"/>
                <a:gd name="T23" fmla="*/ 10 h 179"/>
                <a:gd name="T24" fmla="*/ 7 w 170"/>
                <a:gd name="T25" fmla="*/ 11 h 179"/>
                <a:gd name="T26" fmla="*/ 7 w 170"/>
                <a:gd name="T27" fmla="*/ 13 h 179"/>
                <a:gd name="T28" fmla="*/ 7 w 170"/>
                <a:gd name="T29" fmla="*/ 15 h 179"/>
                <a:gd name="T30" fmla="*/ 8 w 170"/>
                <a:gd name="T31" fmla="*/ 17 h 179"/>
                <a:gd name="T32" fmla="*/ 10 w 170"/>
                <a:gd name="T33" fmla="*/ 19 h 179"/>
                <a:gd name="T34" fmla="*/ 11 w 170"/>
                <a:gd name="T35" fmla="*/ 21 h 179"/>
                <a:gd name="T36" fmla="*/ 13 w 170"/>
                <a:gd name="T37" fmla="*/ 22 h 179"/>
                <a:gd name="T38" fmla="*/ 15 w 170"/>
                <a:gd name="T39" fmla="*/ 23 h 179"/>
                <a:gd name="T40" fmla="*/ 17 w 170"/>
                <a:gd name="T41" fmla="*/ 23 h 179"/>
                <a:gd name="T42" fmla="*/ 18 w 170"/>
                <a:gd name="T43" fmla="*/ 22 h 179"/>
                <a:gd name="T44" fmla="*/ 18 w 170"/>
                <a:gd name="T45" fmla="*/ 19 h 179"/>
                <a:gd name="T46" fmla="*/ 17 w 170"/>
                <a:gd name="T47" fmla="*/ 18 h 179"/>
                <a:gd name="T48" fmla="*/ 15 w 170"/>
                <a:gd name="T49" fmla="*/ 17 h 179"/>
                <a:gd name="T50" fmla="*/ 15 w 170"/>
                <a:gd name="T51" fmla="*/ 15 h 179"/>
                <a:gd name="T52" fmla="*/ 14 w 170"/>
                <a:gd name="T53" fmla="*/ 13 h 179"/>
                <a:gd name="T54" fmla="*/ 11 w 170"/>
                <a:gd name="T55" fmla="*/ 11 h 179"/>
                <a:gd name="T56" fmla="*/ 11 w 170"/>
                <a:gd name="T57" fmla="*/ 10 h 179"/>
                <a:gd name="T58" fmla="*/ 10 w 170"/>
                <a:gd name="T59" fmla="*/ 9 h 179"/>
                <a:gd name="T60" fmla="*/ 8 w 170"/>
                <a:gd name="T61" fmla="*/ 8 h 179"/>
                <a:gd name="T62" fmla="*/ 8 w 170"/>
                <a:gd name="T63" fmla="*/ 7 h 179"/>
                <a:gd name="T64" fmla="*/ 7 w 170"/>
                <a:gd name="T65" fmla="*/ 5 h 179"/>
                <a:gd name="T66" fmla="*/ 7 w 170"/>
                <a:gd name="T67" fmla="*/ 5 h 179"/>
                <a:gd name="T68" fmla="*/ 7 w 170"/>
                <a:gd name="T69" fmla="*/ 5 h 17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70" h="179">
                  <a:moveTo>
                    <a:pt x="73" y="35"/>
                  </a:moveTo>
                  <a:lnTo>
                    <a:pt x="68" y="29"/>
                  </a:lnTo>
                  <a:lnTo>
                    <a:pt x="53" y="19"/>
                  </a:lnTo>
                  <a:lnTo>
                    <a:pt x="43" y="5"/>
                  </a:lnTo>
                  <a:lnTo>
                    <a:pt x="30" y="0"/>
                  </a:lnTo>
                  <a:lnTo>
                    <a:pt x="18" y="12"/>
                  </a:lnTo>
                  <a:lnTo>
                    <a:pt x="8" y="4"/>
                  </a:lnTo>
                  <a:lnTo>
                    <a:pt x="0" y="0"/>
                  </a:lnTo>
                  <a:lnTo>
                    <a:pt x="8" y="15"/>
                  </a:lnTo>
                  <a:lnTo>
                    <a:pt x="25" y="35"/>
                  </a:lnTo>
                  <a:lnTo>
                    <a:pt x="38" y="45"/>
                  </a:lnTo>
                  <a:lnTo>
                    <a:pt x="55" y="74"/>
                  </a:lnTo>
                  <a:lnTo>
                    <a:pt x="65" y="84"/>
                  </a:lnTo>
                  <a:lnTo>
                    <a:pt x="67" y="95"/>
                  </a:lnTo>
                  <a:lnTo>
                    <a:pt x="65" y="120"/>
                  </a:lnTo>
                  <a:lnTo>
                    <a:pt x="80" y="130"/>
                  </a:lnTo>
                  <a:lnTo>
                    <a:pt x="95" y="144"/>
                  </a:lnTo>
                  <a:lnTo>
                    <a:pt x="113" y="162"/>
                  </a:lnTo>
                  <a:lnTo>
                    <a:pt x="125" y="170"/>
                  </a:lnTo>
                  <a:lnTo>
                    <a:pt x="138" y="179"/>
                  </a:lnTo>
                  <a:lnTo>
                    <a:pt x="158" y="179"/>
                  </a:lnTo>
                  <a:lnTo>
                    <a:pt x="170" y="165"/>
                  </a:lnTo>
                  <a:lnTo>
                    <a:pt x="170" y="150"/>
                  </a:lnTo>
                  <a:lnTo>
                    <a:pt x="160" y="140"/>
                  </a:lnTo>
                  <a:lnTo>
                    <a:pt x="150" y="125"/>
                  </a:lnTo>
                  <a:lnTo>
                    <a:pt x="142" y="114"/>
                  </a:lnTo>
                  <a:lnTo>
                    <a:pt x="133" y="102"/>
                  </a:lnTo>
                  <a:lnTo>
                    <a:pt x="113" y="87"/>
                  </a:lnTo>
                  <a:lnTo>
                    <a:pt x="105" y="79"/>
                  </a:lnTo>
                  <a:lnTo>
                    <a:pt x="97" y="69"/>
                  </a:lnTo>
                  <a:lnTo>
                    <a:pt x="82" y="60"/>
                  </a:lnTo>
                  <a:lnTo>
                    <a:pt x="78" y="50"/>
                  </a:lnTo>
                  <a:lnTo>
                    <a:pt x="73" y="37"/>
                  </a:lnTo>
                  <a:lnTo>
                    <a:pt x="73" y="3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3167" y="2597"/>
              <a:ext cx="108" cy="119"/>
            </a:xfrm>
            <a:custGeom>
              <a:avLst/>
              <a:gdLst>
                <a:gd name="T0" fmla="*/ 7 w 170"/>
                <a:gd name="T1" fmla="*/ 5 h 179"/>
                <a:gd name="T2" fmla="*/ 7 w 170"/>
                <a:gd name="T3" fmla="*/ 4 h 179"/>
                <a:gd name="T4" fmla="*/ 6 w 170"/>
                <a:gd name="T5" fmla="*/ 3 h 179"/>
                <a:gd name="T6" fmla="*/ 4 w 170"/>
                <a:gd name="T7" fmla="*/ 1 h 179"/>
                <a:gd name="T8" fmla="*/ 3 w 170"/>
                <a:gd name="T9" fmla="*/ 0 h 179"/>
                <a:gd name="T10" fmla="*/ 2 w 170"/>
                <a:gd name="T11" fmla="*/ 1 h 179"/>
                <a:gd name="T12" fmla="*/ 1 w 170"/>
                <a:gd name="T13" fmla="*/ 1 h 179"/>
                <a:gd name="T14" fmla="*/ 0 w 170"/>
                <a:gd name="T15" fmla="*/ 0 h 179"/>
                <a:gd name="T16" fmla="*/ 1 w 170"/>
                <a:gd name="T17" fmla="*/ 2 h 179"/>
                <a:gd name="T18" fmla="*/ 3 w 170"/>
                <a:gd name="T19" fmla="*/ 5 h 179"/>
                <a:gd name="T20" fmla="*/ 4 w 170"/>
                <a:gd name="T21" fmla="*/ 6 h 179"/>
                <a:gd name="T22" fmla="*/ 6 w 170"/>
                <a:gd name="T23" fmla="*/ 10 h 179"/>
                <a:gd name="T24" fmla="*/ 7 w 170"/>
                <a:gd name="T25" fmla="*/ 11 h 179"/>
                <a:gd name="T26" fmla="*/ 7 w 170"/>
                <a:gd name="T27" fmla="*/ 13 h 179"/>
                <a:gd name="T28" fmla="*/ 7 w 170"/>
                <a:gd name="T29" fmla="*/ 15 h 179"/>
                <a:gd name="T30" fmla="*/ 8 w 170"/>
                <a:gd name="T31" fmla="*/ 17 h 179"/>
                <a:gd name="T32" fmla="*/ 10 w 170"/>
                <a:gd name="T33" fmla="*/ 19 h 179"/>
                <a:gd name="T34" fmla="*/ 11 w 170"/>
                <a:gd name="T35" fmla="*/ 21 h 179"/>
                <a:gd name="T36" fmla="*/ 13 w 170"/>
                <a:gd name="T37" fmla="*/ 22 h 179"/>
                <a:gd name="T38" fmla="*/ 15 w 170"/>
                <a:gd name="T39" fmla="*/ 23 h 179"/>
                <a:gd name="T40" fmla="*/ 17 w 170"/>
                <a:gd name="T41" fmla="*/ 23 h 179"/>
                <a:gd name="T42" fmla="*/ 18 w 170"/>
                <a:gd name="T43" fmla="*/ 22 h 179"/>
                <a:gd name="T44" fmla="*/ 18 w 170"/>
                <a:gd name="T45" fmla="*/ 19 h 179"/>
                <a:gd name="T46" fmla="*/ 17 w 170"/>
                <a:gd name="T47" fmla="*/ 18 h 179"/>
                <a:gd name="T48" fmla="*/ 15 w 170"/>
                <a:gd name="T49" fmla="*/ 17 h 179"/>
                <a:gd name="T50" fmla="*/ 15 w 170"/>
                <a:gd name="T51" fmla="*/ 15 h 179"/>
                <a:gd name="T52" fmla="*/ 14 w 170"/>
                <a:gd name="T53" fmla="*/ 13 h 179"/>
                <a:gd name="T54" fmla="*/ 11 w 170"/>
                <a:gd name="T55" fmla="*/ 11 h 179"/>
                <a:gd name="T56" fmla="*/ 11 w 170"/>
                <a:gd name="T57" fmla="*/ 10 h 179"/>
                <a:gd name="T58" fmla="*/ 10 w 170"/>
                <a:gd name="T59" fmla="*/ 9 h 179"/>
                <a:gd name="T60" fmla="*/ 8 w 170"/>
                <a:gd name="T61" fmla="*/ 8 h 179"/>
                <a:gd name="T62" fmla="*/ 8 w 170"/>
                <a:gd name="T63" fmla="*/ 7 h 179"/>
                <a:gd name="T64" fmla="*/ 7 w 170"/>
                <a:gd name="T65" fmla="*/ 5 h 179"/>
                <a:gd name="T66" fmla="*/ 7 w 170"/>
                <a:gd name="T67" fmla="*/ 5 h 179"/>
                <a:gd name="T68" fmla="*/ 7 w 170"/>
                <a:gd name="T69" fmla="*/ 5 h 17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70" h="179">
                  <a:moveTo>
                    <a:pt x="73" y="35"/>
                  </a:moveTo>
                  <a:lnTo>
                    <a:pt x="68" y="29"/>
                  </a:lnTo>
                  <a:lnTo>
                    <a:pt x="53" y="19"/>
                  </a:lnTo>
                  <a:lnTo>
                    <a:pt x="43" y="5"/>
                  </a:lnTo>
                  <a:lnTo>
                    <a:pt x="30" y="0"/>
                  </a:lnTo>
                  <a:lnTo>
                    <a:pt x="18" y="12"/>
                  </a:lnTo>
                  <a:lnTo>
                    <a:pt x="8" y="4"/>
                  </a:lnTo>
                  <a:lnTo>
                    <a:pt x="0" y="0"/>
                  </a:lnTo>
                  <a:lnTo>
                    <a:pt x="8" y="15"/>
                  </a:lnTo>
                  <a:lnTo>
                    <a:pt x="25" y="35"/>
                  </a:lnTo>
                  <a:lnTo>
                    <a:pt x="38" y="45"/>
                  </a:lnTo>
                  <a:lnTo>
                    <a:pt x="55" y="74"/>
                  </a:lnTo>
                  <a:lnTo>
                    <a:pt x="65" y="84"/>
                  </a:lnTo>
                  <a:lnTo>
                    <a:pt x="67" y="95"/>
                  </a:lnTo>
                  <a:lnTo>
                    <a:pt x="65" y="120"/>
                  </a:lnTo>
                  <a:lnTo>
                    <a:pt x="80" y="130"/>
                  </a:lnTo>
                  <a:lnTo>
                    <a:pt x="95" y="144"/>
                  </a:lnTo>
                  <a:lnTo>
                    <a:pt x="113" y="162"/>
                  </a:lnTo>
                  <a:lnTo>
                    <a:pt x="125" y="170"/>
                  </a:lnTo>
                  <a:lnTo>
                    <a:pt x="138" y="179"/>
                  </a:lnTo>
                  <a:lnTo>
                    <a:pt x="158" y="179"/>
                  </a:lnTo>
                  <a:lnTo>
                    <a:pt x="170" y="165"/>
                  </a:lnTo>
                  <a:lnTo>
                    <a:pt x="170" y="150"/>
                  </a:lnTo>
                  <a:lnTo>
                    <a:pt x="160" y="140"/>
                  </a:lnTo>
                  <a:lnTo>
                    <a:pt x="150" y="125"/>
                  </a:lnTo>
                  <a:lnTo>
                    <a:pt x="142" y="114"/>
                  </a:lnTo>
                  <a:lnTo>
                    <a:pt x="133" y="102"/>
                  </a:lnTo>
                  <a:lnTo>
                    <a:pt x="113" y="87"/>
                  </a:lnTo>
                  <a:lnTo>
                    <a:pt x="105" y="79"/>
                  </a:lnTo>
                  <a:lnTo>
                    <a:pt x="97" y="69"/>
                  </a:lnTo>
                  <a:lnTo>
                    <a:pt x="82" y="60"/>
                  </a:lnTo>
                  <a:lnTo>
                    <a:pt x="78" y="50"/>
                  </a:lnTo>
                  <a:lnTo>
                    <a:pt x="73" y="37"/>
                  </a:lnTo>
                  <a:lnTo>
                    <a:pt x="73" y="3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3269" y="2720"/>
              <a:ext cx="86" cy="21"/>
            </a:xfrm>
            <a:custGeom>
              <a:avLst/>
              <a:gdLst>
                <a:gd name="T0" fmla="*/ 3 w 135"/>
                <a:gd name="T1" fmla="*/ 2 h 31"/>
                <a:gd name="T2" fmla="*/ 2 w 135"/>
                <a:gd name="T3" fmla="*/ 3 h 31"/>
                <a:gd name="T4" fmla="*/ 1 w 135"/>
                <a:gd name="T5" fmla="*/ 3 h 31"/>
                <a:gd name="T6" fmla="*/ 0 w 135"/>
                <a:gd name="T7" fmla="*/ 2 h 31"/>
                <a:gd name="T8" fmla="*/ 1 w 135"/>
                <a:gd name="T9" fmla="*/ 1 h 31"/>
                <a:gd name="T10" fmla="*/ 2 w 135"/>
                <a:gd name="T11" fmla="*/ 1 h 31"/>
                <a:gd name="T12" fmla="*/ 4 w 135"/>
                <a:gd name="T13" fmla="*/ 1 h 31"/>
                <a:gd name="T14" fmla="*/ 5 w 135"/>
                <a:gd name="T15" fmla="*/ 1 h 31"/>
                <a:gd name="T16" fmla="*/ 5 w 135"/>
                <a:gd name="T17" fmla="*/ 1 h 31"/>
                <a:gd name="T18" fmla="*/ 8 w 135"/>
                <a:gd name="T19" fmla="*/ 0 h 31"/>
                <a:gd name="T20" fmla="*/ 10 w 135"/>
                <a:gd name="T21" fmla="*/ 0 h 31"/>
                <a:gd name="T22" fmla="*/ 11 w 135"/>
                <a:gd name="T23" fmla="*/ 1 h 31"/>
                <a:gd name="T24" fmla="*/ 12 w 135"/>
                <a:gd name="T25" fmla="*/ 1 h 31"/>
                <a:gd name="T26" fmla="*/ 13 w 135"/>
                <a:gd name="T27" fmla="*/ 3 h 31"/>
                <a:gd name="T28" fmla="*/ 14 w 135"/>
                <a:gd name="T29" fmla="*/ 3 h 31"/>
                <a:gd name="T30" fmla="*/ 14 w 135"/>
                <a:gd name="T31" fmla="*/ 3 h 31"/>
                <a:gd name="T32" fmla="*/ 11 w 135"/>
                <a:gd name="T33" fmla="*/ 4 h 31"/>
                <a:gd name="T34" fmla="*/ 9 w 135"/>
                <a:gd name="T35" fmla="*/ 4 h 31"/>
                <a:gd name="T36" fmla="*/ 7 w 135"/>
                <a:gd name="T37" fmla="*/ 3 h 31"/>
                <a:gd name="T38" fmla="*/ 6 w 135"/>
                <a:gd name="T39" fmla="*/ 3 h 31"/>
                <a:gd name="T40" fmla="*/ 4 w 135"/>
                <a:gd name="T41" fmla="*/ 2 h 31"/>
                <a:gd name="T42" fmla="*/ 3 w 135"/>
                <a:gd name="T43" fmla="*/ 1 h 31"/>
                <a:gd name="T44" fmla="*/ 3 w 135"/>
                <a:gd name="T45" fmla="*/ 1 h 31"/>
                <a:gd name="T46" fmla="*/ 3 w 135"/>
                <a:gd name="T47" fmla="*/ 2 h 31"/>
                <a:gd name="T48" fmla="*/ 3 w 135"/>
                <a:gd name="T49" fmla="*/ 2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35" h="31">
                  <a:moveTo>
                    <a:pt x="33" y="15"/>
                  </a:moveTo>
                  <a:lnTo>
                    <a:pt x="15" y="26"/>
                  </a:lnTo>
                  <a:lnTo>
                    <a:pt x="3" y="21"/>
                  </a:lnTo>
                  <a:lnTo>
                    <a:pt x="0" y="13"/>
                  </a:lnTo>
                  <a:lnTo>
                    <a:pt x="3" y="5"/>
                  </a:lnTo>
                  <a:lnTo>
                    <a:pt x="20" y="5"/>
                  </a:lnTo>
                  <a:lnTo>
                    <a:pt x="35" y="6"/>
                  </a:lnTo>
                  <a:lnTo>
                    <a:pt x="48" y="10"/>
                  </a:lnTo>
                  <a:lnTo>
                    <a:pt x="52" y="1"/>
                  </a:lnTo>
                  <a:lnTo>
                    <a:pt x="77" y="0"/>
                  </a:lnTo>
                  <a:lnTo>
                    <a:pt x="93" y="0"/>
                  </a:lnTo>
                  <a:lnTo>
                    <a:pt x="107" y="6"/>
                  </a:lnTo>
                  <a:lnTo>
                    <a:pt x="115" y="10"/>
                  </a:lnTo>
                  <a:lnTo>
                    <a:pt x="129" y="20"/>
                  </a:lnTo>
                  <a:lnTo>
                    <a:pt x="135" y="21"/>
                  </a:lnTo>
                  <a:lnTo>
                    <a:pt x="135" y="26"/>
                  </a:lnTo>
                  <a:lnTo>
                    <a:pt x="103" y="28"/>
                  </a:lnTo>
                  <a:lnTo>
                    <a:pt x="85" y="31"/>
                  </a:lnTo>
                  <a:lnTo>
                    <a:pt x="72" y="26"/>
                  </a:lnTo>
                  <a:lnTo>
                    <a:pt x="55" y="21"/>
                  </a:lnTo>
                  <a:lnTo>
                    <a:pt x="43" y="13"/>
                  </a:lnTo>
                  <a:lnTo>
                    <a:pt x="33" y="11"/>
                  </a:lnTo>
                  <a:lnTo>
                    <a:pt x="30" y="11"/>
                  </a:lnTo>
                  <a:lnTo>
                    <a:pt x="33" y="1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3269" y="2720"/>
              <a:ext cx="86" cy="21"/>
            </a:xfrm>
            <a:custGeom>
              <a:avLst/>
              <a:gdLst>
                <a:gd name="T0" fmla="*/ 3 w 135"/>
                <a:gd name="T1" fmla="*/ 2 h 31"/>
                <a:gd name="T2" fmla="*/ 2 w 135"/>
                <a:gd name="T3" fmla="*/ 3 h 31"/>
                <a:gd name="T4" fmla="*/ 1 w 135"/>
                <a:gd name="T5" fmla="*/ 3 h 31"/>
                <a:gd name="T6" fmla="*/ 0 w 135"/>
                <a:gd name="T7" fmla="*/ 2 h 31"/>
                <a:gd name="T8" fmla="*/ 1 w 135"/>
                <a:gd name="T9" fmla="*/ 1 h 31"/>
                <a:gd name="T10" fmla="*/ 2 w 135"/>
                <a:gd name="T11" fmla="*/ 1 h 31"/>
                <a:gd name="T12" fmla="*/ 4 w 135"/>
                <a:gd name="T13" fmla="*/ 1 h 31"/>
                <a:gd name="T14" fmla="*/ 5 w 135"/>
                <a:gd name="T15" fmla="*/ 1 h 31"/>
                <a:gd name="T16" fmla="*/ 5 w 135"/>
                <a:gd name="T17" fmla="*/ 1 h 31"/>
                <a:gd name="T18" fmla="*/ 8 w 135"/>
                <a:gd name="T19" fmla="*/ 0 h 31"/>
                <a:gd name="T20" fmla="*/ 10 w 135"/>
                <a:gd name="T21" fmla="*/ 0 h 31"/>
                <a:gd name="T22" fmla="*/ 11 w 135"/>
                <a:gd name="T23" fmla="*/ 1 h 31"/>
                <a:gd name="T24" fmla="*/ 12 w 135"/>
                <a:gd name="T25" fmla="*/ 1 h 31"/>
                <a:gd name="T26" fmla="*/ 13 w 135"/>
                <a:gd name="T27" fmla="*/ 3 h 31"/>
                <a:gd name="T28" fmla="*/ 14 w 135"/>
                <a:gd name="T29" fmla="*/ 3 h 31"/>
                <a:gd name="T30" fmla="*/ 14 w 135"/>
                <a:gd name="T31" fmla="*/ 3 h 31"/>
                <a:gd name="T32" fmla="*/ 11 w 135"/>
                <a:gd name="T33" fmla="*/ 4 h 31"/>
                <a:gd name="T34" fmla="*/ 9 w 135"/>
                <a:gd name="T35" fmla="*/ 4 h 31"/>
                <a:gd name="T36" fmla="*/ 7 w 135"/>
                <a:gd name="T37" fmla="*/ 3 h 31"/>
                <a:gd name="T38" fmla="*/ 6 w 135"/>
                <a:gd name="T39" fmla="*/ 3 h 31"/>
                <a:gd name="T40" fmla="*/ 4 w 135"/>
                <a:gd name="T41" fmla="*/ 2 h 31"/>
                <a:gd name="T42" fmla="*/ 3 w 135"/>
                <a:gd name="T43" fmla="*/ 1 h 31"/>
                <a:gd name="T44" fmla="*/ 3 w 135"/>
                <a:gd name="T45" fmla="*/ 1 h 31"/>
                <a:gd name="T46" fmla="*/ 3 w 135"/>
                <a:gd name="T47" fmla="*/ 2 h 31"/>
                <a:gd name="T48" fmla="*/ 3 w 135"/>
                <a:gd name="T49" fmla="*/ 2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35" h="31">
                  <a:moveTo>
                    <a:pt x="33" y="15"/>
                  </a:moveTo>
                  <a:lnTo>
                    <a:pt x="15" y="26"/>
                  </a:lnTo>
                  <a:lnTo>
                    <a:pt x="3" y="21"/>
                  </a:lnTo>
                  <a:lnTo>
                    <a:pt x="0" y="13"/>
                  </a:lnTo>
                  <a:lnTo>
                    <a:pt x="3" y="5"/>
                  </a:lnTo>
                  <a:lnTo>
                    <a:pt x="20" y="5"/>
                  </a:lnTo>
                  <a:lnTo>
                    <a:pt x="35" y="6"/>
                  </a:lnTo>
                  <a:lnTo>
                    <a:pt x="48" y="10"/>
                  </a:lnTo>
                  <a:lnTo>
                    <a:pt x="52" y="1"/>
                  </a:lnTo>
                  <a:lnTo>
                    <a:pt x="77" y="0"/>
                  </a:lnTo>
                  <a:lnTo>
                    <a:pt x="93" y="0"/>
                  </a:lnTo>
                  <a:lnTo>
                    <a:pt x="107" y="6"/>
                  </a:lnTo>
                  <a:lnTo>
                    <a:pt x="115" y="10"/>
                  </a:lnTo>
                  <a:lnTo>
                    <a:pt x="129" y="20"/>
                  </a:lnTo>
                  <a:lnTo>
                    <a:pt x="135" y="21"/>
                  </a:lnTo>
                  <a:lnTo>
                    <a:pt x="135" y="26"/>
                  </a:lnTo>
                  <a:lnTo>
                    <a:pt x="103" y="28"/>
                  </a:lnTo>
                  <a:lnTo>
                    <a:pt x="85" y="31"/>
                  </a:lnTo>
                  <a:lnTo>
                    <a:pt x="72" y="26"/>
                  </a:lnTo>
                  <a:lnTo>
                    <a:pt x="55" y="21"/>
                  </a:lnTo>
                  <a:lnTo>
                    <a:pt x="43" y="13"/>
                  </a:lnTo>
                  <a:lnTo>
                    <a:pt x="33" y="11"/>
                  </a:lnTo>
                  <a:lnTo>
                    <a:pt x="30" y="11"/>
                  </a:lnTo>
                  <a:lnTo>
                    <a:pt x="33" y="1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3398" y="2723"/>
              <a:ext cx="28" cy="6"/>
            </a:xfrm>
            <a:custGeom>
              <a:avLst/>
              <a:gdLst>
                <a:gd name="T0" fmla="*/ 1 w 43"/>
                <a:gd name="T1" fmla="*/ 1 h 9"/>
                <a:gd name="T2" fmla="*/ 0 w 43"/>
                <a:gd name="T3" fmla="*/ 0 h 9"/>
                <a:gd name="T4" fmla="*/ 1 w 43"/>
                <a:gd name="T5" fmla="*/ 0 h 9"/>
                <a:gd name="T6" fmla="*/ 3 w 43"/>
                <a:gd name="T7" fmla="*/ 0 h 9"/>
                <a:gd name="T8" fmla="*/ 5 w 43"/>
                <a:gd name="T9" fmla="*/ 0 h 9"/>
                <a:gd name="T10" fmla="*/ 5 w 43"/>
                <a:gd name="T11" fmla="*/ 1 h 9"/>
                <a:gd name="T12" fmla="*/ 3 w 43"/>
                <a:gd name="T13" fmla="*/ 1 h 9"/>
                <a:gd name="T14" fmla="*/ 1 w 43"/>
                <a:gd name="T15" fmla="*/ 1 h 9"/>
                <a:gd name="T16" fmla="*/ 1 w 43"/>
                <a:gd name="T17" fmla="*/ 1 h 9"/>
                <a:gd name="T18" fmla="*/ 1 w 43"/>
                <a:gd name="T19" fmla="*/ 1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3" h="9">
                  <a:moveTo>
                    <a:pt x="10" y="7"/>
                  </a:moveTo>
                  <a:lnTo>
                    <a:pt x="0" y="0"/>
                  </a:lnTo>
                  <a:lnTo>
                    <a:pt x="13" y="0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43" y="9"/>
                  </a:lnTo>
                  <a:lnTo>
                    <a:pt x="27" y="7"/>
                  </a:lnTo>
                  <a:lnTo>
                    <a:pt x="10" y="5"/>
                  </a:lnTo>
                  <a:lnTo>
                    <a:pt x="10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3394" y="2738"/>
              <a:ext cx="16" cy="8"/>
            </a:xfrm>
            <a:custGeom>
              <a:avLst/>
              <a:gdLst>
                <a:gd name="T0" fmla="*/ 0 w 25"/>
                <a:gd name="T1" fmla="*/ 1 h 12"/>
                <a:gd name="T2" fmla="*/ 1 w 25"/>
                <a:gd name="T3" fmla="*/ 0 h 12"/>
                <a:gd name="T4" fmla="*/ 3 w 25"/>
                <a:gd name="T5" fmla="*/ 0 h 12"/>
                <a:gd name="T6" fmla="*/ 3 w 25"/>
                <a:gd name="T7" fmla="*/ 1 h 12"/>
                <a:gd name="T8" fmla="*/ 2 w 25"/>
                <a:gd name="T9" fmla="*/ 1 h 12"/>
                <a:gd name="T10" fmla="*/ 1 w 25"/>
                <a:gd name="T11" fmla="*/ 1 h 12"/>
                <a:gd name="T12" fmla="*/ 0 w 25"/>
                <a:gd name="T13" fmla="*/ 1 h 12"/>
                <a:gd name="T14" fmla="*/ 0 w 25"/>
                <a:gd name="T15" fmla="*/ 1 h 12"/>
                <a:gd name="T16" fmla="*/ 0 w 25"/>
                <a:gd name="T17" fmla="*/ 1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" h="12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5" y="12"/>
                  </a:lnTo>
                  <a:lnTo>
                    <a:pt x="19" y="8"/>
                  </a:lnTo>
                  <a:lnTo>
                    <a:pt x="9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3394" y="2738"/>
              <a:ext cx="16" cy="8"/>
            </a:xfrm>
            <a:custGeom>
              <a:avLst/>
              <a:gdLst>
                <a:gd name="T0" fmla="*/ 0 w 25"/>
                <a:gd name="T1" fmla="*/ 1 h 12"/>
                <a:gd name="T2" fmla="*/ 1 w 25"/>
                <a:gd name="T3" fmla="*/ 0 h 12"/>
                <a:gd name="T4" fmla="*/ 3 w 25"/>
                <a:gd name="T5" fmla="*/ 0 h 12"/>
                <a:gd name="T6" fmla="*/ 3 w 25"/>
                <a:gd name="T7" fmla="*/ 1 h 12"/>
                <a:gd name="T8" fmla="*/ 2 w 25"/>
                <a:gd name="T9" fmla="*/ 1 h 12"/>
                <a:gd name="T10" fmla="*/ 1 w 25"/>
                <a:gd name="T11" fmla="*/ 1 h 12"/>
                <a:gd name="T12" fmla="*/ 0 w 25"/>
                <a:gd name="T13" fmla="*/ 1 h 12"/>
                <a:gd name="T14" fmla="*/ 0 w 25"/>
                <a:gd name="T15" fmla="*/ 1 h 12"/>
                <a:gd name="T16" fmla="*/ 0 w 25"/>
                <a:gd name="T17" fmla="*/ 1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" h="12">
                  <a:moveTo>
                    <a:pt x="0" y="3"/>
                  </a:moveTo>
                  <a:lnTo>
                    <a:pt x="9" y="0"/>
                  </a:lnTo>
                  <a:lnTo>
                    <a:pt x="22" y="0"/>
                  </a:lnTo>
                  <a:lnTo>
                    <a:pt x="25" y="12"/>
                  </a:lnTo>
                  <a:lnTo>
                    <a:pt x="19" y="8"/>
                  </a:lnTo>
                  <a:lnTo>
                    <a:pt x="9" y="3"/>
                  </a:lnTo>
                  <a:lnTo>
                    <a:pt x="0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3442" y="2706"/>
              <a:ext cx="27" cy="28"/>
            </a:xfrm>
            <a:custGeom>
              <a:avLst/>
              <a:gdLst>
                <a:gd name="T0" fmla="*/ 0 w 47"/>
                <a:gd name="T1" fmla="*/ 6 h 42"/>
                <a:gd name="T2" fmla="*/ 1 w 47"/>
                <a:gd name="T3" fmla="*/ 4 h 42"/>
                <a:gd name="T4" fmla="*/ 1 w 47"/>
                <a:gd name="T5" fmla="*/ 3 h 42"/>
                <a:gd name="T6" fmla="*/ 2 w 47"/>
                <a:gd name="T7" fmla="*/ 1 h 42"/>
                <a:gd name="T8" fmla="*/ 3 w 47"/>
                <a:gd name="T9" fmla="*/ 0 h 42"/>
                <a:gd name="T10" fmla="*/ 3 w 47"/>
                <a:gd name="T11" fmla="*/ 2 h 42"/>
                <a:gd name="T12" fmla="*/ 2 w 47"/>
                <a:gd name="T13" fmla="*/ 3 h 42"/>
                <a:gd name="T14" fmla="*/ 1 w 47"/>
                <a:gd name="T15" fmla="*/ 5 h 42"/>
                <a:gd name="T16" fmla="*/ 1 w 47"/>
                <a:gd name="T17" fmla="*/ 5 h 42"/>
                <a:gd name="T18" fmla="*/ 0 w 47"/>
                <a:gd name="T19" fmla="*/ 6 h 42"/>
                <a:gd name="T20" fmla="*/ 0 w 47"/>
                <a:gd name="T21" fmla="*/ 6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7" h="42">
                  <a:moveTo>
                    <a:pt x="0" y="42"/>
                  </a:moveTo>
                  <a:lnTo>
                    <a:pt x="10" y="30"/>
                  </a:lnTo>
                  <a:lnTo>
                    <a:pt x="23" y="19"/>
                  </a:lnTo>
                  <a:lnTo>
                    <a:pt x="32" y="12"/>
                  </a:lnTo>
                  <a:lnTo>
                    <a:pt x="47" y="0"/>
                  </a:lnTo>
                  <a:lnTo>
                    <a:pt x="42" y="15"/>
                  </a:lnTo>
                  <a:lnTo>
                    <a:pt x="28" y="24"/>
                  </a:lnTo>
                  <a:lnTo>
                    <a:pt x="13" y="35"/>
                  </a:lnTo>
                  <a:lnTo>
                    <a:pt x="3" y="4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3442" y="2706"/>
              <a:ext cx="27" cy="28"/>
            </a:xfrm>
            <a:custGeom>
              <a:avLst/>
              <a:gdLst>
                <a:gd name="T0" fmla="*/ 0 w 47"/>
                <a:gd name="T1" fmla="*/ 6 h 42"/>
                <a:gd name="T2" fmla="*/ 1 w 47"/>
                <a:gd name="T3" fmla="*/ 4 h 42"/>
                <a:gd name="T4" fmla="*/ 1 w 47"/>
                <a:gd name="T5" fmla="*/ 3 h 42"/>
                <a:gd name="T6" fmla="*/ 2 w 47"/>
                <a:gd name="T7" fmla="*/ 1 h 42"/>
                <a:gd name="T8" fmla="*/ 3 w 47"/>
                <a:gd name="T9" fmla="*/ 0 h 42"/>
                <a:gd name="T10" fmla="*/ 3 w 47"/>
                <a:gd name="T11" fmla="*/ 2 h 42"/>
                <a:gd name="T12" fmla="*/ 2 w 47"/>
                <a:gd name="T13" fmla="*/ 3 h 42"/>
                <a:gd name="T14" fmla="*/ 1 w 47"/>
                <a:gd name="T15" fmla="*/ 5 h 42"/>
                <a:gd name="T16" fmla="*/ 1 w 47"/>
                <a:gd name="T17" fmla="*/ 5 h 42"/>
                <a:gd name="T18" fmla="*/ 0 w 47"/>
                <a:gd name="T19" fmla="*/ 6 h 42"/>
                <a:gd name="T20" fmla="*/ 0 w 47"/>
                <a:gd name="T21" fmla="*/ 6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7" h="42">
                  <a:moveTo>
                    <a:pt x="0" y="42"/>
                  </a:moveTo>
                  <a:lnTo>
                    <a:pt x="10" y="30"/>
                  </a:lnTo>
                  <a:lnTo>
                    <a:pt x="23" y="19"/>
                  </a:lnTo>
                  <a:lnTo>
                    <a:pt x="32" y="12"/>
                  </a:lnTo>
                  <a:lnTo>
                    <a:pt x="47" y="0"/>
                  </a:lnTo>
                  <a:lnTo>
                    <a:pt x="42" y="15"/>
                  </a:lnTo>
                  <a:lnTo>
                    <a:pt x="28" y="24"/>
                  </a:lnTo>
                  <a:lnTo>
                    <a:pt x="13" y="35"/>
                  </a:lnTo>
                  <a:lnTo>
                    <a:pt x="3" y="40"/>
                  </a:lnTo>
                  <a:lnTo>
                    <a:pt x="0" y="4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3309" y="2592"/>
              <a:ext cx="89" cy="99"/>
            </a:xfrm>
            <a:custGeom>
              <a:avLst/>
              <a:gdLst>
                <a:gd name="T0" fmla="*/ 7 w 142"/>
                <a:gd name="T1" fmla="*/ 18 h 150"/>
                <a:gd name="T2" fmla="*/ 5 w 142"/>
                <a:gd name="T3" fmla="*/ 18 h 150"/>
                <a:gd name="T4" fmla="*/ 4 w 142"/>
                <a:gd name="T5" fmla="*/ 18 h 150"/>
                <a:gd name="T6" fmla="*/ 3 w 142"/>
                <a:gd name="T7" fmla="*/ 18 h 150"/>
                <a:gd name="T8" fmla="*/ 2 w 142"/>
                <a:gd name="T9" fmla="*/ 18 h 150"/>
                <a:gd name="T10" fmla="*/ 1 w 142"/>
                <a:gd name="T11" fmla="*/ 17 h 150"/>
                <a:gd name="T12" fmla="*/ 2 w 142"/>
                <a:gd name="T13" fmla="*/ 16 h 150"/>
                <a:gd name="T14" fmla="*/ 1 w 142"/>
                <a:gd name="T15" fmla="*/ 15 h 150"/>
                <a:gd name="T16" fmla="*/ 0 w 142"/>
                <a:gd name="T17" fmla="*/ 15 h 150"/>
                <a:gd name="T18" fmla="*/ 0 w 142"/>
                <a:gd name="T19" fmla="*/ 13 h 150"/>
                <a:gd name="T20" fmla="*/ 1 w 142"/>
                <a:gd name="T21" fmla="*/ 11 h 150"/>
                <a:gd name="T22" fmla="*/ 1 w 142"/>
                <a:gd name="T23" fmla="*/ 10 h 150"/>
                <a:gd name="T24" fmla="*/ 1 w 142"/>
                <a:gd name="T25" fmla="*/ 7 h 150"/>
                <a:gd name="T26" fmla="*/ 3 w 142"/>
                <a:gd name="T27" fmla="*/ 9 h 150"/>
                <a:gd name="T28" fmla="*/ 3 w 142"/>
                <a:gd name="T29" fmla="*/ 9 h 150"/>
                <a:gd name="T30" fmla="*/ 4 w 142"/>
                <a:gd name="T31" fmla="*/ 9 h 150"/>
                <a:gd name="T32" fmla="*/ 6 w 142"/>
                <a:gd name="T33" fmla="*/ 7 h 150"/>
                <a:gd name="T34" fmla="*/ 7 w 142"/>
                <a:gd name="T35" fmla="*/ 6 h 150"/>
                <a:gd name="T36" fmla="*/ 8 w 142"/>
                <a:gd name="T37" fmla="*/ 5 h 150"/>
                <a:gd name="T38" fmla="*/ 9 w 142"/>
                <a:gd name="T39" fmla="*/ 3 h 150"/>
                <a:gd name="T40" fmla="*/ 9 w 142"/>
                <a:gd name="T41" fmla="*/ 1 h 150"/>
                <a:gd name="T42" fmla="*/ 11 w 142"/>
                <a:gd name="T43" fmla="*/ 1 h 150"/>
                <a:gd name="T44" fmla="*/ 11 w 142"/>
                <a:gd name="T45" fmla="*/ 0 h 150"/>
                <a:gd name="T46" fmla="*/ 12 w 142"/>
                <a:gd name="T47" fmla="*/ 0 h 150"/>
                <a:gd name="T48" fmla="*/ 12 w 142"/>
                <a:gd name="T49" fmla="*/ 2 h 150"/>
                <a:gd name="T50" fmla="*/ 13 w 142"/>
                <a:gd name="T51" fmla="*/ 3 h 150"/>
                <a:gd name="T52" fmla="*/ 14 w 142"/>
                <a:gd name="T53" fmla="*/ 5 h 150"/>
                <a:gd name="T54" fmla="*/ 14 w 142"/>
                <a:gd name="T55" fmla="*/ 7 h 150"/>
                <a:gd name="T56" fmla="*/ 12 w 142"/>
                <a:gd name="T57" fmla="*/ 8 h 150"/>
                <a:gd name="T58" fmla="*/ 12 w 142"/>
                <a:gd name="T59" fmla="*/ 11 h 150"/>
                <a:gd name="T60" fmla="*/ 11 w 142"/>
                <a:gd name="T61" fmla="*/ 12 h 150"/>
                <a:gd name="T62" fmla="*/ 10 w 142"/>
                <a:gd name="T63" fmla="*/ 13 h 150"/>
                <a:gd name="T64" fmla="*/ 10 w 142"/>
                <a:gd name="T65" fmla="*/ 15 h 150"/>
                <a:gd name="T66" fmla="*/ 10 w 142"/>
                <a:gd name="T67" fmla="*/ 16 h 150"/>
                <a:gd name="T68" fmla="*/ 9 w 142"/>
                <a:gd name="T69" fmla="*/ 18 h 150"/>
                <a:gd name="T70" fmla="*/ 7 w 142"/>
                <a:gd name="T71" fmla="*/ 18 h 150"/>
                <a:gd name="T72" fmla="*/ 7 w 142"/>
                <a:gd name="T73" fmla="*/ 18 h 150"/>
                <a:gd name="T74" fmla="*/ 7 w 142"/>
                <a:gd name="T75" fmla="*/ 18 h 1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42" h="150">
                  <a:moveTo>
                    <a:pt x="75" y="143"/>
                  </a:moveTo>
                  <a:lnTo>
                    <a:pt x="52" y="142"/>
                  </a:lnTo>
                  <a:lnTo>
                    <a:pt x="37" y="150"/>
                  </a:lnTo>
                  <a:lnTo>
                    <a:pt x="25" y="150"/>
                  </a:lnTo>
                  <a:lnTo>
                    <a:pt x="15" y="143"/>
                  </a:lnTo>
                  <a:lnTo>
                    <a:pt x="12" y="137"/>
                  </a:lnTo>
                  <a:lnTo>
                    <a:pt x="15" y="125"/>
                  </a:lnTo>
                  <a:lnTo>
                    <a:pt x="12" y="122"/>
                  </a:lnTo>
                  <a:lnTo>
                    <a:pt x="0" y="117"/>
                  </a:lnTo>
                  <a:lnTo>
                    <a:pt x="0" y="103"/>
                  </a:lnTo>
                  <a:lnTo>
                    <a:pt x="5" y="92"/>
                  </a:lnTo>
                  <a:lnTo>
                    <a:pt x="5" y="75"/>
                  </a:lnTo>
                  <a:lnTo>
                    <a:pt x="13" y="58"/>
                  </a:lnTo>
                  <a:lnTo>
                    <a:pt x="25" y="67"/>
                  </a:lnTo>
                  <a:lnTo>
                    <a:pt x="32" y="72"/>
                  </a:lnTo>
                  <a:lnTo>
                    <a:pt x="45" y="68"/>
                  </a:lnTo>
                  <a:lnTo>
                    <a:pt x="65" y="53"/>
                  </a:lnTo>
                  <a:lnTo>
                    <a:pt x="75" y="48"/>
                  </a:lnTo>
                  <a:lnTo>
                    <a:pt x="84" y="37"/>
                  </a:lnTo>
                  <a:lnTo>
                    <a:pt x="92" y="22"/>
                  </a:lnTo>
                  <a:lnTo>
                    <a:pt x="100" y="7"/>
                  </a:lnTo>
                  <a:lnTo>
                    <a:pt x="110" y="2"/>
                  </a:lnTo>
                  <a:lnTo>
                    <a:pt x="120" y="0"/>
                  </a:lnTo>
                  <a:lnTo>
                    <a:pt x="125" y="0"/>
                  </a:lnTo>
                  <a:lnTo>
                    <a:pt x="127" y="18"/>
                  </a:lnTo>
                  <a:lnTo>
                    <a:pt x="135" y="27"/>
                  </a:lnTo>
                  <a:lnTo>
                    <a:pt x="142" y="37"/>
                  </a:lnTo>
                  <a:lnTo>
                    <a:pt x="142" y="50"/>
                  </a:lnTo>
                  <a:lnTo>
                    <a:pt x="125" y="63"/>
                  </a:lnTo>
                  <a:lnTo>
                    <a:pt x="124" y="83"/>
                  </a:lnTo>
                  <a:lnTo>
                    <a:pt x="112" y="95"/>
                  </a:lnTo>
                  <a:lnTo>
                    <a:pt x="107" y="100"/>
                  </a:lnTo>
                  <a:lnTo>
                    <a:pt x="104" y="118"/>
                  </a:lnTo>
                  <a:lnTo>
                    <a:pt x="104" y="128"/>
                  </a:lnTo>
                  <a:lnTo>
                    <a:pt x="95" y="143"/>
                  </a:lnTo>
                  <a:lnTo>
                    <a:pt x="75" y="14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3309" y="2592"/>
              <a:ext cx="89" cy="99"/>
            </a:xfrm>
            <a:custGeom>
              <a:avLst/>
              <a:gdLst>
                <a:gd name="T0" fmla="*/ 7 w 142"/>
                <a:gd name="T1" fmla="*/ 18 h 150"/>
                <a:gd name="T2" fmla="*/ 5 w 142"/>
                <a:gd name="T3" fmla="*/ 18 h 150"/>
                <a:gd name="T4" fmla="*/ 4 w 142"/>
                <a:gd name="T5" fmla="*/ 18 h 150"/>
                <a:gd name="T6" fmla="*/ 3 w 142"/>
                <a:gd name="T7" fmla="*/ 18 h 150"/>
                <a:gd name="T8" fmla="*/ 2 w 142"/>
                <a:gd name="T9" fmla="*/ 18 h 150"/>
                <a:gd name="T10" fmla="*/ 1 w 142"/>
                <a:gd name="T11" fmla="*/ 17 h 150"/>
                <a:gd name="T12" fmla="*/ 2 w 142"/>
                <a:gd name="T13" fmla="*/ 16 h 150"/>
                <a:gd name="T14" fmla="*/ 1 w 142"/>
                <a:gd name="T15" fmla="*/ 15 h 150"/>
                <a:gd name="T16" fmla="*/ 0 w 142"/>
                <a:gd name="T17" fmla="*/ 15 h 150"/>
                <a:gd name="T18" fmla="*/ 0 w 142"/>
                <a:gd name="T19" fmla="*/ 13 h 150"/>
                <a:gd name="T20" fmla="*/ 1 w 142"/>
                <a:gd name="T21" fmla="*/ 11 h 150"/>
                <a:gd name="T22" fmla="*/ 1 w 142"/>
                <a:gd name="T23" fmla="*/ 10 h 150"/>
                <a:gd name="T24" fmla="*/ 1 w 142"/>
                <a:gd name="T25" fmla="*/ 7 h 150"/>
                <a:gd name="T26" fmla="*/ 3 w 142"/>
                <a:gd name="T27" fmla="*/ 9 h 150"/>
                <a:gd name="T28" fmla="*/ 3 w 142"/>
                <a:gd name="T29" fmla="*/ 9 h 150"/>
                <a:gd name="T30" fmla="*/ 4 w 142"/>
                <a:gd name="T31" fmla="*/ 9 h 150"/>
                <a:gd name="T32" fmla="*/ 6 w 142"/>
                <a:gd name="T33" fmla="*/ 7 h 150"/>
                <a:gd name="T34" fmla="*/ 7 w 142"/>
                <a:gd name="T35" fmla="*/ 6 h 150"/>
                <a:gd name="T36" fmla="*/ 8 w 142"/>
                <a:gd name="T37" fmla="*/ 5 h 150"/>
                <a:gd name="T38" fmla="*/ 9 w 142"/>
                <a:gd name="T39" fmla="*/ 3 h 150"/>
                <a:gd name="T40" fmla="*/ 9 w 142"/>
                <a:gd name="T41" fmla="*/ 1 h 150"/>
                <a:gd name="T42" fmla="*/ 11 w 142"/>
                <a:gd name="T43" fmla="*/ 1 h 150"/>
                <a:gd name="T44" fmla="*/ 11 w 142"/>
                <a:gd name="T45" fmla="*/ 0 h 150"/>
                <a:gd name="T46" fmla="*/ 12 w 142"/>
                <a:gd name="T47" fmla="*/ 0 h 150"/>
                <a:gd name="T48" fmla="*/ 12 w 142"/>
                <a:gd name="T49" fmla="*/ 2 h 150"/>
                <a:gd name="T50" fmla="*/ 13 w 142"/>
                <a:gd name="T51" fmla="*/ 3 h 150"/>
                <a:gd name="T52" fmla="*/ 14 w 142"/>
                <a:gd name="T53" fmla="*/ 5 h 150"/>
                <a:gd name="T54" fmla="*/ 14 w 142"/>
                <a:gd name="T55" fmla="*/ 7 h 150"/>
                <a:gd name="T56" fmla="*/ 12 w 142"/>
                <a:gd name="T57" fmla="*/ 8 h 150"/>
                <a:gd name="T58" fmla="*/ 12 w 142"/>
                <a:gd name="T59" fmla="*/ 11 h 150"/>
                <a:gd name="T60" fmla="*/ 11 w 142"/>
                <a:gd name="T61" fmla="*/ 12 h 150"/>
                <a:gd name="T62" fmla="*/ 10 w 142"/>
                <a:gd name="T63" fmla="*/ 13 h 150"/>
                <a:gd name="T64" fmla="*/ 10 w 142"/>
                <a:gd name="T65" fmla="*/ 15 h 150"/>
                <a:gd name="T66" fmla="*/ 10 w 142"/>
                <a:gd name="T67" fmla="*/ 16 h 150"/>
                <a:gd name="T68" fmla="*/ 9 w 142"/>
                <a:gd name="T69" fmla="*/ 18 h 150"/>
                <a:gd name="T70" fmla="*/ 7 w 142"/>
                <a:gd name="T71" fmla="*/ 18 h 150"/>
                <a:gd name="T72" fmla="*/ 7 w 142"/>
                <a:gd name="T73" fmla="*/ 18 h 150"/>
                <a:gd name="T74" fmla="*/ 7 w 142"/>
                <a:gd name="T75" fmla="*/ 18 h 15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42" h="150">
                  <a:moveTo>
                    <a:pt x="75" y="143"/>
                  </a:moveTo>
                  <a:lnTo>
                    <a:pt x="52" y="142"/>
                  </a:lnTo>
                  <a:lnTo>
                    <a:pt x="37" y="150"/>
                  </a:lnTo>
                  <a:lnTo>
                    <a:pt x="25" y="150"/>
                  </a:lnTo>
                  <a:lnTo>
                    <a:pt x="15" y="143"/>
                  </a:lnTo>
                  <a:lnTo>
                    <a:pt x="12" y="137"/>
                  </a:lnTo>
                  <a:lnTo>
                    <a:pt x="15" y="125"/>
                  </a:lnTo>
                  <a:lnTo>
                    <a:pt x="12" y="122"/>
                  </a:lnTo>
                  <a:lnTo>
                    <a:pt x="0" y="117"/>
                  </a:lnTo>
                  <a:lnTo>
                    <a:pt x="0" y="103"/>
                  </a:lnTo>
                  <a:lnTo>
                    <a:pt x="5" y="92"/>
                  </a:lnTo>
                  <a:lnTo>
                    <a:pt x="5" y="75"/>
                  </a:lnTo>
                  <a:lnTo>
                    <a:pt x="13" y="58"/>
                  </a:lnTo>
                  <a:lnTo>
                    <a:pt x="25" y="67"/>
                  </a:lnTo>
                  <a:lnTo>
                    <a:pt x="32" y="72"/>
                  </a:lnTo>
                  <a:lnTo>
                    <a:pt x="45" y="68"/>
                  </a:lnTo>
                  <a:lnTo>
                    <a:pt x="65" y="53"/>
                  </a:lnTo>
                  <a:lnTo>
                    <a:pt x="75" y="48"/>
                  </a:lnTo>
                  <a:lnTo>
                    <a:pt x="84" y="37"/>
                  </a:lnTo>
                  <a:lnTo>
                    <a:pt x="92" y="22"/>
                  </a:lnTo>
                  <a:lnTo>
                    <a:pt x="100" y="7"/>
                  </a:lnTo>
                  <a:lnTo>
                    <a:pt x="110" y="2"/>
                  </a:lnTo>
                  <a:lnTo>
                    <a:pt x="120" y="0"/>
                  </a:lnTo>
                  <a:lnTo>
                    <a:pt x="125" y="0"/>
                  </a:lnTo>
                  <a:lnTo>
                    <a:pt x="127" y="18"/>
                  </a:lnTo>
                  <a:lnTo>
                    <a:pt x="135" y="27"/>
                  </a:lnTo>
                  <a:lnTo>
                    <a:pt x="142" y="37"/>
                  </a:lnTo>
                  <a:lnTo>
                    <a:pt x="142" y="50"/>
                  </a:lnTo>
                  <a:lnTo>
                    <a:pt x="125" y="63"/>
                  </a:lnTo>
                  <a:lnTo>
                    <a:pt x="124" y="83"/>
                  </a:lnTo>
                  <a:lnTo>
                    <a:pt x="112" y="95"/>
                  </a:lnTo>
                  <a:lnTo>
                    <a:pt x="107" y="100"/>
                  </a:lnTo>
                  <a:lnTo>
                    <a:pt x="104" y="118"/>
                  </a:lnTo>
                  <a:lnTo>
                    <a:pt x="104" y="128"/>
                  </a:lnTo>
                  <a:lnTo>
                    <a:pt x="95" y="143"/>
                  </a:lnTo>
                  <a:lnTo>
                    <a:pt x="75" y="14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3401" y="2507"/>
              <a:ext cx="12" cy="20"/>
            </a:xfrm>
            <a:custGeom>
              <a:avLst/>
              <a:gdLst>
                <a:gd name="T0" fmla="*/ 0 w 20"/>
                <a:gd name="T1" fmla="*/ 4 h 30"/>
                <a:gd name="T2" fmla="*/ 1 w 20"/>
                <a:gd name="T3" fmla="*/ 2 h 30"/>
                <a:gd name="T4" fmla="*/ 1 w 20"/>
                <a:gd name="T5" fmla="*/ 0 h 30"/>
                <a:gd name="T6" fmla="*/ 1 w 20"/>
                <a:gd name="T7" fmla="*/ 2 h 30"/>
                <a:gd name="T8" fmla="*/ 1 w 20"/>
                <a:gd name="T9" fmla="*/ 3 h 30"/>
                <a:gd name="T10" fmla="*/ 1 w 20"/>
                <a:gd name="T11" fmla="*/ 3 h 30"/>
                <a:gd name="T12" fmla="*/ 0 w 20"/>
                <a:gd name="T13" fmla="*/ 4 h 30"/>
                <a:gd name="T14" fmla="*/ 0 w 20"/>
                <a:gd name="T15" fmla="*/ 4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" h="30">
                  <a:moveTo>
                    <a:pt x="0" y="30"/>
                  </a:moveTo>
                  <a:lnTo>
                    <a:pt x="9" y="15"/>
                  </a:lnTo>
                  <a:lnTo>
                    <a:pt x="20" y="0"/>
                  </a:lnTo>
                  <a:lnTo>
                    <a:pt x="15" y="15"/>
                  </a:lnTo>
                  <a:lnTo>
                    <a:pt x="7" y="25"/>
                  </a:lnTo>
                  <a:lnTo>
                    <a:pt x="5" y="26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4"/>
            <p:cNvSpPr>
              <a:spLocks/>
            </p:cNvSpPr>
            <p:nvPr/>
          </p:nvSpPr>
          <p:spPr bwMode="auto">
            <a:xfrm>
              <a:off x="3401" y="2507"/>
              <a:ext cx="12" cy="20"/>
            </a:xfrm>
            <a:custGeom>
              <a:avLst/>
              <a:gdLst>
                <a:gd name="T0" fmla="*/ 0 w 20"/>
                <a:gd name="T1" fmla="*/ 4 h 30"/>
                <a:gd name="T2" fmla="*/ 1 w 20"/>
                <a:gd name="T3" fmla="*/ 2 h 30"/>
                <a:gd name="T4" fmla="*/ 1 w 20"/>
                <a:gd name="T5" fmla="*/ 0 h 30"/>
                <a:gd name="T6" fmla="*/ 1 w 20"/>
                <a:gd name="T7" fmla="*/ 2 h 30"/>
                <a:gd name="T8" fmla="*/ 1 w 20"/>
                <a:gd name="T9" fmla="*/ 3 h 30"/>
                <a:gd name="T10" fmla="*/ 1 w 20"/>
                <a:gd name="T11" fmla="*/ 3 h 30"/>
                <a:gd name="T12" fmla="*/ 0 w 20"/>
                <a:gd name="T13" fmla="*/ 4 h 30"/>
                <a:gd name="T14" fmla="*/ 0 w 20"/>
                <a:gd name="T15" fmla="*/ 4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" h="30">
                  <a:moveTo>
                    <a:pt x="0" y="30"/>
                  </a:moveTo>
                  <a:lnTo>
                    <a:pt x="9" y="15"/>
                  </a:lnTo>
                  <a:lnTo>
                    <a:pt x="20" y="0"/>
                  </a:lnTo>
                  <a:lnTo>
                    <a:pt x="15" y="15"/>
                  </a:lnTo>
                  <a:lnTo>
                    <a:pt x="7" y="25"/>
                  </a:lnTo>
                  <a:lnTo>
                    <a:pt x="5" y="26"/>
                  </a:lnTo>
                  <a:lnTo>
                    <a:pt x="0" y="3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5"/>
            <p:cNvSpPr>
              <a:spLocks/>
            </p:cNvSpPr>
            <p:nvPr/>
          </p:nvSpPr>
          <p:spPr bwMode="auto">
            <a:xfrm>
              <a:off x="3404" y="2610"/>
              <a:ext cx="55" cy="93"/>
            </a:xfrm>
            <a:custGeom>
              <a:avLst/>
              <a:gdLst>
                <a:gd name="T0" fmla="*/ 4 w 90"/>
                <a:gd name="T1" fmla="*/ 12 h 140"/>
                <a:gd name="T2" fmla="*/ 3 w 90"/>
                <a:gd name="T3" fmla="*/ 12 h 140"/>
                <a:gd name="T4" fmla="*/ 2 w 90"/>
                <a:gd name="T5" fmla="*/ 13 h 140"/>
                <a:gd name="T6" fmla="*/ 1 w 90"/>
                <a:gd name="T7" fmla="*/ 16 h 140"/>
                <a:gd name="T8" fmla="*/ 1 w 90"/>
                <a:gd name="T9" fmla="*/ 18 h 140"/>
                <a:gd name="T10" fmla="*/ 1 w 90"/>
                <a:gd name="T11" fmla="*/ 18 h 140"/>
                <a:gd name="T12" fmla="*/ 0 w 90"/>
                <a:gd name="T13" fmla="*/ 15 h 140"/>
                <a:gd name="T14" fmla="*/ 1 w 90"/>
                <a:gd name="T15" fmla="*/ 13 h 140"/>
                <a:gd name="T16" fmla="*/ 1 w 90"/>
                <a:gd name="T17" fmla="*/ 11 h 140"/>
                <a:gd name="T18" fmla="*/ 1 w 90"/>
                <a:gd name="T19" fmla="*/ 8 h 140"/>
                <a:gd name="T20" fmla="*/ 1 w 90"/>
                <a:gd name="T21" fmla="*/ 5 h 140"/>
                <a:gd name="T22" fmla="*/ 2 w 90"/>
                <a:gd name="T23" fmla="*/ 3 h 140"/>
                <a:gd name="T24" fmla="*/ 4 w 90"/>
                <a:gd name="T25" fmla="*/ 2 h 140"/>
                <a:gd name="T26" fmla="*/ 5 w 90"/>
                <a:gd name="T27" fmla="*/ 2 h 140"/>
                <a:gd name="T28" fmla="*/ 7 w 90"/>
                <a:gd name="T29" fmla="*/ 1 h 140"/>
                <a:gd name="T30" fmla="*/ 8 w 90"/>
                <a:gd name="T31" fmla="*/ 0 h 140"/>
                <a:gd name="T32" fmla="*/ 6 w 90"/>
                <a:gd name="T33" fmla="*/ 4 h 140"/>
                <a:gd name="T34" fmla="*/ 4 w 90"/>
                <a:gd name="T35" fmla="*/ 5 h 140"/>
                <a:gd name="T36" fmla="*/ 4 w 90"/>
                <a:gd name="T37" fmla="*/ 6 h 140"/>
                <a:gd name="T38" fmla="*/ 6 w 90"/>
                <a:gd name="T39" fmla="*/ 6 h 140"/>
                <a:gd name="T40" fmla="*/ 6 w 90"/>
                <a:gd name="T41" fmla="*/ 5 h 140"/>
                <a:gd name="T42" fmla="*/ 6 w 90"/>
                <a:gd name="T43" fmla="*/ 9 h 140"/>
                <a:gd name="T44" fmla="*/ 6 w 90"/>
                <a:gd name="T45" fmla="*/ 9 h 140"/>
                <a:gd name="T46" fmla="*/ 6 w 90"/>
                <a:gd name="T47" fmla="*/ 11 h 140"/>
                <a:gd name="T48" fmla="*/ 4 w 90"/>
                <a:gd name="T49" fmla="*/ 13 h 140"/>
                <a:gd name="T50" fmla="*/ 4 w 90"/>
                <a:gd name="T51" fmla="*/ 13 h 140"/>
                <a:gd name="T52" fmla="*/ 4 w 90"/>
                <a:gd name="T53" fmla="*/ 12 h 140"/>
                <a:gd name="T54" fmla="*/ 4 w 90"/>
                <a:gd name="T55" fmla="*/ 12 h 1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90" h="140">
                  <a:moveTo>
                    <a:pt x="40" y="91"/>
                  </a:moveTo>
                  <a:lnTo>
                    <a:pt x="34" y="91"/>
                  </a:lnTo>
                  <a:lnTo>
                    <a:pt x="22" y="103"/>
                  </a:lnTo>
                  <a:lnTo>
                    <a:pt x="20" y="123"/>
                  </a:lnTo>
                  <a:lnTo>
                    <a:pt x="20" y="138"/>
                  </a:lnTo>
                  <a:lnTo>
                    <a:pt x="7" y="140"/>
                  </a:lnTo>
                  <a:lnTo>
                    <a:pt x="0" y="121"/>
                  </a:lnTo>
                  <a:lnTo>
                    <a:pt x="4" y="98"/>
                  </a:lnTo>
                  <a:lnTo>
                    <a:pt x="4" y="81"/>
                  </a:lnTo>
                  <a:lnTo>
                    <a:pt x="5" y="60"/>
                  </a:lnTo>
                  <a:lnTo>
                    <a:pt x="14" y="38"/>
                  </a:lnTo>
                  <a:lnTo>
                    <a:pt x="27" y="21"/>
                  </a:lnTo>
                  <a:lnTo>
                    <a:pt x="39" y="13"/>
                  </a:lnTo>
                  <a:lnTo>
                    <a:pt x="55" y="13"/>
                  </a:lnTo>
                  <a:lnTo>
                    <a:pt x="80" y="6"/>
                  </a:lnTo>
                  <a:lnTo>
                    <a:pt x="90" y="0"/>
                  </a:lnTo>
                  <a:lnTo>
                    <a:pt x="70" y="30"/>
                  </a:lnTo>
                  <a:lnTo>
                    <a:pt x="52" y="36"/>
                  </a:lnTo>
                  <a:lnTo>
                    <a:pt x="44" y="45"/>
                  </a:lnTo>
                  <a:lnTo>
                    <a:pt x="65" y="48"/>
                  </a:lnTo>
                  <a:lnTo>
                    <a:pt x="75" y="41"/>
                  </a:lnTo>
                  <a:lnTo>
                    <a:pt x="64" y="65"/>
                  </a:lnTo>
                  <a:lnTo>
                    <a:pt x="60" y="73"/>
                  </a:lnTo>
                  <a:lnTo>
                    <a:pt x="60" y="86"/>
                  </a:lnTo>
                  <a:lnTo>
                    <a:pt x="47" y="95"/>
                  </a:lnTo>
                  <a:lnTo>
                    <a:pt x="42" y="95"/>
                  </a:lnTo>
                  <a:lnTo>
                    <a:pt x="40" y="9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6"/>
            <p:cNvSpPr>
              <a:spLocks/>
            </p:cNvSpPr>
            <p:nvPr/>
          </p:nvSpPr>
          <p:spPr bwMode="auto">
            <a:xfrm>
              <a:off x="3404" y="2610"/>
              <a:ext cx="55" cy="93"/>
            </a:xfrm>
            <a:custGeom>
              <a:avLst/>
              <a:gdLst>
                <a:gd name="T0" fmla="*/ 4 w 90"/>
                <a:gd name="T1" fmla="*/ 12 h 140"/>
                <a:gd name="T2" fmla="*/ 3 w 90"/>
                <a:gd name="T3" fmla="*/ 12 h 140"/>
                <a:gd name="T4" fmla="*/ 2 w 90"/>
                <a:gd name="T5" fmla="*/ 13 h 140"/>
                <a:gd name="T6" fmla="*/ 1 w 90"/>
                <a:gd name="T7" fmla="*/ 16 h 140"/>
                <a:gd name="T8" fmla="*/ 1 w 90"/>
                <a:gd name="T9" fmla="*/ 18 h 140"/>
                <a:gd name="T10" fmla="*/ 1 w 90"/>
                <a:gd name="T11" fmla="*/ 18 h 140"/>
                <a:gd name="T12" fmla="*/ 0 w 90"/>
                <a:gd name="T13" fmla="*/ 15 h 140"/>
                <a:gd name="T14" fmla="*/ 1 w 90"/>
                <a:gd name="T15" fmla="*/ 13 h 140"/>
                <a:gd name="T16" fmla="*/ 1 w 90"/>
                <a:gd name="T17" fmla="*/ 11 h 140"/>
                <a:gd name="T18" fmla="*/ 1 w 90"/>
                <a:gd name="T19" fmla="*/ 8 h 140"/>
                <a:gd name="T20" fmla="*/ 1 w 90"/>
                <a:gd name="T21" fmla="*/ 5 h 140"/>
                <a:gd name="T22" fmla="*/ 2 w 90"/>
                <a:gd name="T23" fmla="*/ 3 h 140"/>
                <a:gd name="T24" fmla="*/ 4 w 90"/>
                <a:gd name="T25" fmla="*/ 2 h 140"/>
                <a:gd name="T26" fmla="*/ 5 w 90"/>
                <a:gd name="T27" fmla="*/ 2 h 140"/>
                <a:gd name="T28" fmla="*/ 7 w 90"/>
                <a:gd name="T29" fmla="*/ 1 h 140"/>
                <a:gd name="T30" fmla="*/ 8 w 90"/>
                <a:gd name="T31" fmla="*/ 0 h 140"/>
                <a:gd name="T32" fmla="*/ 6 w 90"/>
                <a:gd name="T33" fmla="*/ 4 h 140"/>
                <a:gd name="T34" fmla="*/ 4 w 90"/>
                <a:gd name="T35" fmla="*/ 5 h 140"/>
                <a:gd name="T36" fmla="*/ 4 w 90"/>
                <a:gd name="T37" fmla="*/ 6 h 140"/>
                <a:gd name="T38" fmla="*/ 6 w 90"/>
                <a:gd name="T39" fmla="*/ 6 h 140"/>
                <a:gd name="T40" fmla="*/ 6 w 90"/>
                <a:gd name="T41" fmla="*/ 5 h 140"/>
                <a:gd name="T42" fmla="*/ 6 w 90"/>
                <a:gd name="T43" fmla="*/ 9 h 140"/>
                <a:gd name="T44" fmla="*/ 6 w 90"/>
                <a:gd name="T45" fmla="*/ 9 h 140"/>
                <a:gd name="T46" fmla="*/ 6 w 90"/>
                <a:gd name="T47" fmla="*/ 11 h 140"/>
                <a:gd name="T48" fmla="*/ 4 w 90"/>
                <a:gd name="T49" fmla="*/ 13 h 140"/>
                <a:gd name="T50" fmla="*/ 4 w 90"/>
                <a:gd name="T51" fmla="*/ 13 h 140"/>
                <a:gd name="T52" fmla="*/ 4 w 90"/>
                <a:gd name="T53" fmla="*/ 12 h 140"/>
                <a:gd name="T54" fmla="*/ 4 w 90"/>
                <a:gd name="T55" fmla="*/ 12 h 1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90" h="140">
                  <a:moveTo>
                    <a:pt x="40" y="91"/>
                  </a:moveTo>
                  <a:lnTo>
                    <a:pt x="34" y="91"/>
                  </a:lnTo>
                  <a:lnTo>
                    <a:pt x="22" y="103"/>
                  </a:lnTo>
                  <a:lnTo>
                    <a:pt x="20" y="123"/>
                  </a:lnTo>
                  <a:lnTo>
                    <a:pt x="20" y="138"/>
                  </a:lnTo>
                  <a:lnTo>
                    <a:pt x="7" y="140"/>
                  </a:lnTo>
                  <a:lnTo>
                    <a:pt x="0" y="121"/>
                  </a:lnTo>
                  <a:lnTo>
                    <a:pt x="4" y="98"/>
                  </a:lnTo>
                  <a:lnTo>
                    <a:pt x="4" y="81"/>
                  </a:lnTo>
                  <a:lnTo>
                    <a:pt x="5" y="60"/>
                  </a:lnTo>
                  <a:lnTo>
                    <a:pt x="14" y="38"/>
                  </a:lnTo>
                  <a:lnTo>
                    <a:pt x="27" y="21"/>
                  </a:lnTo>
                  <a:lnTo>
                    <a:pt x="39" y="13"/>
                  </a:lnTo>
                  <a:lnTo>
                    <a:pt x="55" y="13"/>
                  </a:lnTo>
                  <a:lnTo>
                    <a:pt x="80" y="6"/>
                  </a:lnTo>
                  <a:lnTo>
                    <a:pt x="90" y="0"/>
                  </a:lnTo>
                  <a:lnTo>
                    <a:pt x="70" y="30"/>
                  </a:lnTo>
                  <a:lnTo>
                    <a:pt x="52" y="36"/>
                  </a:lnTo>
                  <a:lnTo>
                    <a:pt x="44" y="45"/>
                  </a:lnTo>
                  <a:lnTo>
                    <a:pt x="65" y="48"/>
                  </a:lnTo>
                  <a:lnTo>
                    <a:pt x="75" y="41"/>
                  </a:lnTo>
                  <a:lnTo>
                    <a:pt x="64" y="65"/>
                  </a:lnTo>
                  <a:lnTo>
                    <a:pt x="60" y="73"/>
                  </a:lnTo>
                  <a:lnTo>
                    <a:pt x="60" y="86"/>
                  </a:lnTo>
                  <a:lnTo>
                    <a:pt x="47" y="95"/>
                  </a:lnTo>
                  <a:lnTo>
                    <a:pt x="42" y="95"/>
                  </a:lnTo>
                  <a:lnTo>
                    <a:pt x="40" y="9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7"/>
            <p:cNvSpPr>
              <a:spLocks/>
            </p:cNvSpPr>
            <p:nvPr/>
          </p:nvSpPr>
          <p:spPr bwMode="auto">
            <a:xfrm>
              <a:off x="3471" y="2649"/>
              <a:ext cx="4" cy="9"/>
            </a:xfrm>
            <a:custGeom>
              <a:avLst/>
              <a:gdLst>
                <a:gd name="T0" fmla="*/ 2 w 5"/>
                <a:gd name="T1" fmla="*/ 0 h 12"/>
                <a:gd name="T2" fmla="*/ 0 w 5"/>
                <a:gd name="T3" fmla="*/ 3 h 12"/>
                <a:gd name="T4" fmla="*/ 0 w 5"/>
                <a:gd name="T5" fmla="*/ 3 h 12"/>
                <a:gd name="T6" fmla="*/ 2 w 5"/>
                <a:gd name="T7" fmla="*/ 3 h 12"/>
                <a:gd name="T8" fmla="*/ 2 w 5"/>
                <a:gd name="T9" fmla="*/ 2 h 12"/>
                <a:gd name="T10" fmla="*/ 2 w 5"/>
                <a:gd name="T11" fmla="*/ 0 h 12"/>
                <a:gd name="T12" fmla="*/ 2 w 5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12">
                  <a:moveTo>
                    <a:pt x="5" y="0"/>
                  </a:moveTo>
                  <a:lnTo>
                    <a:pt x="0" y="10"/>
                  </a:lnTo>
                  <a:lnTo>
                    <a:pt x="0" y="12"/>
                  </a:lnTo>
                  <a:lnTo>
                    <a:pt x="5" y="10"/>
                  </a:lnTo>
                  <a:lnTo>
                    <a:pt x="5" y="4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8"/>
            <p:cNvSpPr>
              <a:spLocks/>
            </p:cNvSpPr>
            <p:nvPr/>
          </p:nvSpPr>
          <p:spPr bwMode="auto">
            <a:xfrm>
              <a:off x="3498" y="2644"/>
              <a:ext cx="13" cy="10"/>
            </a:xfrm>
            <a:custGeom>
              <a:avLst/>
              <a:gdLst>
                <a:gd name="T0" fmla="*/ 2 w 18"/>
                <a:gd name="T1" fmla="*/ 1 h 14"/>
                <a:gd name="T2" fmla="*/ 1 w 18"/>
                <a:gd name="T3" fmla="*/ 1 h 14"/>
                <a:gd name="T4" fmla="*/ 1 w 18"/>
                <a:gd name="T5" fmla="*/ 1 h 14"/>
                <a:gd name="T6" fmla="*/ 0 w 18"/>
                <a:gd name="T7" fmla="*/ 2 h 14"/>
                <a:gd name="T8" fmla="*/ 2 w 18"/>
                <a:gd name="T9" fmla="*/ 3 h 14"/>
                <a:gd name="T10" fmla="*/ 4 w 18"/>
                <a:gd name="T11" fmla="*/ 1 h 14"/>
                <a:gd name="T12" fmla="*/ 4 w 18"/>
                <a:gd name="T13" fmla="*/ 1 h 14"/>
                <a:gd name="T14" fmla="*/ 3 w 18"/>
                <a:gd name="T15" fmla="*/ 0 h 14"/>
                <a:gd name="T16" fmla="*/ 2 w 18"/>
                <a:gd name="T17" fmla="*/ 0 h 14"/>
                <a:gd name="T18" fmla="*/ 1 w 18"/>
                <a:gd name="T19" fmla="*/ 0 h 14"/>
                <a:gd name="T20" fmla="*/ 2 w 18"/>
                <a:gd name="T21" fmla="*/ 1 h 14"/>
                <a:gd name="T22" fmla="*/ 2 w 18"/>
                <a:gd name="T23" fmla="*/ 1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" h="14">
                  <a:moveTo>
                    <a:pt x="10" y="7"/>
                  </a:moveTo>
                  <a:lnTo>
                    <a:pt x="6" y="4"/>
                  </a:lnTo>
                  <a:lnTo>
                    <a:pt x="3" y="5"/>
                  </a:lnTo>
                  <a:lnTo>
                    <a:pt x="0" y="10"/>
                  </a:lnTo>
                  <a:lnTo>
                    <a:pt x="10" y="14"/>
                  </a:lnTo>
                  <a:lnTo>
                    <a:pt x="18" y="9"/>
                  </a:lnTo>
                  <a:lnTo>
                    <a:pt x="18" y="4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10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9"/>
            <p:cNvSpPr>
              <a:spLocks/>
            </p:cNvSpPr>
            <p:nvPr/>
          </p:nvSpPr>
          <p:spPr bwMode="auto">
            <a:xfrm>
              <a:off x="3498" y="2644"/>
              <a:ext cx="13" cy="10"/>
            </a:xfrm>
            <a:custGeom>
              <a:avLst/>
              <a:gdLst>
                <a:gd name="T0" fmla="*/ 2 w 18"/>
                <a:gd name="T1" fmla="*/ 1 h 14"/>
                <a:gd name="T2" fmla="*/ 1 w 18"/>
                <a:gd name="T3" fmla="*/ 1 h 14"/>
                <a:gd name="T4" fmla="*/ 1 w 18"/>
                <a:gd name="T5" fmla="*/ 1 h 14"/>
                <a:gd name="T6" fmla="*/ 0 w 18"/>
                <a:gd name="T7" fmla="*/ 2 h 14"/>
                <a:gd name="T8" fmla="*/ 2 w 18"/>
                <a:gd name="T9" fmla="*/ 3 h 14"/>
                <a:gd name="T10" fmla="*/ 4 w 18"/>
                <a:gd name="T11" fmla="*/ 1 h 14"/>
                <a:gd name="T12" fmla="*/ 4 w 18"/>
                <a:gd name="T13" fmla="*/ 1 h 14"/>
                <a:gd name="T14" fmla="*/ 3 w 18"/>
                <a:gd name="T15" fmla="*/ 0 h 14"/>
                <a:gd name="T16" fmla="*/ 2 w 18"/>
                <a:gd name="T17" fmla="*/ 0 h 14"/>
                <a:gd name="T18" fmla="*/ 1 w 18"/>
                <a:gd name="T19" fmla="*/ 0 h 14"/>
                <a:gd name="T20" fmla="*/ 2 w 18"/>
                <a:gd name="T21" fmla="*/ 1 h 14"/>
                <a:gd name="T22" fmla="*/ 2 w 18"/>
                <a:gd name="T23" fmla="*/ 1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" h="14">
                  <a:moveTo>
                    <a:pt x="10" y="7"/>
                  </a:moveTo>
                  <a:lnTo>
                    <a:pt x="6" y="4"/>
                  </a:lnTo>
                  <a:lnTo>
                    <a:pt x="3" y="5"/>
                  </a:lnTo>
                  <a:lnTo>
                    <a:pt x="0" y="10"/>
                  </a:lnTo>
                  <a:lnTo>
                    <a:pt x="10" y="14"/>
                  </a:lnTo>
                  <a:lnTo>
                    <a:pt x="18" y="9"/>
                  </a:lnTo>
                  <a:lnTo>
                    <a:pt x="18" y="4"/>
                  </a:lnTo>
                  <a:lnTo>
                    <a:pt x="15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10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30"/>
            <p:cNvSpPr>
              <a:spLocks/>
            </p:cNvSpPr>
            <p:nvPr/>
          </p:nvSpPr>
          <p:spPr bwMode="auto">
            <a:xfrm>
              <a:off x="3490" y="2583"/>
              <a:ext cx="10" cy="30"/>
            </a:xfrm>
            <a:custGeom>
              <a:avLst/>
              <a:gdLst>
                <a:gd name="T0" fmla="*/ 1 w 15"/>
                <a:gd name="T1" fmla="*/ 4 h 47"/>
                <a:gd name="T2" fmla="*/ 2 w 15"/>
                <a:gd name="T3" fmla="*/ 4 h 47"/>
                <a:gd name="T4" fmla="*/ 2 w 15"/>
                <a:gd name="T5" fmla="*/ 3 h 47"/>
                <a:gd name="T6" fmla="*/ 2 w 15"/>
                <a:gd name="T7" fmla="*/ 1 h 47"/>
                <a:gd name="T8" fmla="*/ 2 w 15"/>
                <a:gd name="T9" fmla="*/ 0 h 47"/>
                <a:gd name="T10" fmla="*/ 1 w 15"/>
                <a:gd name="T11" fmla="*/ 2 h 47"/>
                <a:gd name="T12" fmla="*/ 1 w 15"/>
                <a:gd name="T13" fmla="*/ 3 h 47"/>
                <a:gd name="T14" fmla="*/ 0 w 15"/>
                <a:gd name="T15" fmla="*/ 4 h 47"/>
                <a:gd name="T16" fmla="*/ 1 w 15"/>
                <a:gd name="T17" fmla="*/ 5 h 47"/>
                <a:gd name="T18" fmla="*/ 1 w 15"/>
                <a:gd name="T19" fmla="*/ 4 h 47"/>
                <a:gd name="T20" fmla="*/ 1 w 15"/>
                <a:gd name="T21" fmla="*/ 4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" h="47">
                  <a:moveTo>
                    <a:pt x="4" y="42"/>
                  </a:moveTo>
                  <a:lnTo>
                    <a:pt x="14" y="35"/>
                  </a:lnTo>
                  <a:lnTo>
                    <a:pt x="15" y="23"/>
                  </a:lnTo>
                  <a:lnTo>
                    <a:pt x="15" y="12"/>
                  </a:lnTo>
                  <a:lnTo>
                    <a:pt x="14" y="0"/>
                  </a:lnTo>
                  <a:lnTo>
                    <a:pt x="10" y="17"/>
                  </a:lnTo>
                  <a:lnTo>
                    <a:pt x="5" y="30"/>
                  </a:lnTo>
                  <a:lnTo>
                    <a:pt x="0" y="38"/>
                  </a:lnTo>
                  <a:lnTo>
                    <a:pt x="2" y="47"/>
                  </a:lnTo>
                  <a:lnTo>
                    <a:pt x="4" y="4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31"/>
            <p:cNvSpPr>
              <a:spLocks/>
            </p:cNvSpPr>
            <p:nvPr/>
          </p:nvSpPr>
          <p:spPr bwMode="auto">
            <a:xfrm>
              <a:off x="3433" y="2515"/>
              <a:ext cx="49" cy="39"/>
            </a:xfrm>
            <a:custGeom>
              <a:avLst/>
              <a:gdLst>
                <a:gd name="T0" fmla="*/ 3 w 78"/>
                <a:gd name="T1" fmla="*/ 6 h 58"/>
                <a:gd name="T2" fmla="*/ 3 w 78"/>
                <a:gd name="T3" fmla="*/ 5 h 58"/>
                <a:gd name="T4" fmla="*/ 2 w 78"/>
                <a:gd name="T5" fmla="*/ 6 h 58"/>
                <a:gd name="T6" fmla="*/ 1 w 78"/>
                <a:gd name="T7" fmla="*/ 7 h 58"/>
                <a:gd name="T8" fmla="*/ 0 w 78"/>
                <a:gd name="T9" fmla="*/ 7 h 58"/>
                <a:gd name="T10" fmla="*/ 1 w 78"/>
                <a:gd name="T11" fmla="*/ 5 h 58"/>
                <a:gd name="T12" fmla="*/ 2 w 78"/>
                <a:gd name="T13" fmla="*/ 3 h 58"/>
                <a:gd name="T14" fmla="*/ 3 w 78"/>
                <a:gd name="T15" fmla="*/ 2 h 58"/>
                <a:gd name="T16" fmla="*/ 5 w 78"/>
                <a:gd name="T17" fmla="*/ 1 h 58"/>
                <a:gd name="T18" fmla="*/ 6 w 78"/>
                <a:gd name="T19" fmla="*/ 0 h 58"/>
                <a:gd name="T20" fmla="*/ 8 w 78"/>
                <a:gd name="T21" fmla="*/ 0 h 58"/>
                <a:gd name="T22" fmla="*/ 8 w 78"/>
                <a:gd name="T23" fmla="*/ 2 h 58"/>
                <a:gd name="T24" fmla="*/ 8 w 78"/>
                <a:gd name="T25" fmla="*/ 3 h 58"/>
                <a:gd name="T26" fmla="*/ 6 w 78"/>
                <a:gd name="T27" fmla="*/ 7 h 58"/>
                <a:gd name="T28" fmla="*/ 4 w 78"/>
                <a:gd name="T29" fmla="*/ 7 h 58"/>
                <a:gd name="T30" fmla="*/ 4 w 78"/>
                <a:gd name="T31" fmla="*/ 7 h 58"/>
                <a:gd name="T32" fmla="*/ 4 w 78"/>
                <a:gd name="T33" fmla="*/ 5 h 58"/>
                <a:gd name="T34" fmla="*/ 3 w 78"/>
                <a:gd name="T35" fmla="*/ 6 h 58"/>
                <a:gd name="T36" fmla="*/ 3 w 78"/>
                <a:gd name="T37" fmla="*/ 6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8" h="58">
                  <a:moveTo>
                    <a:pt x="33" y="42"/>
                  </a:moveTo>
                  <a:lnTo>
                    <a:pt x="25" y="38"/>
                  </a:lnTo>
                  <a:lnTo>
                    <a:pt x="20" y="42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0" y="33"/>
                  </a:lnTo>
                  <a:lnTo>
                    <a:pt x="20" y="23"/>
                  </a:lnTo>
                  <a:lnTo>
                    <a:pt x="30" y="17"/>
                  </a:lnTo>
                  <a:lnTo>
                    <a:pt x="50" y="10"/>
                  </a:lnTo>
                  <a:lnTo>
                    <a:pt x="61" y="0"/>
                  </a:lnTo>
                  <a:lnTo>
                    <a:pt x="76" y="0"/>
                  </a:lnTo>
                  <a:lnTo>
                    <a:pt x="78" y="13"/>
                  </a:lnTo>
                  <a:lnTo>
                    <a:pt x="75" y="27"/>
                  </a:lnTo>
                  <a:lnTo>
                    <a:pt x="66" y="47"/>
                  </a:lnTo>
                  <a:lnTo>
                    <a:pt x="46" y="58"/>
                  </a:lnTo>
                  <a:lnTo>
                    <a:pt x="40" y="50"/>
                  </a:lnTo>
                  <a:lnTo>
                    <a:pt x="35" y="38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auto">
            <a:xfrm>
              <a:off x="3433" y="2515"/>
              <a:ext cx="49" cy="39"/>
            </a:xfrm>
            <a:custGeom>
              <a:avLst/>
              <a:gdLst>
                <a:gd name="T0" fmla="*/ 3 w 78"/>
                <a:gd name="T1" fmla="*/ 6 h 58"/>
                <a:gd name="T2" fmla="*/ 3 w 78"/>
                <a:gd name="T3" fmla="*/ 5 h 58"/>
                <a:gd name="T4" fmla="*/ 2 w 78"/>
                <a:gd name="T5" fmla="*/ 6 h 58"/>
                <a:gd name="T6" fmla="*/ 1 w 78"/>
                <a:gd name="T7" fmla="*/ 7 h 58"/>
                <a:gd name="T8" fmla="*/ 0 w 78"/>
                <a:gd name="T9" fmla="*/ 7 h 58"/>
                <a:gd name="T10" fmla="*/ 1 w 78"/>
                <a:gd name="T11" fmla="*/ 5 h 58"/>
                <a:gd name="T12" fmla="*/ 2 w 78"/>
                <a:gd name="T13" fmla="*/ 3 h 58"/>
                <a:gd name="T14" fmla="*/ 3 w 78"/>
                <a:gd name="T15" fmla="*/ 2 h 58"/>
                <a:gd name="T16" fmla="*/ 5 w 78"/>
                <a:gd name="T17" fmla="*/ 1 h 58"/>
                <a:gd name="T18" fmla="*/ 6 w 78"/>
                <a:gd name="T19" fmla="*/ 0 h 58"/>
                <a:gd name="T20" fmla="*/ 8 w 78"/>
                <a:gd name="T21" fmla="*/ 0 h 58"/>
                <a:gd name="T22" fmla="*/ 8 w 78"/>
                <a:gd name="T23" fmla="*/ 2 h 58"/>
                <a:gd name="T24" fmla="*/ 8 w 78"/>
                <a:gd name="T25" fmla="*/ 3 h 58"/>
                <a:gd name="T26" fmla="*/ 6 w 78"/>
                <a:gd name="T27" fmla="*/ 7 h 58"/>
                <a:gd name="T28" fmla="*/ 4 w 78"/>
                <a:gd name="T29" fmla="*/ 7 h 58"/>
                <a:gd name="T30" fmla="*/ 4 w 78"/>
                <a:gd name="T31" fmla="*/ 7 h 58"/>
                <a:gd name="T32" fmla="*/ 4 w 78"/>
                <a:gd name="T33" fmla="*/ 5 h 58"/>
                <a:gd name="T34" fmla="*/ 3 w 78"/>
                <a:gd name="T35" fmla="*/ 6 h 58"/>
                <a:gd name="T36" fmla="*/ 3 w 78"/>
                <a:gd name="T37" fmla="*/ 6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8" h="58">
                  <a:moveTo>
                    <a:pt x="33" y="42"/>
                  </a:moveTo>
                  <a:lnTo>
                    <a:pt x="25" y="38"/>
                  </a:lnTo>
                  <a:lnTo>
                    <a:pt x="20" y="42"/>
                  </a:lnTo>
                  <a:lnTo>
                    <a:pt x="10" y="50"/>
                  </a:lnTo>
                  <a:lnTo>
                    <a:pt x="0" y="50"/>
                  </a:lnTo>
                  <a:lnTo>
                    <a:pt x="10" y="33"/>
                  </a:lnTo>
                  <a:lnTo>
                    <a:pt x="20" y="23"/>
                  </a:lnTo>
                  <a:lnTo>
                    <a:pt x="30" y="17"/>
                  </a:lnTo>
                  <a:lnTo>
                    <a:pt x="50" y="10"/>
                  </a:lnTo>
                  <a:lnTo>
                    <a:pt x="61" y="0"/>
                  </a:lnTo>
                  <a:lnTo>
                    <a:pt x="76" y="0"/>
                  </a:lnTo>
                  <a:lnTo>
                    <a:pt x="78" y="13"/>
                  </a:lnTo>
                  <a:lnTo>
                    <a:pt x="75" y="27"/>
                  </a:lnTo>
                  <a:lnTo>
                    <a:pt x="66" y="47"/>
                  </a:lnTo>
                  <a:lnTo>
                    <a:pt x="46" y="58"/>
                  </a:lnTo>
                  <a:lnTo>
                    <a:pt x="40" y="50"/>
                  </a:lnTo>
                  <a:lnTo>
                    <a:pt x="35" y="38"/>
                  </a:lnTo>
                  <a:lnTo>
                    <a:pt x="33" y="4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auto">
            <a:xfrm>
              <a:off x="3408" y="2418"/>
              <a:ext cx="26" cy="59"/>
            </a:xfrm>
            <a:custGeom>
              <a:avLst/>
              <a:gdLst>
                <a:gd name="T0" fmla="*/ 2 w 43"/>
                <a:gd name="T1" fmla="*/ 9 h 89"/>
                <a:gd name="T2" fmla="*/ 2 w 43"/>
                <a:gd name="T3" fmla="*/ 9 h 89"/>
                <a:gd name="T4" fmla="*/ 2 w 43"/>
                <a:gd name="T5" fmla="*/ 7 h 89"/>
                <a:gd name="T6" fmla="*/ 3 w 43"/>
                <a:gd name="T7" fmla="*/ 6 h 89"/>
                <a:gd name="T8" fmla="*/ 3 w 43"/>
                <a:gd name="T9" fmla="*/ 3 h 89"/>
                <a:gd name="T10" fmla="*/ 4 w 43"/>
                <a:gd name="T11" fmla="*/ 2 h 89"/>
                <a:gd name="T12" fmla="*/ 2 w 43"/>
                <a:gd name="T13" fmla="*/ 1 h 89"/>
                <a:gd name="T14" fmla="*/ 1 w 43"/>
                <a:gd name="T15" fmla="*/ 0 h 89"/>
                <a:gd name="T16" fmla="*/ 1 w 43"/>
                <a:gd name="T17" fmla="*/ 1 h 89"/>
                <a:gd name="T18" fmla="*/ 1 w 43"/>
                <a:gd name="T19" fmla="*/ 3 h 89"/>
                <a:gd name="T20" fmla="*/ 1 w 43"/>
                <a:gd name="T21" fmla="*/ 6 h 89"/>
                <a:gd name="T22" fmla="*/ 0 w 43"/>
                <a:gd name="T23" fmla="*/ 9 h 89"/>
                <a:gd name="T24" fmla="*/ 1 w 43"/>
                <a:gd name="T25" fmla="*/ 11 h 89"/>
                <a:gd name="T26" fmla="*/ 1 w 43"/>
                <a:gd name="T27" fmla="*/ 11 h 89"/>
                <a:gd name="T28" fmla="*/ 2 w 43"/>
                <a:gd name="T29" fmla="*/ 11 h 89"/>
                <a:gd name="T30" fmla="*/ 2 w 43"/>
                <a:gd name="T31" fmla="*/ 9 h 89"/>
                <a:gd name="T32" fmla="*/ 2 w 43"/>
                <a:gd name="T33" fmla="*/ 9 h 8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3" h="89">
                  <a:moveTo>
                    <a:pt x="23" y="72"/>
                  </a:moveTo>
                  <a:lnTo>
                    <a:pt x="23" y="64"/>
                  </a:lnTo>
                  <a:lnTo>
                    <a:pt x="30" y="50"/>
                  </a:lnTo>
                  <a:lnTo>
                    <a:pt x="35" y="42"/>
                  </a:lnTo>
                  <a:lnTo>
                    <a:pt x="37" y="25"/>
                  </a:lnTo>
                  <a:lnTo>
                    <a:pt x="43" y="14"/>
                  </a:lnTo>
                  <a:lnTo>
                    <a:pt x="32" y="2"/>
                  </a:lnTo>
                  <a:lnTo>
                    <a:pt x="17" y="0"/>
                  </a:lnTo>
                  <a:lnTo>
                    <a:pt x="13" y="10"/>
                  </a:lnTo>
                  <a:lnTo>
                    <a:pt x="13" y="25"/>
                  </a:lnTo>
                  <a:lnTo>
                    <a:pt x="8" y="44"/>
                  </a:lnTo>
                  <a:lnTo>
                    <a:pt x="0" y="72"/>
                  </a:lnTo>
                  <a:lnTo>
                    <a:pt x="3" y="84"/>
                  </a:lnTo>
                  <a:lnTo>
                    <a:pt x="13" y="89"/>
                  </a:lnTo>
                  <a:lnTo>
                    <a:pt x="23" y="82"/>
                  </a:lnTo>
                  <a:lnTo>
                    <a:pt x="23" y="7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34"/>
            <p:cNvSpPr>
              <a:spLocks/>
            </p:cNvSpPr>
            <p:nvPr/>
          </p:nvSpPr>
          <p:spPr bwMode="auto">
            <a:xfrm>
              <a:off x="3408" y="2418"/>
              <a:ext cx="26" cy="59"/>
            </a:xfrm>
            <a:custGeom>
              <a:avLst/>
              <a:gdLst>
                <a:gd name="T0" fmla="*/ 2 w 43"/>
                <a:gd name="T1" fmla="*/ 9 h 89"/>
                <a:gd name="T2" fmla="*/ 2 w 43"/>
                <a:gd name="T3" fmla="*/ 9 h 89"/>
                <a:gd name="T4" fmla="*/ 2 w 43"/>
                <a:gd name="T5" fmla="*/ 7 h 89"/>
                <a:gd name="T6" fmla="*/ 3 w 43"/>
                <a:gd name="T7" fmla="*/ 6 h 89"/>
                <a:gd name="T8" fmla="*/ 3 w 43"/>
                <a:gd name="T9" fmla="*/ 3 h 89"/>
                <a:gd name="T10" fmla="*/ 4 w 43"/>
                <a:gd name="T11" fmla="*/ 2 h 89"/>
                <a:gd name="T12" fmla="*/ 2 w 43"/>
                <a:gd name="T13" fmla="*/ 1 h 89"/>
                <a:gd name="T14" fmla="*/ 1 w 43"/>
                <a:gd name="T15" fmla="*/ 0 h 89"/>
                <a:gd name="T16" fmla="*/ 1 w 43"/>
                <a:gd name="T17" fmla="*/ 1 h 89"/>
                <a:gd name="T18" fmla="*/ 1 w 43"/>
                <a:gd name="T19" fmla="*/ 3 h 89"/>
                <a:gd name="T20" fmla="*/ 1 w 43"/>
                <a:gd name="T21" fmla="*/ 6 h 89"/>
                <a:gd name="T22" fmla="*/ 0 w 43"/>
                <a:gd name="T23" fmla="*/ 9 h 89"/>
                <a:gd name="T24" fmla="*/ 1 w 43"/>
                <a:gd name="T25" fmla="*/ 11 h 89"/>
                <a:gd name="T26" fmla="*/ 1 w 43"/>
                <a:gd name="T27" fmla="*/ 11 h 89"/>
                <a:gd name="T28" fmla="*/ 2 w 43"/>
                <a:gd name="T29" fmla="*/ 11 h 89"/>
                <a:gd name="T30" fmla="*/ 2 w 43"/>
                <a:gd name="T31" fmla="*/ 9 h 89"/>
                <a:gd name="T32" fmla="*/ 2 w 43"/>
                <a:gd name="T33" fmla="*/ 9 h 8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3" h="89">
                  <a:moveTo>
                    <a:pt x="23" y="72"/>
                  </a:moveTo>
                  <a:lnTo>
                    <a:pt x="23" y="64"/>
                  </a:lnTo>
                  <a:lnTo>
                    <a:pt x="30" y="50"/>
                  </a:lnTo>
                  <a:lnTo>
                    <a:pt x="35" y="42"/>
                  </a:lnTo>
                  <a:lnTo>
                    <a:pt x="37" y="25"/>
                  </a:lnTo>
                  <a:lnTo>
                    <a:pt x="43" y="14"/>
                  </a:lnTo>
                  <a:lnTo>
                    <a:pt x="32" y="2"/>
                  </a:lnTo>
                  <a:lnTo>
                    <a:pt x="17" y="0"/>
                  </a:lnTo>
                  <a:lnTo>
                    <a:pt x="13" y="10"/>
                  </a:lnTo>
                  <a:lnTo>
                    <a:pt x="13" y="25"/>
                  </a:lnTo>
                  <a:lnTo>
                    <a:pt x="8" y="44"/>
                  </a:lnTo>
                  <a:lnTo>
                    <a:pt x="0" y="72"/>
                  </a:lnTo>
                  <a:lnTo>
                    <a:pt x="3" y="84"/>
                  </a:lnTo>
                  <a:lnTo>
                    <a:pt x="13" y="89"/>
                  </a:lnTo>
                  <a:lnTo>
                    <a:pt x="23" y="82"/>
                  </a:lnTo>
                  <a:lnTo>
                    <a:pt x="23" y="7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35"/>
            <p:cNvSpPr>
              <a:spLocks/>
            </p:cNvSpPr>
            <p:nvPr/>
          </p:nvSpPr>
          <p:spPr bwMode="auto">
            <a:xfrm>
              <a:off x="3436" y="2477"/>
              <a:ext cx="9" cy="10"/>
            </a:xfrm>
            <a:custGeom>
              <a:avLst/>
              <a:gdLst>
                <a:gd name="T0" fmla="*/ 2 w 13"/>
                <a:gd name="T1" fmla="*/ 1 h 14"/>
                <a:gd name="T2" fmla="*/ 1 w 13"/>
                <a:gd name="T3" fmla="*/ 0 h 14"/>
                <a:gd name="T4" fmla="*/ 0 w 13"/>
                <a:gd name="T5" fmla="*/ 0 h 14"/>
                <a:gd name="T6" fmla="*/ 0 w 13"/>
                <a:gd name="T7" fmla="*/ 1 h 14"/>
                <a:gd name="T8" fmla="*/ 1 w 13"/>
                <a:gd name="T9" fmla="*/ 3 h 14"/>
                <a:gd name="T10" fmla="*/ 2 w 13"/>
                <a:gd name="T11" fmla="*/ 2 h 14"/>
                <a:gd name="T12" fmla="*/ 2 w 13"/>
                <a:gd name="T13" fmla="*/ 1 h 14"/>
                <a:gd name="T14" fmla="*/ 2 w 13"/>
                <a:gd name="T15" fmla="*/ 1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4">
                  <a:moveTo>
                    <a:pt x="13" y="5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8" y="14"/>
                  </a:lnTo>
                  <a:lnTo>
                    <a:pt x="12" y="10"/>
                  </a:lnTo>
                  <a:lnTo>
                    <a:pt x="13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36"/>
            <p:cNvSpPr>
              <a:spLocks/>
            </p:cNvSpPr>
            <p:nvPr/>
          </p:nvSpPr>
          <p:spPr bwMode="auto">
            <a:xfrm>
              <a:off x="3436" y="2477"/>
              <a:ext cx="9" cy="10"/>
            </a:xfrm>
            <a:custGeom>
              <a:avLst/>
              <a:gdLst>
                <a:gd name="T0" fmla="*/ 2 w 13"/>
                <a:gd name="T1" fmla="*/ 1 h 14"/>
                <a:gd name="T2" fmla="*/ 1 w 13"/>
                <a:gd name="T3" fmla="*/ 0 h 14"/>
                <a:gd name="T4" fmla="*/ 0 w 13"/>
                <a:gd name="T5" fmla="*/ 0 h 14"/>
                <a:gd name="T6" fmla="*/ 0 w 13"/>
                <a:gd name="T7" fmla="*/ 1 h 14"/>
                <a:gd name="T8" fmla="*/ 1 w 13"/>
                <a:gd name="T9" fmla="*/ 3 h 14"/>
                <a:gd name="T10" fmla="*/ 2 w 13"/>
                <a:gd name="T11" fmla="*/ 2 h 14"/>
                <a:gd name="T12" fmla="*/ 2 w 13"/>
                <a:gd name="T13" fmla="*/ 1 h 14"/>
                <a:gd name="T14" fmla="*/ 2 w 13"/>
                <a:gd name="T15" fmla="*/ 1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4">
                  <a:moveTo>
                    <a:pt x="13" y="5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8" y="14"/>
                  </a:lnTo>
                  <a:lnTo>
                    <a:pt x="12" y="10"/>
                  </a:lnTo>
                  <a:lnTo>
                    <a:pt x="13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37"/>
            <p:cNvSpPr>
              <a:spLocks/>
            </p:cNvSpPr>
            <p:nvPr/>
          </p:nvSpPr>
          <p:spPr bwMode="auto">
            <a:xfrm>
              <a:off x="3456" y="2477"/>
              <a:ext cx="8" cy="7"/>
            </a:xfrm>
            <a:custGeom>
              <a:avLst/>
              <a:gdLst>
                <a:gd name="T0" fmla="*/ 1 w 15"/>
                <a:gd name="T1" fmla="*/ 0 h 10"/>
                <a:gd name="T2" fmla="*/ 1 w 15"/>
                <a:gd name="T3" fmla="*/ 0 h 10"/>
                <a:gd name="T4" fmla="*/ 0 w 15"/>
                <a:gd name="T5" fmla="*/ 2 h 10"/>
                <a:gd name="T6" fmla="*/ 1 w 15"/>
                <a:gd name="T7" fmla="*/ 2 h 10"/>
                <a:gd name="T8" fmla="*/ 1 w 15"/>
                <a:gd name="T9" fmla="*/ 1 h 10"/>
                <a:gd name="T10" fmla="*/ 1 w 15"/>
                <a:gd name="T11" fmla="*/ 0 h 10"/>
                <a:gd name="T12" fmla="*/ 1 w 15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lnTo>
                    <a:pt x="6" y="0"/>
                  </a:lnTo>
                  <a:lnTo>
                    <a:pt x="0" y="10"/>
                  </a:lnTo>
                  <a:lnTo>
                    <a:pt x="5" y="10"/>
                  </a:lnTo>
                  <a:lnTo>
                    <a:pt x="6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38"/>
            <p:cNvSpPr>
              <a:spLocks/>
            </p:cNvSpPr>
            <p:nvPr/>
          </p:nvSpPr>
          <p:spPr bwMode="auto">
            <a:xfrm>
              <a:off x="3456" y="2477"/>
              <a:ext cx="8" cy="7"/>
            </a:xfrm>
            <a:custGeom>
              <a:avLst/>
              <a:gdLst>
                <a:gd name="T0" fmla="*/ 1 w 15"/>
                <a:gd name="T1" fmla="*/ 0 h 10"/>
                <a:gd name="T2" fmla="*/ 1 w 15"/>
                <a:gd name="T3" fmla="*/ 0 h 10"/>
                <a:gd name="T4" fmla="*/ 0 w 15"/>
                <a:gd name="T5" fmla="*/ 2 h 10"/>
                <a:gd name="T6" fmla="*/ 1 w 15"/>
                <a:gd name="T7" fmla="*/ 2 h 10"/>
                <a:gd name="T8" fmla="*/ 1 w 15"/>
                <a:gd name="T9" fmla="*/ 1 h 10"/>
                <a:gd name="T10" fmla="*/ 1 w 15"/>
                <a:gd name="T11" fmla="*/ 0 h 10"/>
                <a:gd name="T12" fmla="*/ 1 w 15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5" h="10">
                  <a:moveTo>
                    <a:pt x="15" y="0"/>
                  </a:moveTo>
                  <a:lnTo>
                    <a:pt x="6" y="0"/>
                  </a:lnTo>
                  <a:lnTo>
                    <a:pt x="0" y="10"/>
                  </a:lnTo>
                  <a:lnTo>
                    <a:pt x="5" y="10"/>
                  </a:lnTo>
                  <a:lnTo>
                    <a:pt x="6" y="5"/>
                  </a:lnTo>
                  <a:lnTo>
                    <a:pt x="1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39"/>
            <p:cNvSpPr>
              <a:spLocks/>
            </p:cNvSpPr>
            <p:nvPr/>
          </p:nvSpPr>
          <p:spPr bwMode="auto">
            <a:xfrm>
              <a:off x="3706" y="2766"/>
              <a:ext cx="50" cy="17"/>
            </a:xfrm>
            <a:custGeom>
              <a:avLst/>
              <a:gdLst>
                <a:gd name="T0" fmla="*/ 4 w 77"/>
                <a:gd name="T1" fmla="*/ 1 h 26"/>
                <a:gd name="T2" fmla="*/ 3 w 77"/>
                <a:gd name="T3" fmla="*/ 1 h 26"/>
                <a:gd name="T4" fmla="*/ 2 w 77"/>
                <a:gd name="T5" fmla="*/ 0 h 26"/>
                <a:gd name="T6" fmla="*/ 0 w 77"/>
                <a:gd name="T7" fmla="*/ 1 h 26"/>
                <a:gd name="T8" fmla="*/ 1 w 77"/>
                <a:gd name="T9" fmla="*/ 2 h 26"/>
                <a:gd name="T10" fmla="*/ 3 w 77"/>
                <a:gd name="T11" fmla="*/ 2 h 26"/>
                <a:gd name="T12" fmla="*/ 4 w 77"/>
                <a:gd name="T13" fmla="*/ 3 h 26"/>
                <a:gd name="T14" fmla="*/ 5 w 77"/>
                <a:gd name="T15" fmla="*/ 3 h 26"/>
                <a:gd name="T16" fmla="*/ 6 w 77"/>
                <a:gd name="T17" fmla="*/ 3 h 26"/>
                <a:gd name="T18" fmla="*/ 8 w 77"/>
                <a:gd name="T19" fmla="*/ 2 h 26"/>
                <a:gd name="T20" fmla="*/ 9 w 77"/>
                <a:gd name="T21" fmla="*/ 1 h 26"/>
                <a:gd name="T22" fmla="*/ 8 w 77"/>
                <a:gd name="T23" fmla="*/ 1 h 26"/>
                <a:gd name="T24" fmla="*/ 6 w 77"/>
                <a:gd name="T25" fmla="*/ 1 h 26"/>
                <a:gd name="T26" fmla="*/ 5 w 77"/>
                <a:gd name="T27" fmla="*/ 1 h 26"/>
                <a:gd name="T28" fmla="*/ 4 w 77"/>
                <a:gd name="T29" fmla="*/ 1 h 26"/>
                <a:gd name="T30" fmla="*/ 4 w 77"/>
                <a:gd name="T31" fmla="*/ 1 h 26"/>
                <a:gd name="T32" fmla="*/ 4 w 77"/>
                <a:gd name="T33" fmla="*/ 1 h 26"/>
                <a:gd name="T34" fmla="*/ 4 w 77"/>
                <a:gd name="T35" fmla="*/ 1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26">
                  <a:moveTo>
                    <a:pt x="33" y="5"/>
                  </a:moveTo>
                  <a:lnTo>
                    <a:pt x="25" y="3"/>
                  </a:lnTo>
                  <a:lnTo>
                    <a:pt x="17" y="0"/>
                  </a:lnTo>
                  <a:lnTo>
                    <a:pt x="0" y="5"/>
                  </a:lnTo>
                  <a:lnTo>
                    <a:pt x="8" y="16"/>
                  </a:lnTo>
                  <a:lnTo>
                    <a:pt x="23" y="18"/>
                  </a:lnTo>
                  <a:lnTo>
                    <a:pt x="32" y="20"/>
                  </a:lnTo>
                  <a:lnTo>
                    <a:pt x="47" y="26"/>
                  </a:lnTo>
                  <a:lnTo>
                    <a:pt x="58" y="26"/>
                  </a:lnTo>
                  <a:lnTo>
                    <a:pt x="73" y="18"/>
                  </a:lnTo>
                  <a:lnTo>
                    <a:pt x="77" y="10"/>
                  </a:lnTo>
                  <a:lnTo>
                    <a:pt x="67" y="3"/>
                  </a:lnTo>
                  <a:lnTo>
                    <a:pt x="53" y="3"/>
                  </a:lnTo>
                  <a:lnTo>
                    <a:pt x="42" y="10"/>
                  </a:lnTo>
                  <a:lnTo>
                    <a:pt x="33" y="11"/>
                  </a:lnTo>
                  <a:lnTo>
                    <a:pt x="32" y="8"/>
                  </a:lnTo>
                  <a:lnTo>
                    <a:pt x="33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40"/>
            <p:cNvSpPr>
              <a:spLocks/>
            </p:cNvSpPr>
            <p:nvPr/>
          </p:nvSpPr>
          <p:spPr bwMode="auto">
            <a:xfrm>
              <a:off x="3706" y="2766"/>
              <a:ext cx="50" cy="17"/>
            </a:xfrm>
            <a:custGeom>
              <a:avLst/>
              <a:gdLst>
                <a:gd name="T0" fmla="*/ 4 w 77"/>
                <a:gd name="T1" fmla="*/ 1 h 26"/>
                <a:gd name="T2" fmla="*/ 3 w 77"/>
                <a:gd name="T3" fmla="*/ 1 h 26"/>
                <a:gd name="T4" fmla="*/ 2 w 77"/>
                <a:gd name="T5" fmla="*/ 0 h 26"/>
                <a:gd name="T6" fmla="*/ 0 w 77"/>
                <a:gd name="T7" fmla="*/ 1 h 26"/>
                <a:gd name="T8" fmla="*/ 1 w 77"/>
                <a:gd name="T9" fmla="*/ 2 h 26"/>
                <a:gd name="T10" fmla="*/ 3 w 77"/>
                <a:gd name="T11" fmla="*/ 2 h 26"/>
                <a:gd name="T12" fmla="*/ 4 w 77"/>
                <a:gd name="T13" fmla="*/ 3 h 26"/>
                <a:gd name="T14" fmla="*/ 5 w 77"/>
                <a:gd name="T15" fmla="*/ 3 h 26"/>
                <a:gd name="T16" fmla="*/ 6 w 77"/>
                <a:gd name="T17" fmla="*/ 3 h 26"/>
                <a:gd name="T18" fmla="*/ 8 w 77"/>
                <a:gd name="T19" fmla="*/ 2 h 26"/>
                <a:gd name="T20" fmla="*/ 9 w 77"/>
                <a:gd name="T21" fmla="*/ 1 h 26"/>
                <a:gd name="T22" fmla="*/ 8 w 77"/>
                <a:gd name="T23" fmla="*/ 1 h 26"/>
                <a:gd name="T24" fmla="*/ 6 w 77"/>
                <a:gd name="T25" fmla="*/ 1 h 26"/>
                <a:gd name="T26" fmla="*/ 5 w 77"/>
                <a:gd name="T27" fmla="*/ 1 h 26"/>
                <a:gd name="T28" fmla="*/ 4 w 77"/>
                <a:gd name="T29" fmla="*/ 1 h 26"/>
                <a:gd name="T30" fmla="*/ 4 w 77"/>
                <a:gd name="T31" fmla="*/ 1 h 26"/>
                <a:gd name="T32" fmla="*/ 4 w 77"/>
                <a:gd name="T33" fmla="*/ 1 h 26"/>
                <a:gd name="T34" fmla="*/ 4 w 77"/>
                <a:gd name="T35" fmla="*/ 1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7" h="26">
                  <a:moveTo>
                    <a:pt x="33" y="5"/>
                  </a:moveTo>
                  <a:lnTo>
                    <a:pt x="25" y="3"/>
                  </a:lnTo>
                  <a:lnTo>
                    <a:pt x="17" y="0"/>
                  </a:lnTo>
                  <a:lnTo>
                    <a:pt x="0" y="5"/>
                  </a:lnTo>
                  <a:lnTo>
                    <a:pt x="8" y="16"/>
                  </a:lnTo>
                  <a:lnTo>
                    <a:pt x="23" y="18"/>
                  </a:lnTo>
                  <a:lnTo>
                    <a:pt x="32" y="20"/>
                  </a:lnTo>
                  <a:lnTo>
                    <a:pt x="47" y="26"/>
                  </a:lnTo>
                  <a:lnTo>
                    <a:pt x="58" y="26"/>
                  </a:lnTo>
                  <a:lnTo>
                    <a:pt x="73" y="18"/>
                  </a:lnTo>
                  <a:lnTo>
                    <a:pt x="77" y="10"/>
                  </a:lnTo>
                  <a:lnTo>
                    <a:pt x="67" y="3"/>
                  </a:lnTo>
                  <a:lnTo>
                    <a:pt x="53" y="3"/>
                  </a:lnTo>
                  <a:lnTo>
                    <a:pt x="42" y="10"/>
                  </a:lnTo>
                  <a:lnTo>
                    <a:pt x="33" y="11"/>
                  </a:lnTo>
                  <a:lnTo>
                    <a:pt x="32" y="8"/>
                  </a:lnTo>
                  <a:lnTo>
                    <a:pt x="33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Line 41"/>
            <p:cNvSpPr>
              <a:spLocks noChangeShapeType="1"/>
            </p:cNvSpPr>
            <p:nvPr/>
          </p:nvSpPr>
          <p:spPr bwMode="auto">
            <a:xfrm>
              <a:off x="3687" y="2734"/>
              <a:ext cx="0" cy="0"/>
            </a:xfrm>
            <a:prstGeom prst="line">
              <a:avLst/>
            </a:pr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42"/>
            <p:cNvSpPr>
              <a:spLocks/>
            </p:cNvSpPr>
            <p:nvPr/>
          </p:nvSpPr>
          <p:spPr bwMode="auto">
            <a:xfrm>
              <a:off x="3737" y="2746"/>
              <a:ext cx="15" cy="26"/>
            </a:xfrm>
            <a:custGeom>
              <a:avLst/>
              <a:gdLst>
                <a:gd name="T0" fmla="*/ 1 w 27"/>
                <a:gd name="T1" fmla="*/ 4 h 40"/>
                <a:gd name="T2" fmla="*/ 1 w 27"/>
                <a:gd name="T3" fmla="*/ 3 h 40"/>
                <a:gd name="T4" fmla="*/ 1 w 27"/>
                <a:gd name="T5" fmla="*/ 3 h 40"/>
                <a:gd name="T6" fmla="*/ 1 w 27"/>
                <a:gd name="T7" fmla="*/ 1 h 40"/>
                <a:gd name="T8" fmla="*/ 0 w 27"/>
                <a:gd name="T9" fmla="*/ 0 h 40"/>
                <a:gd name="T10" fmla="*/ 1 w 27"/>
                <a:gd name="T11" fmla="*/ 1 h 40"/>
                <a:gd name="T12" fmla="*/ 1 w 27"/>
                <a:gd name="T13" fmla="*/ 2 h 40"/>
                <a:gd name="T14" fmla="*/ 1 w 27"/>
                <a:gd name="T15" fmla="*/ 3 h 40"/>
                <a:gd name="T16" fmla="*/ 1 w 27"/>
                <a:gd name="T17" fmla="*/ 4 h 40"/>
                <a:gd name="T18" fmla="*/ 1 w 27"/>
                <a:gd name="T19" fmla="*/ 5 h 40"/>
                <a:gd name="T20" fmla="*/ 1 w 27"/>
                <a:gd name="T21" fmla="*/ 5 h 40"/>
                <a:gd name="T22" fmla="*/ 1 w 27"/>
                <a:gd name="T23" fmla="*/ 4 h 40"/>
                <a:gd name="T24" fmla="*/ 1 w 27"/>
                <a:gd name="T25" fmla="*/ 4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7" h="40">
                  <a:moveTo>
                    <a:pt x="15" y="33"/>
                  </a:moveTo>
                  <a:lnTo>
                    <a:pt x="15" y="28"/>
                  </a:lnTo>
                  <a:lnTo>
                    <a:pt x="10" y="21"/>
                  </a:lnTo>
                  <a:lnTo>
                    <a:pt x="9" y="10"/>
                  </a:lnTo>
                  <a:lnTo>
                    <a:pt x="0" y="0"/>
                  </a:lnTo>
                  <a:lnTo>
                    <a:pt x="15" y="3"/>
                  </a:lnTo>
                  <a:lnTo>
                    <a:pt x="25" y="15"/>
                  </a:lnTo>
                  <a:lnTo>
                    <a:pt x="27" y="25"/>
                  </a:lnTo>
                  <a:lnTo>
                    <a:pt x="27" y="33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15" y="3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43"/>
            <p:cNvSpPr>
              <a:spLocks/>
            </p:cNvSpPr>
            <p:nvPr/>
          </p:nvSpPr>
          <p:spPr bwMode="auto">
            <a:xfrm>
              <a:off x="3737" y="2746"/>
              <a:ext cx="15" cy="26"/>
            </a:xfrm>
            <a:custGeom>
              <a:avLst/>
              <a:gdLst>
                <a:gd name="T0" fmla="*/ 1 w 27"/>
                <a:gd name="T1" fmla="*/ 4 h 40"/>
                <a:gd name="T2" fmla="*/ 1 w 27"/>
                <a:gd name="T3" fmla="*/ 3 h 40"/>
                <a:gd name="T4" fmla="*/ 1 w 27"/>
                <a:gd name="T5" fmla="*/ 3 h 40"/>
                <a:gd name="T6" fmla="*/ 1 w 27"/>
                <a:gd name="T7" fmla="*/ 1 h 40"/>
                <a:gd name="T8" fmla="*/ 0 w 27"/>
                <a:gd name="T9" fmla="*/ 0 h 40"/>
                <a:gd name="T10" fmla="*/ 1 w 27"/>
                <a:gd name="T11" fmla="*/ 1 h 40"/>
                <a:gd name="T12" fmla="*/ 1 w 27"/>
                <a:gd name="T13" fmla="*/ 2 h 40"/>
                <a:gd name="T14" fmla="*/ 1 w 27"/>
                <a:gd name="T15" fmla="*/ 3 h 40"/>
                <a:gd name="T16" fmla="*/ 1 w 27"/>
                <a:gd name="T17" fmla="*/ 4 h 40"/>
                <a:gd name="T18" fmla="*/ 1 w 27"/>
                <a:gd name="T19" fmla="*/ 5 h 40"/>
                <a:gd name="T20" fmla="*/ 1 w 27"/>
                <a:gd name="T21" fmla="*/ 5 h 40"/>
                <a:gd name="T22" fmla="*/ 1 w 27"/>
                <a:gd name="T23" fmla="*/ 4 h 40"/>
                <a:gd name="T24" fmla="*/ 1 w 27"/>
                <a:gd name="T25" fmla="*/ 4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7" h="40">
                  <a:moveTo>
                    <a:pt x="15" y="33"/>
                  </a:moveTo>
                  <a:lnTo>
                    <a:pt x="15" y="28"/>
                  </a:lnTo>
                  <a:lnTo>
                    <a:pt x="10" y="21"/>
                  </a:lnTo>
                  <a:lnTo>
                    <a:pt x="9" y="10"/>
                  </a:lnTo>
                  <a:lnTo>
                    <a:pt x="0" y="0"/>
                  </a:lnTo>
                  <a:lnTo>
                    <a:pt x="15" y="3"/>
                  </a:lnTo>
                  <a:lnTo>
                    <a:pt x="25" y="15"/>
                  </a:lnTo>
                  <a:lnTo>
                    <a:pt x="27" y="25"/>
                  </a:lnTo>
                  <a:lnTo>
                    <a:pt x="27" y="33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15" y="3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Line 44"/>
            <p:cNvSpPr>
              <a:spLocks noChangeShapeType="1"/>
            </p:cNvSpPr>
            <p:nvPr/>
          </p:nvSpPr>
          <p:spPr bwMode="auto">
            <a:xfrm flipH="1">
              <a:off x="3777" y="2797"/>
              <a:ext cx="2" cy="1"/>
            </a:xfrm>
            <a:prstGeom prst="line">
              <a:avLst/>
            </a:prstGeom>
            <a:noFill/>
            <a:ln w="317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45"/>
            <p:cNvSpPr>
              <a:spLocks/>
            </p:cNvSpPr>
            <p:nvPr/>
          </p:nvSpPr>
          <p:spPr bwMode="auto">
            <a:xfrm>
              <a:off x="3821" y="2834"/>
              <a:ext cx="2" cy="2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0 h 5"/>
                <a:gd name="T4" fmla="*/ 0 w 8"/>
                <a:gd name="T5" fmla="*/ 0 h 5"/>
                <a:gd name="T6" fmla="*/ 0 w 8"/>
                <a:gd name="T7" fmla="*/ 0 h 5"/>
                <a:gd name="T8" fmla="*/ 0 w 8"/>
                <a:gd name="T9" fmla="*/ 0 h 5"/>
                <a:gd name="T10" fmla="*/ 0 w 8"/>
                <a:gd name="T11" fmla="*/ 0 h 5"/>
                <a:gd name="T12" fmla="*/ 0 w 8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" h="5">
                  <a:moveTo>
                    <a:pt x="0" y="0"/>
                  </a:moveTo>
                  <a:lnTo>
                    <a:pt x="2" y="5"/>
                  </a:lnTo>
                  <a:lnTo>
                    <a:pt x="8" y="5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46"/>
            <p:cNvSpPr>
              <a:spLocks/>
            </p:cNvSpPr>
            <p:nvPr/>
          </p:nvSpPr>
          <p:spPr bwMode="auto">
            <a:xfrm>
              <a:off x="3844" y="2988"/>
              <a:ext cx="13" cy="12"/>
            </a:xfrm>
            <a:custGeom>
              <a:avLst/>
              <a:gdLst>
                <a:gd name="T0" fmla="*/ 1 w 21"/>
                <a:gd name="T1" fmla="*/ 2 h 18"/>
                <a:gd name="T2" fmla="*/ 1 w 21"/>
                <a:gd name="T3" fmla="*/ 2 h 18"/>
                <a:gd name="T4" fmla="*/ 1 w 21"/>
                <a:gd name="T5" fmla="*/ 1 h 18"/>
                <a:gd name="T6" fmla="*/ 0 w 21"/>
                <a:gd name="T7" fmla="*/ 0 h 18"/>
                <a:gd name="T8" fmla="*/ 1 w 21"/>
                <a:gd name="T9" fmla="*/ 1 h 18"/>
                <a:gd name="T10" fmla="*/ 1 w 21"/>
                <a:gd name="T11" fmla="*/ 2 h 18"/>
                <a:gd name="T12" fmla="*/ 2 w 21"/>
                <a:gd name="T13" fmla="*/ 2 h 18"/>
                <a:gd name="T14" fmla="*/ 1 w 21"/>
                <a:gd name="T15" fmla="*/ 2 h 18"/>
                <a:gd name="T16" fmla="*/ 1 w 21"/>
                <a:gd name="T17" fmla="*/ 2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" h="18">
                  <a:moveTo>
                    <a:pt x="20" y="15"/>
                  </a:moveTo>
                  <a:lnTo>
                    <a:pt x="20" y="13"/>
                  </a:lnTo>
                  <a:lnTo>
                    <a:pt x="11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6" y="15"/>
                  </a:lnTo>
                  <a:lnTo>
                    <a:pt x="21" y="18"/>
                  </a:lnTo>
                  <a:lnTo>
                    <a:pt x="20" y="1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47"/>
            <p:cNvSpPr>
              <a:spLocks/>
            </p:cNvSpPr>
            <p:nvPr/>
          </p:nvSpPr>
          <p:spPr bwMode="auto">
            <a:xfrm>
              <a:off x="3844" y="2988"/>
              <a:ext cx="13" cy="12"/>
            </a:xfrm>
            <a:custGeom>
              <a:avLst/>
              <a:gdLst>
                <a:gd name="T0" fmla="*/ 1 w 21"/>
                <a:gd name="T1" fmla="*/ 2 h 18"/>
                <a:gd name="T2" fmla="*/ 1 w 21"/>
                <a:gd name="T3" fmla="*/ 2 h 18"/>
                <a:gd name="T4" fmla="*/ 1 w 21"/>
                <a:gd name="T5" fmla="*/ 1 h 18"/>
                <a:gd name="T6" fmla="*/ 0 w 21"/>
                <a:gd name="T7" fmla="*/ 0 h 18"/>
                <a:gd name="T8" fmla="*/ 1 w 21"/>
                <a:gd name="T9" fmla="*/ 1 h 18"/>
                <a:gd name="T10" fmla="*/ 1 w 21"/>
                <a:gd name="T11" fmla="*/ 2 h 18"/>
                <a:gd name="T12" fmla="*/ 2 w 21"/>
                <a:gd name="T13" fmla="*/ 2 h 18"/>
                <a:gd name="T14" fmla="*/ 1 w 21"/>
                <a:gd name="T15" fmla="*/ 2 h 18"/>
                <a:gd name="T16" fmla="*/ 1 w 21"/>
                <a:gd name="T17" fmla="*/ 2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1" h="18">
                  <a:moveTo>
                    <a:pt x="20" y="15"/>
                  </a:moveTo>
                  <a:lnTo>
                    <a:pt x="20" y="13"/>
                  </a:lnTo>
                  <a:lnTo>
                    <a:pt x="11" y="5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6" y="15"/>
                  </a:lnTo>
                  <a:lnTo>
                    <a:pt x="21" y="18"/>
                  </a:lnTo>
                  <a:lnTo>
                    <a:pt x="20" y="1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48"/>
            <p:cNvSpPr>
              <a:spLocks/>
            </p:cNvSpPr>
            <p:nvPr/>
          </p:nvSpPr>
          <p:spPr bwMode="auto">
            <a:xfrm>
              <a:off x="3893" y="2945"/>
              <a:ext cx="1" cy="1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0 h 2"/>
                <a:gd name="T4" fmla="*/ 0 w 1"/>
                <a:gd name="T5" fmla="*/ 1 h 2"/>
                <a:gd name="T6" fmla="*/ 0 w 1"/>
                <a:gd name="T7" fmla="*/ 1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49"/>
            <p:cNvSpPr>
              <a:spLocks/>
            </p:cNvSpPr>
            <p:nvPr/>
          </p:nvSpPr>
          <p:spPr bwMode="auto">
            <a:xfrm>
              <a:off x="3876" y="2933"/>
              <a:ext cx="0" cy="0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1 h 2"/>
                <a:gd name="T4" fmla="*/ 1 w 2"/>
                <a:gd name="T5" fmla="*/ 0 h 2"/>
                <a:gd name="T6" fmla="*/ 1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50"/>
            <p:cNvSpPr>
              <a:spLocks/>
            </p:cNvSpPr>
            <p:nvPr/>
          </p:nvSpPr>
          <p:spPr bwMode="auto">
            <a:xfrm>
              <a:off x="3969" y="2982"/>
              <a:ext cx="18" cy="13"/>
            </a:xfrm>
            <a:custGeom>
              <a:avLst/>
              <a:gdLst>
                <a:gd name="T0" fmla="*/ 3 w 28"/>
                <a:gd name="T1" fmla="*/ 2 h 19"/>
                <a:gd name="T2" fmla="*/ 3 w 28"/>
                <a:gd name="T3" fmla="*/ 1 h 19"/>
                <a:gd name="T4" fmla="*/ 2 w 28"/>
                <a:gd name="T5" fmla="*/ 0 h 19"/>
                <a:gd name="T6" fmla="*/ 0 w 28"/>
                <a:gd name="T7" fmla="*/ 0 h 19"/>
                <a:gd name="T8" fmla="*/ 1 w 28"/>
                <a:gd name="T9" fmla="*/ 1 h 19"/>
                <a:gd name="T10" fmla="*/ 2 w 28"/>
                <a:gd name="T11" fmla="*/ 2 h 19"/>
                <a:gd name="T12" fmla="*/ 3 w 28"/>
                <a:gd name="T13" fmla="*/ 3 h 19"/>
                <a:gd name="T14" fmla="*/ 3 w 28"/>
                <a:gd name="T15" fmla="*/ 2 h 19"/>
                <a:gd name="T16" fmla="*/ 3 w 28"/>
                <a:gd name="T17" fmla="*/ 2 h 19"/>
                <a:gd name="T18" fmla="*/ 3 w 28"/>
                <a:gd name="T19" fmla="*/ 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8" h="19">
                  <a:moveTo>
                    <a:pt x="23" y="17"/>
                  </a:moveTo>
                  <a:lnTo>
                    <a:pt x="26" y="12"/>
                  </a:lnTo>
                  <a:lnTo>
                    <a:pt x="16" y="0"/>
                  </a:lnTo>
                  <a:lnTo>
                    <a:pt x="0" y="0"/>
                  </a:lnTo>
                  <a:lnTo>
                    <a:pt x="1" y="12"/>
                  </a:lnTo>
                  <a:lnTo>
                    <a:pt x="18" y="17"/>
                  </a:lnTo>
                  <a:lnTo>
                    <a:pt x="28" y="19"/>
                  </a:lnTo>
                  <a:lnTo>
                    <a:pt x="28" y="14"/>
                  </a:lnTo>
                  <a:lnTo>
                    <a:pt x="23" y="1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51"/>
            <p:cNvSpPr>
              <a:spLocks/>
            </p:cNvSpPr>
            <p:nvPr/>
          </p:nvSpPr>
          <p:spPr bwMode="auto">
            <a:xfrm>
              <a:off x="3969" y="2982"/>
              <a:ext cx="18" cy="13"/>
            </a:xfrm>
            <a:custGeom>
              <a:avLst/>
              <a:gdLst>
                <a:gd name="T0" fmla="*/ 3 w 28"/>
                <a:gd name="T1" fmla="*/ 2 h 19"/>
                <a:gd name="T2" fmla="*/ 3 w 28"/>
                <a:gd name="T3" fmla="*/ 1 h 19"/>
                <a:gd name="T4" fmla="*/ 2 w 28"/>
                <a:gd name="T5" fmla="*/ 0 h 19"/>
                <a:gd name="T6" fmla="*/ 0 w 28"/>
                <a:gd name="T7" fmla="*/ 0 h 19"/>
                <a:gd name="T8" fmla="*/ 1 w 28"/>
                <a:gd name="T9" fmla="*/ 1 h 19"/>
                <a:gd name="T10" fmla="*/ 2 w 28"/>
                <a:gd name="T11" fmla="*/ 2 h 19"/>
                <a:gd name="T12" fmla="*/ 3 w 28"/>
                <a:gd name="T13" fmla="*/ 3 h 19"/>
                <a:gd name="T14" fmla="*/ 3 w 28"/>
                <a:gd name="T15" fmla="*/ 2 h 19"/>
                <a:gd name="T16" fmla="*/ 3 w 28"/>
                <a:gd name="T17" fmla="*/ 2 h 19"/>
                <a:gd name="T18" fmla="*/ 3 w 28"/>
                <a:gd name="T19" fmla="*/ 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8" h="19">
                  <a:moveTo>
                    <a:pt x="23" y="17"/>
                  </a:moveTo>
                  <a:lnTo>
                    <a:pt x="26" y="12"/>
                  </a:lnTo>
                  <a:lnTo>
                    <a:pt x="16" y="0"/>
                  </a:lnTo>
                  <a:lnTo>
                    <a:pt x="0" y="0"/>
                  </a:lnTo>
                  <a:lnTo>
                    <a:pt x="1" y="12"/>
                  </a:lnTo>
                  <a:lnTo>
                    <a:pt x="18" y="17"/>
                  </a:lnTo>
                  <a:lnTo>
                    <a:pt x="28" y="19"/>
                  </a:lnTo>
                  <a:lnTo>
                    <a:pt x="28" y="14"/>
                  </a:lnTo>
                  <a:lnTo>
                    <a:pt x="23" y="1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52"/>
            <p:cNvSpPr>
              <a:spLocks/>
            </p:cNvSpPr>
            <p:nvPr/>
          </p:nvSpPr>
          <p:spPr bwMode="auto">
            <a:xfrm>
              <a:off x="3586" y="3200"/>
              <a:ext cx="38" cy="46"/>
            </a:xfrm>
            <a:custGeom>
              <a:avLst/>
              <a:gdLst>
                <a:gd name="T0" fmla="*/ 6 w 60"/>
                <a:gd name="T1" fmla="*/ 1 h 70"/>
                <a:gd name="T2" fmla="*/ 4 w 60"/>
                <a:gd name="T3" fmla="*/ 1 h 70"/>
                <a:gd name="T4" fmla="*/ 2 w 60"/>
                <a:gd name="T5" fmla="*/ 0 h 70"/>
                <a:gd name="T6" fmla="*/ 0 w 60"/>
                <a:gd name="T7" fmla="*/ 0 h 70"/>
                <a:gd name="T8" fmla="*/ 1 w 60"/>
                <a:gd name="T9" fmla="*/ 2 h 70"/>
                <a:gd name="T10" fmla="*/ 1 w 60"/>
                <a:gd name="T11" fmla="*/ 3 h 70"/>
                <a:gd name="T12" fmla="*/ 1 w 60"/>
                <a:gd name="T13" fmla="*/ 6 h 70"/>
                <a:gd name="T14" fmla="*/ 1 w 60"/>
                <a:gd name="T15" fmla="*/ 8 h 70"/>
                <a:gd name="T16" fmla="*/ 3 w 60"/>
                <a:gd name="T17" fmla="*/ 9 h 70"/>
                <a:gd name="T18" fmla="*/ 4 w 60"/>
                <a:gd name="T19" fmla="*/ 7 h 70"/>
                <a:gd name="T20" fmla="*/ 5 w 60"/>
                <a:gd name="T21" fmla="*/ 6 h 70"/>
                <a:gd name="T22" fmla="*/ 6 w 60"/>
                <a:gd name="T23" fmla="*/ 4 h 70"/>
                <a:gd name="T24" fmla="*/ 6 w 60"/>
                <a:gd name="T25" fmla="*/ 2 h 70"/>
                <a:gd name="T26" fmla="*/ 6 w 60"/>
                <a:gd name="T27" fmla="*/ 1 h 70"/>
                <a:gd name="T28" fmla="*/ 6 w 60"/>
                <a:gd name="T29" fmla="*/ 1 h 70"/>
                <a:gd name="T30" fmla="*/ 6 w 60"/>
                <a:gd name="T31" fmla="*/ 1 h 70"/>
                <a:gd name="T32" fmla="*/ 6 w 60"/>
                <a:gd name="T33" fmla="*/ 1 h 7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0" h="70">
                  <a:moveTo>
                    <a:pt x="54" y="8"/>
                  </a:moveTo>
                  <a:lnTo>
                    <a:pt x="44" y="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7" y="18"/>
                  </a:lnTo>
                  <a:lnTo>
                    <a:pt x="7" y="28"/>
                  </a:lnTo>
                  <a:lnTo>
                    <a:pt x="12" y="46"/>
                  </a:lnTo>
                  <a:lnTo>
                    <a:pt x="12" y="63"/>
                  </a:lnTo>
                  <a:lnTo>
                    <a:pt x="29" y="70"/>
                  </a:lnTo>
                  <a:lnTo>
                    <a:pt x="39" y="61"/>
                  </a:lnTo>
                  <a:lnTo>
                    <a:pt x="52" y="46"/>
                  </a:lnTo>
                  <a:lnTo>
                    <a:pt x="60" y="33"/>
                  </a:lnTo>
                  <a:lnTo>
                    <a:pt x="60" y="18"/>
                  </a:lnTo>
                  <a:lnTo>
                    <a:pt x="57" y="11"/>
                  </a:lnTo>
                  <a:lnTo>
                    <a:pt x="54" y="11"/>
                  </a:lnTo>
                  <a:lnTo>
                    <a:pt x="54" y="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53"/>
            <p:cNvSpPr>
              <a:spLocks/>
            </p:cNvSpPr>
            <p:nvPr/>
          </p:nvSpPr>
          <p:spPr bwMode="auto">
            <a:xfrm>
              <a:off x="3586" y="3200"/>
              <a:ext cx="38" cy="46"/>
            </a:xfrm>
            <a:custGeom>
              <a:avLst/>
              <a:gdLst>
                <a:gd name="T0" fmla="*/ 6 w 60"/>
                <a:gd name="T1" fmla="*/ 1 h 70"/>
                <a:gd name="T2" fmla="*/ 4 w 60"/>
                <a:gd name="T3" fmla="*/ 1 h 70"/>
                <a:gd name="T4" fmla="*/ 2 w 60"/>
                <a:gd name="T5" fmla="*/ 0 h 70"/>
                <a:gd name="T6" fmla="*/ 0 w 60"/>
                <a:gd name="T7" fmla="*/ 0 h 70"/>
                <a:gd name="T8" fmla="*/ 1 w 60"/>
                <a:gd name="T9" fmla="*/ 2 h 70"/>
                <a:gd name="T10" fmla="*/ 1 w 60"/>
                <a:gd name="T11" fmla="*/ 3 h 70"/>
                <a:gd name="T12" fmla="*/ 1 w 60"/>
                <a:gd name="T13" fmla="*/ 6 h 70"/>
                <a:gd name="T14" fmla="*/ 1 w 60"/>
                <a:gd name="T15" fmla="*/ 8 h 70"/>
                <a:gd name="T16" fmla="*/ 3 w 60"/>
                <a:gd name="T17" fmla="*/ 9 h 70"/>
                <a:gd name="T18" fmla="*/ 4 w 60"/>
                <a:gd name="T19" fmla="*/ 7 h 70"/>
                <a:gd name="T20" fmla="*/ 5 w 60"/>
                <a:gd name="T21" fmla="*/ 6 h 70"/>
                <a:gd name="T22" fmla="*/ 6 w 60"/>
                <a:gd name="T23" fmla="*/ 4 h 70"/>
                <a:gd name="T24" fmla="*/ 6 w 60"/>
                <a:gd name="T25" fmla="*/ 2 h 70"/>
                <a:gd name="T26" fmla="*/ 6 w 60"/>
                <a:gd name="T27" fmla="*/ 1 h 70"/>
                <a:gd name="T28" fmla="*/ 6 w 60"/>
                <a:gd name="T29" fmla="*/ 1 h 70"/>
                <a:gd name="T30" fmla="*/ 6 w 60"/>
                <a:gd name="T31" fmla="*/ 1 h 70"/>
                <a:gd name="T32" fmla="*/ 6 w 60"/>
                <a:gd name="T33" fmla="*/ 1 h 7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60" h="70">
                  <a:moveTo>
                    <a:pt x="54" y="8"/>
                  </a:moveTo>
                  <a:lnTo>
                    <a:pt x="44" y="1"/>
                  </a:lnTo>
                  <a:lnTo>
                    <a:pt x="20" y="0"/>
                  </a:lnTo>
                  <a:lnTo>
                    <a:pt x="0" y="0"/>
                  </a:lnTo>
                  <a:lnTo>
                    <a:pt x="7" y="18"/>
                  </a:lnTo>
                  <a:lnTo>
                    <a:pt x="7" y="28"/>
                  </a:lnTo>
                  <a:lnTo>
                    <a:pt x="12" y="46"/>
                  </a:lnTo>
                  <a:lnTo>
                    <a:pt x="12" y="63"/>
                  </a:lnTo>
                  <a:lnTo>
                    <a:pt x="29" y="70"/>
                  </a:lnTo>
                  <a:lnTo>
                    <a:pt x="39" y="61"/>
                  </a:lnTo>
                  <a:lnTo>
                    <a:pt x="52" y="46"/>
                  </a:lnTo>
                  <a:lnTo>
                    <a:pt x="60" y="33"/>
                  </a:lnTo>
                  <a:lnTo>
                    <a:pt x="60" y="18"/>
                  </a:lnTo>
                  <a:lnTo>
                    <a:pt x="57" y="11"/>
                  </a:lnTo>
                  <a:lnTo>
                    <a:pt x="54" y="11"/>
                  </a:lnTo>
                  <a:lnTo>
                    <a:pt x="54" y="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54"/>
            <p:cNvSpPr>
              <a:spLocks/>
            </p:cNvSpPr>
            <p:nvPr/>
          </p:nvSpPr>
          <p:spPr bwMode="auto">
            <a:xfrm>
              <a:off x="3799" y="3234"/>
              <a:ext cx="102" cy="82"/>
            </a:xfrm>
            <a:custGeom>
              <a:avLst/>
              <a:gdLst>
                <a:gd name="T0" fmla="*/ 5 w 157"/>
                <a:gd name="T1" fmla="*/ 16 h 124"/>
                <a:gd name="T2" fmla="*/ 4 w 157"/>
                <a:gd name="T3" fmla="*/ 16 h 124"/>
                <a:gd name="T4" fmla="*/ 3 w 157"/>
                <a:gd name="T5" fmla="*/ 14 h 124"/>
                <a:gd name="T6" fmla="*/ 1 w 157"/>
                <a:gd name="T7" fmla="*/ 13 h 124"/>
                <a:gd name="T8" fmla="*/ 1 w 157"/>
                <a:gd name="T9" fmla="*/ 13 h 124"/>
                <a:gd name="T10" fmla="*/ 0 w 157"/>
                <a:gd name="T11" fmla="*/ 11 h 124"/>
                <a:gd name="T12" fmla="*/ 3 w 157"/>
                <a:gd name="T13" fmla="*/ 10 h 124"/>
                <a:gd name="T14" fmla="*/ 4 w 157"/>
                <a:gd name="T15" fmla="*/ 9 h 124"/>
                <a:gd name="T16" fmla="*/ 6 w 157"/>
                <a:gd name="T17" fmla="*/ 8 h 124"/>
                <a:gd name="T18" fmla="*/ 8 w 157"/>
                <a:gd name="T19" fmla="*/ 7 h 124"/>
                <a:gd name="T20" fmla="*/ 10 w 157"/>
                <a:gd name="T21" fmla="*/ 6 h 124"/>
                <a:gd name="T22" fmla="*/ 12 w 157"/>
                <a:gd name="T23" fmla="*/ 4 h 124"/>
                <a:gd name="T24" fmla="*/ 15 w 157"/>
                <a:gd name="T25" fmla="*/ 1 h 124"/>
                <a:gd name="T26" fmla="*/ 16 w 157"/>
                <a:gd name="T27" fmla="*/ 0 h 124"/>
                <a:gd name="T28" fmla="*/ 17 w 157"/>
                <a:gd name="T29" fmla="*/ 0 h 124"/>
                <a:gd name="T30" fmla="*/ 16 w 157"/>
                <a:gd name="T31" fmla="*/ 3 h 124"/>
                <a:gd name="T32" fmla="*/ 17 w 157"/>
                <a:gd name="T33" fmla="*/ 3 h 124"/>
                <a:gd name="T34" fmla="*/ 18 w 157"/>
                <a:gd name="T35" fmla="*/ 4 h 124"/>
                <a:gd name="T36" fmla="*/ 17 w 157"/>
                <a:gd name="T37" fmla="*/ 7 h 124"/>
                <a:gd name="T38" fmla="*/ 15 w 157"/>
                <a:gd name="T39" fmla="*/ 7 h 124"/>
                <a:gd name="T40" fmla="*/ 14 w 157"/>
                <a:gd name="T41" fmla="*/ 9 h 124"/>
                <a:gd name="T42" fmla="*/ 12 w 157"/>
                <a:gd name="T43" fmla="*/ 9 h 124"/>
                <a:gd name="T44" fmla="*/ 12 w 157"/>
                <a:gd name="T45" fmla="*/ 9 h 124"/>
                <a:gd name="T46" fmla="*/ 10 w 157"/>
                <a:gd name="T47" fmla="*/ 10 h 124"/>
                <a:gd name="T48" fmla="*/ 10 w 157"/>
                <a:gd name="T49" fmla="*/ 12 h 124"/>
                <a:gd name="T50" fmla="*/ 9 w 157"/>
                <a:gd name="T51" fmla="*/ 13 h 124"/>
                <a:gd name="T52" fmla="*/ 8 w 157"/>
                <a:gd name="T53" fmla="*/ 15 h 124"/>
                <a:gd name="T54" fmla="*/ 6 w 157"/>
                <a:gd name="T55" fmla="*/ 16 h 124"/>
                <a:gd name="T56" fmla="*/ 6 w 157"/>
                <a:gd name="T57" fmla="*/ 16 h 124"/>
                <a:gd name="T58" fmla="*/ 5 w 157"/>
                <a:gd name="T59" fmla="*/ 16 h 124"/>
                <a:gd name="T60" fmla="*/ 5 w 157"/>
                <a:gd name="T61" fmla="*/ 16 h 1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57" h="124">
                  <a:moveTo>
                    <a:pt x="47" y="122"/>
                  </a:moveTo>
                  <a:lnTo>
                    <a:pt x="32" y="122"/>
                  </a:lnTo>
                  <a:lnTo>
                    <a:pt x="25" y="112"/>
                  </a:lnTo>
                  <a:lnTo>
                    <a:pt x="10" y="104"/>
                  </a:lnTo>
                  <a:lnTo>
                    <a:pt x="2" y="102"/>
                  </a:lnTo>
                  <a:lnTo>
                    <a:pt x="0" y="87"/>
                  </a:lnTo>
                  <a:lnTo>
                    <a:pt x="23" y="79"/>
                  </a:lnTo>
                  <a:lnTo>
                    <a:pt x="32" y="69"/>
                  </a:lnTo>
                  <a:lnTo>
                    <a:pt x="50" y="62"/>
                  </a:lnTo>
                  <a:lnTo>
                    <a:pt x="73" y="52"/>
                  </a:lnTo>
                  <a:lnTo>
                    <a:pt x="83" y="42"/>
                  </a:lnTo>
                  <a:lnTo>
                    <a:pt x="100" y="29"/>
                  </a:lnTo>
                  <a:lnTo>
                    <a:pt x="127" y="10"/>
                  </a:lnTo>
                  <a:lnTo>
                    <a:pt x="135" y="0"/>
                  </a:lnTo>
                  <a:lnTo>
                    <a:pt x="147" y="0"/>
                  </a:lnTo>
                  <a:lnTo>
                    <a:pt x="140" y="19"/>
                  </a:lnTo>
                  <a:lnTo>
                    <a:pt x="147" y="25"/>
                  </a:lnTo>
                  <a:lnTo>
                    <a:pt x="157" y="29"/>
                  </a:lnTo>
                  <a:lnTo>
                    <a:pt x="147" y="50"/>
                  </a:lnTo>
                  <a:lnTo>
                    <a:pt x="130" y="55"/>
                  </a:lnTo>
                  <a:lnTo>
                    <a:pt x="120" y="69"/>
                  </a:lnTo>
                  <a:lnTo>
                    <a:pt x="108" y="72"/>
                  </a:lnTo>
                  <a:lnTo>
                    <a:pt x="100" y="70"/>
                  </a:lnTo>
                  <a:lnTo>
                    <a:pt x="92" y="79"/>
                  </a:lnTo>
                  <a:lnTo>
                    <a:pt x="83" y="94"/>
                  </a:lnTo>
                  <a:lnTo>
                    <a:pt x="77" y="105"/>
                  </a:lnTo>
                  <a:lnTo>
                    <a:pt x="67" y="119"/>
                  </a:lnTo>
                  <a:lnTo>
                    <a:pt x="57" y="122"/>
                  </a:lnTo>
                  <a:lnTo>
                    <a:pt x="52" y="124"/>
                  </a:lnTo>
                  <a:lnTo>
                    <a:pt x="47" y="12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55"/>
            <p:cNvSpPr>
              <a:spLocks/>
            </p:cNvSpPr>
            <p:nvPr/>
          </p:nvSpPr>
          <p:spPr bwMode="auto">
            <a:xfrm>
              <a:off x="3799" y="3234"/>
              <a:ext cx="102" cy="82"/>
            </a:xfrm>
            <a:custGeom>
              <a:avLst/>
              <a:gdLst>
                <a:gd name="T0" fmla="*/ 5 w 157"/>
                <a:gd name="T1" fmla="*/ 16 h 124"/>
                <a:gd name="T2" fmla="*/ 4 w 157"/>
                <a:gd name="T3" fmla="*/ 16 h 124"/>
                <a:gd name="T4" fmla="*/ 3 w 157"/>
                <a:gd name="T5" fmla="*/ 14 h 124"/>
                <a:gd name="T6" fmla="*/ 1 w 157"/>
                <a:gd name="T7" fmla="*/ 13 h 124"/>
                <a:gd name="T8" fmla="*/ 1 w 157"/>
                <a:gd name="T9" fmla="*/ 13 h 124"/>
                <a:gd name="T10" fmla="*/ 0 w 157"/>
                <a:gd name="T11" fmla="*/ 11 h 124"/>
                <a:gd name="T12" fmla="*/ 3 w 157"/>
                <a:gd name="T13" fmla="*/ 10 h 124"/>
                <a:gd name="T14" fmla="*/ 4 w 157"/>
                <a:gd name="T15" fmla="*/ 9 h 124"/>
                <a:gd name="T16" fmla="*/ 6 w 157"/>
                <a:gd name="T17" fmla="*/ 8 h 124"/>
                <a:gd name="T18" fmla="*/ 8 w 157"/>
                <a:gd name="T19" fmla="*/ 7 h 124"/>
                <a:gd name="T20" fmla="*/ 10 w 157"/>
                <a:gd name="T21" fmla="*/ 6 h 124"/>
                <a:gd name="T22" fmla="*/ 12 w 157"/>
                <a:gd name="T23" fmla="*/ 4 h 124"/>
                <a:gd name="T24" fmla="*/ 15 w 157"/>
                <a:gd name="T25" fmla="*/ 1 h 124"/>
                <a:gd name="T26" fmla="*/ 16 w 157"/>
                <a:gd name="T27" fmla="*/ 0 h 124"/>
                <a:gd name="T28" fmla="*/ 17 w 157"/>
                <a:gd name="T29" fmla="*/ 0 h 124"/>
                <a:gd name="T30" fmla="*/ 16 w 157"/>
                <a:gd name="T31" fmla="*/ 3 h 124"/>
                <a:gd name="T32" fmla="*/ 17 w 157"/>
                <a:gd name="T33" fmla="*/ 3 h 124"/>
                <a:gd name="T34" fmla="*/ 18 w 157"/>
                <a:gd name="T35" fmla="*/ 4 h 124"/>
                <a:gd name="T36" fmla="*/ 17 w 157"/>
                <a:gd name="T37" fmla="*/ 7 h 124"/>
                <a:gd name="T38" fmla="*/ 15 w 157"/>
                <a:gd name="T39" fmla="*/ 7 h 124"/>
                <a:gd name="T40" fmla="*/ 14 w 157"/>
                <a:gd name="T41" fmla="*/ 9 h 124"/>
                <a:gd name="T42" fmla="*/ 12 w 157"/>
                <a:gd name="T43" fmla="*/ 9 h 124"/>
                <a:gd name="T44" fmla="*/ 12 w 157"/>
                <a:gd name="T45" fmla="*/ 9 h 124"/>
                <a:gd name="T46" fmla="*/ 10 w 157"/>
                <a:gd name="T47" fmla="*/ 10 h 124"/>
                <a:gd name="T48" fmla="*/ 10 w 157"/>
                <a:gd name="T49" fmla="*/ 12 h 124"/>
                <a:gd name="T50" fmla="*/ 9 w 157"/>
                <a:gd name="T51" fmla="*/ 13 h 124"/>
                <a:gd name="T52" fmla="*/ 8 w 157"/>
                <a:gd name="T53" fmla="*/ 15 h 124"/>
                <a:gd name="T54" fmla="*/ 6 w 157"/>
                <a:gd name="T55" fmla="*/ 16 h 124"/>
                <a:gd name="T56" fmla="*/ 6 w 157"/>
                <a:gd name="T57" fmla="*/ 16 h 124"/>
                <a:gd name="T58" fmla="*/ 5 w 157"/>
                <a:gd name="T59" fmla="*/ 16 h 124"/>
                <a:gd name="T60" fmla="*/ 5 w 157"/>
                <a:gd name="T61" fmla="*/ 16 h 12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57" h="124">
                  <a:moveTo>
                    <a:pt x="47" y="122"/>
                  </a:moveTo>
                  <a:lnTo>
                    <a:pt x="32" y="122"/>
                  </a:lnTo>
                  <a:lnTo>
                    <a:pt x="25" y="112"/>
                  </a:lnTo>
                  <a:lnTo>
                    <a:pt x="10" y="104"/>
                  </a:lnTo>
                  <a:lnTo>
                    <a:pt x="2" y="102"/>
                  </a:lnTo>
                  <a:lnTo>
                    <a:pt x="0" y="87"/>
                  </a:lnTo>
                  <a:lnTo>
                    <a:pt x="23" y="79"/>
                  </a:lnTo>
                  <a:lnTo>
                    <a:pt x="32" y="69"/>
                  </a:lnTo>
                  <a:lnTo>
                    <a:pt x="50" y="62"/>
                  </a:lnTo>
                  <a:lnTo>
                    <a:pt x="73" y="52"/>
                  </a:lnTo>
                  <a:lnTo>
                    <a:pt x="83" y="42"/>
                  </a:lnTo>
                  <a:lnTo>
                    <a:pt x="100" y="29"/>
                  </a:lnTo>
                  <a:lnTo>
                    <a:pt x="127" y="10"/>
                  </a:lnTo>
                  <a:lnTo>
                    <a:pt x="135" y="0"/>
                  </a:lnTo>
                  <a:lnTo>
                    <a:pt x="147" y="0"/>
                  </a:lnTo>
                  <a:lnTo>
                    <a:pt x="140" y="19"/>
                  </a:lnTo>
                  <a:lnTo>
                    <a:pt x="147" y="25"/>
                  </a:lnTo>
                  <a:lnTo>
                    <a:pt x="157" y="29"/>
                  </a:lnTo>
                  <a:lnTo>
                    <a:pt x="147" y="50"/>
                  </a:lnTo>
                  <a:lnTo>
                    <a:pt x="130" y="55"/>
                  </a:lnTo>
                  <a:lnTo>
                    <a:pt x="120" y="69"/>
                  </a:lnTo>
                  <a:lnTo>
                    <a:pt x="108" y="72"/>
                  </a:lnTo>
                  <a:lnTo>
                    <a:pt x="100" y="70"/>
                  </a:lnTo>
                  <a:lnTo>
                    <a:pt x="92" y="79"/>
                  </a:lnTo>
                  <a:lnTo>
                    <a:pt x="83" y="94"/>
                  </a:lnTo>
                  <a:lnTo>
                    <a:pt x="77" y="105"/>
                  </a:lnTo>
                  <a:lnTo>
                    <a:pt x="67" y="119"/>
                  </a:lnTo>
                  <a:lnTo>
                    <a:pt x="57" y="122"/>
                  </a:lnTo>
                  <a:lnTo>
                    <a:pt x="52" y="124"/>
                  </a:lnTo>
                  <a:lnTo>
                    <a:pt x="47" y="12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56"/>
            <p:cNvSpPr>
              <a:spLocks/>
            </p:cNvSpPr>
            <p:nvPr/>
          </p:nvSpPr>
          <p:spPr bwMode="auto">
            <a:xfrm>
              <a:off x="3906" y="3162"/>
              <a:ext cx="41" cy="87"/>
            </a:xfrm>
            <a:custGeom>
              <a:avLst/>
              <a:gdLst>
                <a:gd name="T0" fmla="*/ 0 w 67"/>
                <a:gd name="T1" fmla="*/ 16 h 132"/>
                <a:gd name="T2" fmla="*/ 0 w 67"/>
                <a:gd name="T3" fmla="*/ 15 h 132"/>
                <a:gd name="T4" fmla="*/ 0 w 67"/>
                <a:gd name="T5" fmla="*/ 13 h 132"/>
                <a:gd name="T6" fmla="*/ 1 w 67"/>
                <a:gd name="T7" fmla="*/ 11 h 132"/>
                <a:gd name="T8" fmla="*/ 1 w 67"/>
                <a:gd name="T9" fmla="*/ 9 h 132"/>
                <a:gd name="T10" fmla="*/ 1 w 67"/>
                <a:gd name="T11" fmla="*/ 8 h 132"/>
                <a:gd name="T12" fmla="*/ 1 w 67"/>
                <a:gd name="T13" fmla="*/ 6 h 132"/>
                <a:gd name="T14" fmla="*/ 1 w 67"/>
                <a:gd name="T15" fmla="*/ 3 h 132"/>
                <a:gd name="T16" fmla="*/ 1 w 67"/>
                <a:gd name="T17" fmla="*/ 0 h 132"/>
                <a:gd name="T18" fmla="*/ 1 w 67"/>
                <a:gd name="T19" fmla="*/ 3 h 132"/>
                <a:gd name="T20" fmla="*/ 2 w 67"/>
                <a:gd name="T21" fmla="*/ 7 h 132"/>
                <a:gd name="T22" fmla="*/ 4 w 67"/>
                <a:gd name="T23" fmla="*/ 9 h 132"/>
                <a:gd name="T24" fmla="*/ 5 w 67"/>
                <a:gd name="T25" fmla="*/ 9 h 132"/>
                <a:gd name="T26" fmla="*/ 6 w 67"/>
                <a:gd name="T27" fmla="*/ 8 h 132"/>
                <a:gd name="T28" fmla="*/ 6 w 67"/>
                <a:gd name="T29" fmla="*/ 11 h 132"/>
                <a:gd name="T30" fmla="*/ 6 w 67"/>
                <a:gd name="T31" fmla="*/ 11 h 132"/>
                <a:gd name="T32" fmla="*/ 4 w 67"/>
                <a:gd name="T33" fmla="*/ 13 h 132"/>
                <a:gd name="T34" fmla="*/ 3 w 67"/>
                <a:gd name="T35" fmla="*/ 15 h 132"/>
                <a:gd name="T36" fmla="*/ 2 w 67"/>
                <a:gd name="T37" fmla="*/ 16 h 132"/>
                <a:gd name="T38" fmla="*/ 1 w 67"/>
                <a:gd name="T39" fmla="*/ 16 h 132"/>
                <a:gd name="T40" fmla="*/ 1 w 67"/>
                <a:gd name="T41" fmla="*/ 16 h 132"/>
                <a:gd name="T42" fmla="*/ 0 w 67"/>
                <a:gd name="T43" fmla="*/ 16 h 132"/>
                <a:gd name="T44" fmla="*/ 0 w 67"/>
                <a:gd name="T45" fmla="*/ 16 h 13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132">
                  <a:moveTo>
                    <a:pt x="0" y="130"/>
                  </a:moveTo>
                  <a:lnTo>
                    <a:pt x="0" y="115"/>
                  </a:lnTo>
                  <a:lnTo>
                    <a:pt x="0" y="100"/>
                  </a:lnTo>
                  <a:lnTo>
                    <a:pt x="2" y="90"/>
                  </a:lnTo>
                  <a:lnTo>
                    <a:pt x="17" y="75"/>
                  </a:lnTo>
                  <a:lnTo>
                    <a:pt x="19" y="62"/>
                  </a:lnTo>
                  <a:lnTo>
                    <a:pt x="19" y="45"/>
                  </a:lnTo>
                  <a:lnTo>
                    <a:pt x="19" y="23"/>
                  </a:lnTo>
                  <a:lnTo>
                    <a:pt x="12" y="0"/>
                  </a:lnTo>
                  <a:lnTo>
                    <a:pt x="20" y="25"/>
                  </a:lnTo>
                  <a:lnTo>
                    <a:pt x="32" y="55"/>
                  </a:lnTo>
                  <a:lnTo>
                    <a:pt x="42" y="70"/>
                  </a:lnTo>
                  <a:lnTo>
                    <a:pt x="55" y="75"/>
                  </a:lnTo>
                  <a:lnTo>
                    <a:pt x="64" y="62"/>
                  </a:lnTo>
                  <a:lnTo>
                    <a:pt x="67" y="83"/>
                  </a:lnTo>
                  <a:lnTo>
                    <a:pt x="62" y="90"/>
                  </a:lnTo>
                  <a:lnTo>
                    <a:pt x="47" y="105"/>
                  </a:lnTo>
                  <a:lnTo>
                    <a:pt x="34" y="118"/>
                  </a:lnTo>
                  <a:lnTo>
                    <a:pt x="25" y="128"/>
                  </a:lnTo>
                  <a:lnTo>
                    <a:pt x="12" y="132"/>
                  </a:lnTo>
                  <a:lnTo>
                    <a:pt x="4" y="132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57"/>
            <p:cNvSpPr>
              <a:spLocks/>
            </p:cNvSpPr>
            <p:nvPr/>
          </p:nvSpPr>
          <p:spPr bwMode="auto">
            <a:xfrm>
              <a:off x="3906" y="3162"/>
              <a:ext cx="41" cy="87"/>
            </a:xfrm>
            <a:custGeom>
              <a:avLst/>
              <a:gdLst>
                <a:gd name="T0" fmla="*/ 0 w 67"/>
                <a:gd name="T1" fmla="*/ 16 h 132"/>
                <a:gd name="T2" fmla="*/ 0 w 67"/>
                <a:gd name="T3" fmla="*/ 15 h 132"/>
                <a:gd name="T4" fmla="*/ 0 w 67"/>
                <a:gd name="T5" fmla="*/ 13 h 132"/>
                <a:gd name="T6" fmla="*/ 1 w 67"/>
                <a:gd name="T7" fmla="*/ 11 h 132"/>
                <a:gd name="T8" fmla="*/ 1 w 67"/>
                <a:gd name="T9" fmla="*/ 9 h 132"/>
                <a:gd name="T10" fmla="*/ 1 w 67"/>
                <a:gd name="T11" fmla="*/ 8 h 132"/>
                <a:gd name="T12" fmla="*/ 1 w 67"/>
                <a:gd name="T13" fmla="*/ 6 h 132"/>
                <a:gd name="T14" fmla="*/ 1 w 67"/>
                <a:gd name="T15" fmla="*/ 3 h 132"/>
                <a:gd name="T16" fmla="*/ 1 w 67"/>
                <a:gd name="T17" fmla="*/ 0 h 132"/>
                <a:gd name="T18" fmla="*/ 1 w 67"/>
                <a:gd name="T19" fmla="*/ 3 h 132"/>
                <a:gd name="T20" fmla="*/ 2 w 67"/>
                <a:gd name="T21" fmla="*/ 7 h 132"/>
                <a:gd name="T22" fmla="*/ 4 w 67"/>
                <a:gd name="T23" fmla="*/ 9 h 132"/>
                <a:gd name="T24" fmla="*/ 5 w 67"/>
                <a:gd name="T25" fmla="*/ 9 h 132"/>
                <a:gd name="T26" fmla="*/ 6 w 67"/>
                <a:gd name="T27" fmla="*/ 8 h 132"/>
                <a:gd name="T28" fmla="*/ 6 w 67"/>
                <a:gd name="T29" fmla="*/ 11 h 132"/>
                <a:gd name="T30" fmla="*/ 6 w 67"/>
                <a:gd name="T31" fmla="*/ 11 h 132"/>
                <a:gd name="T32" fmla="*/ 4 w 67"/>
                <a:gd name="T33" fmla="*/ 13 h 132"/>
                <a:gd name="T34" fmla="*/ 3 w 67"/>
                <a:gd name="T35" fmla="*/ 15 h 132"/>
                <a:gd name="T36" fmla="*/ 2 w 67"/>
                <a:gd name="T37" fmla="*/ 16 h 132"/>
                <a:gd name="T38" fmla="*/ 1 w 67"/>
                <a:gd name="T39" fmla="*/ 16 h 132"/>
                <a:gd name="T40" fmla="*/ 1 w 67"/>
                <a:gd name="T41" fmla="*/ 16 h 132"/>
                <a:gd name="T42" fmla="*/ 0 w 67"/>
                <a:gd name="T43" fmla="*/ 16 h 132"/>
                <a:gd name="T44" fmla="*/ 0 w 67"/>
                <a:gd name="T45" fmla="*/ 16 h 13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132">
                  <a:moveTo>
                    <a:pt x="0" y="130"/>
                  </a:moveTo>
                  <a:lnTo>
                    <a:pt x="0" y="115"/>
                  </a:lnTo>
                  <a:lnTo>
                    <a:pt x="0" y="100"/>
                  </a:lnTo>
                  <a:lnTo>
                    <a:pt x="2" y="90"/>
                  </a:lnTo>
                  <a:lnTo>
                    <a:pt x="17" y="75"/>
                  </a:lnTo>
                  <a:lnTo>
                    <a:pt x="19" y="62"/>
                  </a:lnTo>
                  <a:lnTo>
                    <a:pt x="19" y="45"/>
                  </a:lnTo>
                  <a:lnTo>
                    <a:pt x="19" y="23"/>
                  </a:lnTo>
                  <a:lnTo>
                    <a:pt x="12" y="0"/>
                  </a:lnTo>
                  <a:lnTo>
                    <a:pt x="20" y="25"/>
                  </a:lnTo>
                  <a:lnTo>
                    <a:pt x="32" y="55"/>
                  </a:lnTo>
                  <a:lnTo>
                    <a:pt x="42" y="70"/>
                  </a:lnTo>
                  <a:lnTo>
                    <a:pt x="55" y="75"/>
                  </a:lnTo>
                  <a:lnTo>
                    <a:pt x="64" y="62"/>
                  </a:lnTo>
                  <a:lnTo>
                    <a:pt x="67" y="83"/>
                  </a:lnTo>
                  <a:lnTo>
                    <a:pt x="62" y="90"/>
                  </a:lnTo>
                  <a:lnTo>
                    <a:pt x="47" y="105"/>
                  </a:lnTo>
                  <a:lnTo>
                    <a:pt x="34" y="118"/>
                  </a:lnTo>
                  <a:lnTo>
                    <a:pt x="25" y="128"/>
                  </a:lnTo>
                  <a:lnTo>
                    <a:pt x="12" y="132"/>
                  </a:lnTo>
                  <a:lnTo>
                    <a:pt x="4" y="132"/>
                  </a:lnTo>
                  <a:lnTo>
                    <a:pt x="0" y="13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58"/>
            <p:cNvSpPr>
              <a:spLocks/>
            </p:cNvSpPr>
            <p:nvPr/>
          </p:nvSpPr>
          <p:spPr bwMode="auto">
            <a:xfrm>
              <a:off x="1591" y="3337"/>
              <a:ext cx="12" cy="16"/>
            </a:xfrm>
            <a:custGeom>
              <a:avLst/>
              <a:gdLst>
                <a:gd name="T0" fmla="*/ 2 w 19"/>
                <a:gd name="T1" fmla="*/ 1 h 26"/>
                <a:gd name="T2" fmla="*/ 2 w 19"/>
                <a:gd name="T3" fmla="*/ 0 h 26"/>
                <a:gd name="T4" fmla="*/ 1 w 19"/>
                <a:gd name="T5" fmla="*/ 1 h 26"/>
                <a:gd name="T6" fmla="*/ 0 w 19"/>
                <a:gd name="T7" fmla="*/ 1 h 26"/>
                <a:gd name="T8" fmla="*/ 1 w 19"/>
                <a:gd name="T9" fmla="*/ 2 h 26"/>
                <a:gd name="T10" fmla="*/ 1 w 19"/>
                <a:gd name="T11" fmla="*/ 2 h 26"/>
                <a:gd name="T12" fmla="*/ 1 w 19"/>
                <a:gd name="T13" fmla="*/ 1 h 26"/>
                <a:gd name="T14" fmla="*/ 2 w 19"/>
                <a:gd name="T15" fmla="*/ 1 h 26"/>
                <a:gd name="T16" fmla="*/ 2 w 19"/>
                <a:gd name="T17" fmla="*/ 1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26">
                  <a:moveTo>
                    <a:pt x="17" y="6"/>
                  </a:moveTo>
                  <a:lnTo>
                    <a:pt x="19" y="0"/>
                  </a:lnTo>
                  <a:lnTo>
                    <a:pt x="12" y="1"/>
                  </a:lnTo>
                  <a:lnTo>
                    <a:pt x="0" y="18"/>
                  </a:lnTo>
                  <a:lnTo>
                    <a:pt x="9" y="26"/>
                  </a:lnTo>
                  <a:lnTo>
                    <a:pt x="10" y="23"/>
                  </a:lnTo>
                  <a:lnTo>
                    <a:pt x="12" y="16"/>
                  </a:lnTo>
                  <a:lnTo>
                    <a:pt x="17" y="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59"/>
            <p:cNvSpPr>
              <a:spLocks/>
            </p:cNvSpPr>
            <p:nvPr/>
          </p:nvSpPr>
          <p:spPr bwMode="auto">
            <a:xfrm>
              <a:off x="1591" y="3337"/>
              <a:ext cx="12" cy="16"/>
            </a:xfrm>
            <a:custGeom>
              <a:avLst/>
              <a:gdLst>
                <a:gd name="T0" fmla="*/ 2 w 19"/>
                <a:gd name="T1" fmla="*/ 1 h 26"/>
                <a:gd name="T2" fmla="*/ 2 w 19"/>
                <a:gd name="T3" fmla="*/ 0 h 26"/>
                <a:gd name="T4" fmla="*/ 1 w 19"/>
                <a:gd name="T5" fmla="*/ 1 h 26"/>
                <a:gd name="T6" fmla="*/ 0 w 19"/>
                <a:gd name="T7" fmla="*/ 1 h 26"/>
                <a:gd name="T8" fmla="*/ 1 w 19"/>
                <a:gd name="T9" fmla="*/ 2 h 26"/>
                <a:gd name="T10" fmla="*/ 1 w 19"/>
                <a:gd name="T11" fmla="*/ 2 h 26"/>
                <a:gd name="T12" fmla="*/ 1 w 19"/>
                <a:gd name="T13" fmla="*/ 1 h 26"/>
                <a:gd name="T14" fmla="*/ 2 w 19"/>
                <a:gd name="T15" fmla="*/ 1 h 26"/>
                <a:gd name="T16" fmla="*/ 2 w 19"/>
                <a:gd name="T17" fmla="*/ 1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26">
                  <a:moveTo>
                    <a:pt x="17" y="6"/>
                  </a:moveTo>
                  <a:lnTo>
                    <a:pt x="19" y="0"/>
                  </a:lnTo>
                  <a:lnTo>
                    <a:pt x="12" y="1"/>
                  </a:lnTo>
                  <a:lnTo>
                    <a:pt x="0" y="18"/>
                  </a:lnTo>
                  <a:lnTo>
                    <a:pt x="9" y="26"/>
                  </a:lnTo>
                  <a:lnTo>
                    <a:pt x="10" y="23"/>
                  </a:lnTo>
                  <a:lnTo>
                    <a:pt x="12" y="16"/>
                  </a:lnTo>
                  <a:lnTo>
                    <a:pt x="17" y="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60"/>
            <p:cNvSpPr>
              <a:spLocks/>
            </p:cNvSpPr>
            <p:nvPr/>
          </p:nvSpPr>
          <p:spPr bwMode="auto">
            <a:xfrm>
              <a:off x="1599" y="3338"/>
              <a:ext cx="11" cy="13"/>
            </a:xfrm>
            <a:custGeom>
              <a:avLst/>
              <a:gdLst>
                <a:gd name="T0" fmla="*/ 1 w 16"/>
                <a:gd name="T1" fmla="*/ 0 h 18"/>
                <a:gd name="T2" fmla="*/ 1 w 16"/>
                <a:gd name="T3" fmla="*/ 1 h 18"/>
                <a:gd name="T4" fmla="*/ 1 w 16"/>
                <a:gd name="T5" fmla="*/ 2 h 18"/>
                <a:gd name="T6" fmla="*/ 0 w 16"/>
                <a:gd name="T7" fmla="*/ 4 h 18"/>
                <a:gd name="T8" fmla="*/ 1 w 16"/>
                <a:gd name="T9" fmla="*/ 4 h 18"/>
                <a:gd name="T10" fmla="*/ 1 w 16"/>
                <a:gd name="T11" fmla="*/ 2 h 18"/>
                <a:gd name="T12" fmla="*/ 3 w 16"/>
                <a:gd name="T13" fmla="*/ 1 h 18"/>
                <a:gd name="T14" fmla="*/ 3 w 16"/>
                <a:gd name="T15" fmla="*/ 1 h 18"/>
                <a:gd name="T16" fmla="*/ 1 w 16"/>
                <a:gd name="T17" fmla="*/ 0 h 18"/>
                <a:gd name="T18" fmla="*/ 1 w 16"/>
                <a:gd name="T19" fmla="*/ 0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6" h="18">
                  <a:moveTo>
                    <a:pt x="10" y="0"/>
                  </a:moveTo>
                  <a:lnTo>
                    <a:pt x="6" y="1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8" y="16"/>
                  </a:lnTo>
                  <a:lnTo>
                    <a:pt x="10" y="10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61"/>
            <p:cNvSpPr>
              <a:spLocks/>
            </p:cNvSpPr>
            <p:nvPr/>
          </p:nvSpPr>
          <p:spPr bwMode="auto">
            <a:xfrm>
              <a:off x="1599" y="3338"/>
              <a:ext cx="11" cy="13"/>
            </a:xfrm>
            <a:custGeom>
              <a:avLst/>
              <a:gdLst>
                <a:gd name="T0" fmla="*/ 1 w 16"/>
                <a:gd name="T1" fmla="*/ 0 h 18"/>
                <a:gd name="T2" fmla="*/ 1 w 16"/>
                <a:gd name="T3" fmla="*/ 1 h 18"/>
                <a:gd name="T4" fmla="*/ 1 w 16"/>
                <a:gd name="T5" fmla="*/ 2 h 18"/>
                <a:gd name="T6" fmla="*/ 0 w 16"/>
                <a:gd name="T7" fmla="*/ 4 h 18"/>
                <a:gd name="T8" fmla="*/ 1 w 16"/>
                <a:gd name="T9" fmla="*/ 4 h 18"/>
                <a:gd name="T10" fmla="*/ 1 w 16"/>
                <a:gd name="T11" fmla="*/ 2 h 18"/>
                <a:gd name="T12" fmla="*/ 3 w 16"/>
                <a:gd name="T13" fmla="*/ 1 h 18"/>
                <a:gd name="T14" fmla="*/ 3 w 16"/>
                <a:gd name="T15" fmla="*/ 1 h 18"/>
                <a:gd name="T16" fmla="*/ 1 w 16"/>
                <a:gd name="T17" fmla="*/ 0 h 18"/>
                <a:gd name="T18" fmla="*/ 1 w 16"/>
                <a:gd name="T19" fmla="*/ 0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6" h="18">
                  <a:moveTo>
                    <a:pt x="10" y="0"/>
                  </a:moveTo>
                  <a:lnTo>
                    <a:pt x="6" y="1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8" y="16"/>
                  </a:lnTo>
                  <a:lnTo>
                    <a:pt x="10" y="10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62"/>
            <p:cNvSpPr>
              <a:spLocks/>
            </p:cNvSpPr>
            <p:nvPr/>
          </p:nvSpPr>
          <p:spPr bwMode="auto">
            <a:xfrm>
              <a:off x="1481" y="3306"/>
              <a:ext cx="2" cy="13"/>
            </a:xfrm>
            <a:custGeom>
              <a:avLst/>
              <a:gdLst>
                <a:gd name="T0" fmla="*/ 0 w 9"/>
                <a:gd name="T1" fmla="*/ 0 h 19"/>
                <a:gd name="T2" fmla="*/ 0 w 9"/>
                <a:gd name="T3" fmla="*/ 0 h 19"/>
                <a:gd name="T4" fmla="*/ 0 w 9"/>
                <a:gd name="T5" fmla="*/ 3 h 19"/>
                <a:gd name="T6" fmla="*/ 0 w 9"/>
                <a:gd name="T7" fmla="*/ 1 h 19"/>
                <a:gd name="T8" fmla="*/ 0 w 9"/>
                <a:gd name="T9" fmla="*/ 1 h 19"/>
                <a:gd name="T10" fmla="*/ 0 w 9"/>
                <a:gd name="T11" fmla="*/ 0 h 19"/>
                <a:gd name="T12" fmla="*/ 0 w 9"/>
                <a:gd name="T13" fmla="*/ 0 h 19"/>
                <a:gd name="T14" fmla="*/ 0 w 9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19">
                  <a:moveTo>
                    <a:pt x="5" y="0"/>
                  </a:moveTo>
                  <a:lnTo>
                    <a:pt x="2" y="0"/>
                  </a:lnTo>
                  <a:lnTo>
                    <a:pt x="0" y="19"/>
                  </a:lnTo>
                  <a:lnTo>
                    <a:pt x="7" y="12"/>
                  </a:lnTo>
                  <a:lnTo>
                    <a:pt x="7" y="5"/>
                  </a:lnTo>
                  <a:lnTo>
                    <a:pt x="9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63"/>
            <p:cNvSpPr>
              <a:spLocks/>
            </p:cNvSpPr>
            <p:nvPr/>
          </p:nvSpPr>
          <p:spPr bwMode="auto">
            <a:xfrm>
              <a:off x="1481" y="3306"/>
              <a:ext cx="2" cy="13"/>
            </a:xfrm>
            <a:custGeom>
              <a:avLst/>
              <a:gdLst>
                <a:gd name="T0" fmla="*/ 0 w 9"/>
                <a:gd name="T1" fmla="*/ 0 h 19"/>
                <a:gd name="T2" fmla="*/ 0 w 9"/>
                <a:gd name="T3" fmla="*/ 0 h 19"/>
                <a:gd name="T4" fmla="*/ 0 w 9"/>
                <a:gd name="T5" fmla="*/ 3 h 19"/>
                <a:gd name="T6" fmla="*/ 0 w 9"/>
                <a:gd name="T7" fmla="*/ 1 h 19"/>
                <a:gd name="T8" fmla="*/ 0 w 9"/>
                <a:gd name="T9" fmla="*/ 1 h 19"/>
                <a:gd name="T10" fmla="*/ 0 w 9"/>
                <a:gd name="T11" fmla="*/ 0 h 19"/>
                <a:gd name="T12" fmla="*/ 0 w 9"/>
                <a:gd name="T13" fmla="*/ 0 h 19"/>
                <a:gd name="T14" fmla="*/ 0 w 9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19">
                  <a:moveTo>
                    <a:pt x="5" y="0"/>
                  </a:moveTo>
                  <a:lnTo>
                    <a:pt x="2" y="0"/>
                  </a:lnTo>
                  <a:lnTo>
                    <a:pt x="0" y="19"/>
                  </a:lnTo>
                  <a:lnTo>
                    <a:pt x="7" y="12"/>
                  </a:lnTo>
                  <a:lnTo>
                    <a:pt x="7" y="5"/>
                  </a:lnTo>
                  <a:lnTo>
                    <a:pt x="9" y="0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64"/>
            <p:cNvSpPr>
              <a:spLocks/>
            </p:cNvSpPr>
            <p:nvPr/>
          </p:nvSpPr>
          <p:spPr bwMode="auto">
            <a:xfrm>
              <a:off x="1490" y="3350"/>
              <a:ext cx="7" cy="8"/>
            </a:xfrm>
            <a:custGeom>
              <a:avLst/>
              <a:gdLst>
                <a:gd name="T0" fmla="*/ 1 w 10"/>
                <a:gd name="T1" fmla="*/ 1 h 12"/>
                <a:gd name="T2" fmla="*/ 1 w 10"/>
                <a:gd name="T3" fmla="*/ 0 h 12"/>
                <a:gd name="T4" fmla="*/ 0 w 10"/>
                <a:gd name="T5" fmla="*/ 1 h 12"/>
                <a:gd name="T6" fmla="*/ 1 w 10"/>
                <a:gd name="T7" fmla="*/ 1 h 12"/>
                <a:gd name="T8" fmla="*/ 2 w 10"/>
                <a:gd name="T9" fmla="*/ 1 h 12"/>
                <a:gd name="T10" fmla="*/ 1 w 10"/>
                <a:gd name="T11" fmla="*/ 1 h 12"/>
                <a:gd name="T12" fmla="*/ 1 w 10"/>
                <a:gd name="T13" fmla="*/ 1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12">
                  <a:moveTo>
                    <a:pt x="7" y="5"/>
                  </a:moveTo>
                  <a:lnTo>
                    <a:pt x="2" y="0"/>
                  </a:lnTo>
                  <a:lnTo>
                    <a:pt x="0" y="9"/>
                  </a:lnTo>
                  <a:lnTo>
                    <a:pt x="5" y="12"/>
                  </a:lnTo>
                  <a:lnTo>
                    <a:pt x="10" y="7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65"/>
            <p:cNvSpPr>
              <a:spLocks/>
            </p:cNvSpPr>
            <p:nvPr/>
          </p:nvSpPr>
          <p:spPr bwMode="auto">
            <a:xfrm>
              <a:off x="1490" y="3350"/>
              <a:ext cx="7" cy="8"/>
            </a:xfrm>
            <a:custGeom>
              <a:avLst/>
              <a:gdLst>
                <a:gd name="T0" fmla="*/ 1 w 10"/>
                <a:gd name="T1" fmla="*/ 1 h 12"/>
                <a:gd name="T2" fmla="*/ 1 w 10"/>
                <a:gd name="T3" fmla="*/ 0 h 12"/>
                <a:gd name="T4" fmla="*/ 0 w 10"/>
                <a:gd name="T5" fmla="*/ 1 h 12"/>
                <a:gd name="T6" fmla="*/ 1 w 10"/>
                <a:gd name="T7" fmla="*/ 1 h 12"/>
                <a:gd name="T8" fmla="*/ 2 w 10"/>
                <a:gd name="T9" fmla="*/ 1 h 12"/>
                <a:gd name="T10" fmla="*/ 1 w 10"/>
                <a:gd name="T11" fmla="*/ 1 h 12"/>
                <a:gd name="T12" fmla="*/ 1 w 10"/>
                <a:gd name="T13" fmla="*/ 1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12">
                  <a:moveTo>
                    <a:pt x="7" y="5"/>
                  </a:moveTo>
                  <a:lnTo>
                    <a:pt x="2" y="0"/>
                  </a:lnTo>
                  <a:lnTo>
                    <a:pt x="0" y="9"/>
                  </a:lnTo>
                  <a:lnTo>
                    <a:pt x="5" y="12"/>
                  </a:lnTo>
                  <a:lnTo>
                    <a:pt x="10" y="7"/>
                  </a:lnTo>
                  <a:lnTo>
                    <a:pt x="7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66"/>
            <p:cNvSpPr>
              <a:spLocks/>
            </p:cNvSpPr>
            <p:nvPr/>
          </p:nvSpPr>
          <p:spPr bwMode="auto">
            <a:xfrm>
              <a:off x="1503" y="3373"/>
              <a:ext cx="15" cy="8"/>
            </a:xfrm>
            <a:custGeom>
              <a:avLst/>
              <a:gdLst>
                <a:gd name="T0" fmla="*/ 4 w 20"/>
                <a:gd name="T1" fmla="*/ 2 h 10"/>
                <a:gd name="T2" fmla="*/ 2 w 20"/>
                <a:gd name="T3" fmla="*/ 0 h 10"/>
                <a:gd name="T4" fmla="*/ 0 w 20"/>
                <a:gd name="T5" fmla="*/ 2 h 10"/>
                <a:gd name="T6" fmla="*/ 2 w 20"/>
                <a:gd name="T7" fmla="*/ 3 h 10"/>
                <a:gd name="T8" fmla="*/ 4 w 20"/>
                <a:gd name="T9" fmla="*/ 3 h 10"/>
                <a:gd name="T10" fmla="*/ 5 w 20"/>
                <a:gd name="T11" fmla="*/ 3 h 10"/>
                <a:gd name="T12" fmla="*/ 5 w 20"/>
                <a:gd name="T13" fmla="*/ 2 h 10"/>
                <a:gd name="T14" fmla="*/ 4 w 20"/>
                <a:gd name="T15" fmla="*/ 2 h 10"/>
                <a:gd name="T16" fmla="*/ 4 w 20"/>
                <a:gd name="T17" fmla="*/ 2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10">
                  <a:moveTo>
                    <a:pt x="13" y="4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5" y="10"/>
                  </a:lnTo>
                  <a:lnTo>
                    <a:pt x="15" y="9"/>
                  </a:lnTo>
                  <a:lnTo>
                    <a:pt x="20" y="9"/>
                  </a:lnTo>
                  <a:lnTo>
                    <a:pt x="20" y="5"/>
                  </a:lnTo>
                  <a:lnTo>
                    <a:pt x="13" y="4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67"/>
            <p:cNvSpPr>
              <a:spLocks/>
            </p:cNvSpPr>
            <p:nvPr/>
          </p:nvSpPr>
          <p:spPr bwMode="auto">
            <a:xfrm>
              <a:off x="1795" y="2767"/>
              <a:ext cx="5" cy="3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0 h 5"/>
                <a:gd name="T4" fmla="*/ 0 w 7"/>
                <a:gd name="T5" fmla="*/ 1 h 5"/>
                <a:gd name="T6" fmla="*/ 1 w 7"/>
                <a:gd name="T7" fmla="*/ 1 h 5"/>
                <a:gd name="T8" fmla="*/ 1 w 7"/>
                <a:gd name="T9" fmla="*/ 1 h 5"/>
                <a:gd name="T10" fmla="*/ 1 w 7"/>
                <a:gd name="T11" fmla="*/ 0 h 5"/>
                <a:gd name="T12" fmla="*/ 1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" h="5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5"/>
                  </a:lnTo>
                  <a:lnTo>
                    <a:pt x="7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68"/>
            <p:cNvSpPr>
              <a:spLocks/>
            </p:cNvSpPr>
            <p:nvPr/>
          </p:nvSpPr>
          <p:spPr bwMode="auto">
            <a:xfrm>
              <a:off x="1795" y="2767"/>
              <a:ext cx="5" cy="3"/>
            </a:xfrm>
            <a:custGeom>
              <a:avLst/>
              <a:gdLst>
                <a:gd name="T0" fmla="*/ 1 w 7"/>
                <a:gd name="T1" fmla="*/ 0 h 5"/>
                <a:gd name="T2" fmla="*/ 0 w 7"/>
                <a:gd name="T3" fmla="*/ 0 h 5"/>
                <a:gd name="T4" fmla="*/ 0 w 7"/>
                <a:gd name="T5" fmla="*/ 1 h 5"/>
                <a:gd name="T6" fmla="*/ 1 w 7"/>
                <a:gd name="T7" fmla="*/ 1 h 5"/>
                <a:gd name="T8" fmla="*/ 1 w 7"/>
                <a:gd name="T9" fmla="*/ 1 h 5"/>
                <a:gd name="T10" fmla="*/ 1 w 7"/>
                <a:gd name="T11" fmla="*/ 0 h 5"/>
                <a:gd name="T12" fmla="*/ 1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" h="5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5"/>
                  </a:lnTo>
                  <a:lnTo>
                    <a:pt x="7" y="2"/>
                  </a:lnTo>
                  <a:lnTo>
                    <a:pt x="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69"/>
            <p:cNvSpPr>
              <a:spLocks/>
            </p:cNvSpPr>
            <p:nvPr/>
          </p:nvSpPr>
          <p:spPr bwMode="auto">
            <a:xfrm>
              <a:off x="1807" y="2759"/>
              <a:ext cx="10" cy="8"/>
            </a:xfrm>
            <a:custGeom>
              <a:avLst/>
              <a:gdLst>
                <a:gd name="T0" fmla="*/ 1 w 14"/>
                <a:gd name="T1" fmla="*/ 0 h 11"/>
                <a:gd name="T2" fmla="*/ 0 w 14"/>
                <a:gd name="T3" fmla="*/ 1 h 11"/>
                <a:gd name="T4" fmla="*/ 0 w 14"/>
                <a:gd name="T5" fmla="*/ 2 h 11"/>
                <a:gd name="T6" fmla="*/ 1 w 14"/>
                <a:gd name="T7" fmla="*/ 2 h 11"/>
                <a:gd name="T8" fmla="*/ 2 w 14"/>
                <a:gd name="T9" fmla="*/ 1 h 11"/>
                <a:gd name="T10" fmla="*/ 3 w 14"/>
                <a:gd name="T11" fmla="*/ 1 h 11"/>
                <a:gd name="T12" fmla="*/ 2 w 14"/>
                <a:gd name="T13" fmla="*/ 1 h 11"/>
                <a:gd name="T14" fmla="*/ 1 w 14"/>
                <a:gd name="T15" fmla="*/ 0 h 11"/>
                <a:gd name="T16" fmla="*/ 1 w 14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" h="11">
                  <a:moveTo>
                    <a:pt x="5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9" y="11"/>
                  </a:lnTo>
                  <a:lnTo>
                    <a:pt x="10" y="8"/>
                  </a:lnTo>
                  <a:lnTo>
                    <a:pt x="14" y="5"/>
                  </a:lnTo>
                  <a:lnTo>
                    <a:pt x="10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70"/>
            <p:cNvSpPr>
              <a:spLocks/>
            </p:cNvSpPr>
            <p:nvPr/>
          </p:nvSpPr>
          <p:spPr bwMode="auto">
            <a:xfrm>
              <a:off x="1807" y="2759"/>
              <a:ext cx="10" cy="8"/>
            </a:xfrm>
            <a:custGeom>
              <a:avLst/>
              <a:gdLst>
                <a:gd name="T0" fmla="*/ 1 w 14"/>
                <a:gd name="T1" fmla="*/ 0 h 11"/>
                <a:gd name="T2" fmla="*/ 0 w 14"/>
                <a:gd name="T3" fmla="*/ 1 h 11"/>
                <a:gd name="T4" fmla="*/ 0 w 14"/>
                <a:gd name="T5" fmla="*/ 2 h 11"/>
                <a:gd name="T6" fmla="*/ 1 w 14"/>
                <a:gd name="T7" fmla="*/ 2 h 11"/>
                <a:gd name="T8" fmla="*/ 2 w 14"/>
                <a:gd name="T9" fmla="*/ 1 h 11"/>
                <a:gd name="T10" fmla="*/ 3 w 14"/>
                <a:gd name="T11" fmla="*/ 1 h 11"/>
                <a:gd name="T12" fmla="*/ 2 w 14"/>
                <a:gd name="T13" fmla="*/ 1 h 11"/>
                <a:gd name="T14" fmla="*/ 1 w 14"/>
                <a:gd name="T15" fmla="*/ 0 h 11"/>
                <a:gd name="T16" fmla="*/ 1 w 14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" h="11">
                  <a:moveTo>
                    <a:pt x="5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9" y="11"/>
                  </a:lnTo>
                  <a:lnTo>
                    <a:pt x="10" y="8"/>
                  </a:lnTo>
                  <a:lnTo>
                    <a:pt x="14" y="5"/>
                  </a:lnTo>
                  <a:lnTo>
                    <a:pt x="10" y="1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71"/>
            <p:cNvSpPr>
              <a:spLocks/>
            </p:cNvSpPr>
            <p:nvPr/>
          </p:nvSpPr>
          <p:spPr bwMode="auto">
            <a:xfrm>
              <a:off x="1674" y="2610"/>
              <a:ext cx="11" cy="10"/>
            </a:xfrm>
            <a:custGeom>
              <a:avLst/>
              <a:gdLst>
                <a:gd name="T0" fmla="*/ 1 w 20"/>
                <a:gd name="T1" fmla="*/ 0 h 15"/>
                <a:gd name="T2" fmla="*/ 0 w 20"/>
                <a:gd name="T3" fmla="*/ 1 h 15"/>
                <a:gd name="T4" fmla="*/ 0 w 20"/>
                <a:gd name="T5" fmla="*/ 2 h 15"/>
                <a:gd name="T6" fmla="*/ 1 w 20"/>
                <a:gd name="T7" fmla="*/ 1 h 15"/>
                <a:gd name="T8" fmla="*/ 1 w 20"/>
                <a:gd name="T9" fmla="*/ 2 h 15"/>
                <a:gd name="T10" fmla="*/ 1 w 20"/>
                <a:gd name="T11" fmla="*/ 2 h 15"/>
                <a:gd name="T12" fmla="*/ 1 w 20"/>
                <a:gd name="T13" fmla="*/ 1 h 15"/>
                <a:gd name="T14" fmla="*/ 1 w 20"/>
                <a:gd name="T15" fmla="*/ 0 h 15"/>
                <a:gd name="T16" fmla="*/ 1 w 20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15">
                  <a:moveTo>
                    <a:pt x="12" y="0"/>
                  </a:moveTo>
                  <a:lnTo>
                    <a:pt x="0" y="5"/>
                  </a:lnTo>
                  <a:lnTo>
                    <a:pt x="0" y="14"/>
                  </a:lnTo>
                  <a:lnTo>
                    <a:pt x="10" y="10"/>
                  </a:lnTo>
                  <a:lnTo>
                    <a:pt x="12" y="15"/>
                  </a:lnTo>
                  <a:lnTo>
                    <a:pt x="20" y="15"/>
                  </a:lnTo>
                  <a:lnTo>
                    <a:pt x="19" y="5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72"/>
            <p:cNvSpPr>
              <a:spLocks/>
            </p:cNvSpPr>
            <p:nvPr/>
          </p:nvSpPr>
          <p:spPr bwMode="auto">
            <a:xfrm>
              <a:off x="1674" y="2610"/>
              <a:ext cx="11" cy="10"/>
            </a:xfrm>
            <a:custGeom>
              <a:avLst/>
              <a:gdLst>
                <a:gd name="T0" fmla="*/ 1 w 20"/>
                <a:gd name="T1" fmla="*/ 0 h 15"/>
                <a:gd name="T2" fmla="*/ 0 w 20"/>
                <a:gd name="T3" fmla="*/ 1 h 15"/>
                <a:gd name="T4" fmla="*/ 0 w 20"/>
                <a:gd name="T5" fmla="*/ 2 h 15"/>
                <a:gd name="T6" fmla="*/ 1 w 20"/>
                <a:gd name="T7" fmla="*/ 1 h 15"/>
                <a:gd name="T8" fmla="*/ 1 w 20"/>
                <a:gd name="T9" fmla="*/ 2 h 15"/>
                <a:gd name="T10" fmla="*/ 1 w 20"/>
                <a:gd name="T11" fmla="*/ 2 h 15"/>
                <a:gd name="T12" fmla="*/ 1 w 20"/>
                <a:gd name="T13" fmla="*/ 1 h 15"/>
                <a:gd name="T14" fmla="*/ 1 w 20"/>
                <a:gd name="T15" fmla="*/ 0 h 15"/>
                <a:gd name="T16" fmla="*/ 1 w 20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15">
                  <a:moveTo>
                    <a:pt x="12" y="0"/>
                  </a:moveTo>
                  <a:lnTo>
                    <a:pt x="0" y="5"/>
                  </a:lnTo>
                  <a:lnTo>
                    <a:pt x="0" y="14"/>
                  </a:lnTo>
                  <a:lnTo>
                    <a:pt x="10" y="10"/>
                  </a:lnTo>
                  <a:lnTo>
                    <a:pt x="12" y="15"/>
                  </a:lnTo>
                  <a:lnTo>
                    <a:pt x="20" y="15"/>
                  </a:lnTo>
                  <a:lnTo>
                    <a:pt x="19" y="5"/>
                  </a:lnTo>
                  <a:lnTo>
                    <a:pt x="1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73"/>
            <p:cNvSpPr>
              <a:spLocks/>
            </p:cNvSpPr>
            <p:nvPr/>
          </p:nvSpPr>
          <p:spPr bwMode="auto">
            <a:xfrm>
              <a:off x="1448" y="2581"/>
              <a:ext cx="148" cy="201"/>
            </a:xfrm>
            <a:custGeom>
              <a:avLst/>
              <a:gdLst>
                <a:gd name="T0" fmla="*/ 4 w 232"/>
                <a:gd name="T1" fmla="*/ 21 h 302"/>
                <a:gd name="T2" fmla="*/ 0 w 232"/>
                <a:gd name="T3" fmla="*/ 25 h 302"/>
                <a:gd name="T4" fmla="*/ 3 w 232"/>
                <a:gd name="T5" fmla="*/ 26 h 302"/>
                <a:gd name="T6" fmla="*/ 3 w 232"/>
                <a:gd name="T7" fmla="*/ 28 h 302"/>
                <a:gd name="T8" fmla="*/ 7 w 232"/>
                <a:gd name="T9" fmla="*/ 28 h 302"/>
                <a:gd name="T10" fmla="*/ 8 w 232"/>
                <a:gd name="T11" fmla="*/ 29 h 302"/>
                <a:gd name="T12" fmla="*/ 10 w 232"/>
                <a:gd name="T13" fmla="*/ 33 h 302"/>
                <a:gd name="T14" fmla="*/ 14 w 232"/>
                <a:gd name="T15" fmla="*/ 34 h 302"/>
                <a:gd name="T16" fmla="*/ 17 w 232"/>
                <a:gd name="T17" fmla="*/ 35 h 302"/>
                <a:gd name="T18" fmla="*/ 16 w 232"/>
                <a:gd name="T19" fmla="*/ 39 h 302"/>
                <a:gd name="T20" fmla="*/ 17 w 232"/>
                <a:gd name="T21" fmla="*/ 39 h 302"/>
                <a:gd name="T22" fmla="*/ 19 w 232"/>
                <a:gd name="T23" fmla="*/ 33 h 302"/>
                <a:gd name="T24" fmla="*/ 19 w 232"/>
                <a:gd name="T25" fmla="*/ 31 h 302"/>
                <a:gd name="T26" fmla="*/ 19 w 232"/>
                <a:gd name="T27" fmla="*/ 30 h 302"/>
                <a:gd name="T28" fmla="*/ 20 w 232"/>
                <a:gd name="T29" fmla="*/ 28 h 302"/>
                <a:gd name="T30" fmla="*/ 19 w 232"/>
                <a:gd name="T31" fmla="*/ 27 h 302"/>
                <a:gd name="T32" fmla="*/ 19 w 232"/>
                <a:gd name="T33" fmla="*/ 26 h 302"/>
                <a:gd name="T34" fmla="*/ 20 w 232"/>
                <a:gd name="T35" fmla="*/ 26 h 302"/>
                <a:gd name="T36" fmla="*/ 21 w 232"/>
                <a:gd name="T37" fmla="*/ 28 h 302"/>
                <a:gd name="T38" fmla="*/ 23 w 232"/>
                <a:gd name="T39" fmla="*/ 27 h 302"/>
                <a:gd name="T40" fmla="*/ 24 w 232"/>
                <a:gd name="T41" fmla="*/ 30 h 302"/>
                <a:gd name="T42" fmla="*/ 24 w 232"/>
                <a:gd name="T43" fmla="*/ 30 h 302"/>
                <a:gd name="T44" fmla="*/ 24 w 232"/>
                <a:gd name="T45" fmla="*/ 28 h 302"/>
                <a:gd name="T46" fmla="*/ 24 w 232"/>
                <a:gd name="T47" fmla="*/ 27 h 302"/>
                <a:gd name="T48" fmla="*/ 23 w 232"/>
                <a:gd name="T49" fmla="*/ 24 h 302"/>
                <a:gd name="T50" fmla="*/ 24 w 232"/>
                <a:gd name="T51" fmla="*/ 22 h 302"/>
                <a:gd name="T52" fmla="*/ 23 w 232"/>
                <a:gd name="T53" fmla="*/ 21 h 302"/>
                <a:gd name="T54" fmla="*/ 24 w 232"/>
                <a:gd name="T55" fmla="*/ 17 h 302"/>
                <a:gd name="T56" fmla="*/ 20 w 232"/>
                <a:gd name="T57" fmla="*/ 17 h 302"/>
                <a:gd name="T58" fmla="*/ 15 w 232"/>
                <a:gd name="T59" fmla="*/ 13 h 302"/>
                <a:gd name="T60" fmla="*/ 14 w 232"/>
                <a:gd name="T61" fmla="*/ 10 h 302"/>
                <a:gd name="T62" fmla="*/ 13 w 232"/>
                <a:gd name="T63" fmla="*/ 10 h 302"/>
                <a:gd name="T64" fmla="*/ 15 w 232"/>
                <a:gd name="T65" fmla="*/ 7 h 302"/>
                <a:gd name="T66" fmla="*/ 14 w 232"/>
                <a:gd name="T67" fmla="*/ 5 h 302"/>
                <a:gd name="T68" fmla="*/ 15 w 232"/>
                <a:gd name="T69" fmla="*/ 4 h 302"/>
                <a:gd name="T70" fmla="*/ 17 w 232"/>
                <a:gd name="T71" fmla="*/ 1 h 302"/>
                <a:gd name="T72" fmla="*/ 16 w 232"/>
                <a:gd name="T73" fmla="*/ 0 h 302"/>
                <a:gd name="T74" fmla="*/ 15 w 232"/>
                <a:gd name="T75" fmla="*/ 1 h 302"/>
                <a:gd name="T76" fmla="*/ 8 w 232"/>
                <a:gd name="T77" fmla="*/ 3 h 302"/>
                <a:gd name="T78" fmla="*/ 8 w 232"/>
                <a:gd name="T79" fmla="*/ 5 h 302"/>
                <a:gd name="T80" fmla="*/ 7 w 232"/>
                <a:gd name="T81" fmla="*/ 9 h 302"/>
                <a:gd name="T82" fmla="*/ 5 w 232"/>
                <a:gd name="T83" fmla="*/ 9 h 302"/>
                <a:gd name="T84" fmla="*/ 4 w 232"/>
                <a:gd name="T85" fmla="*/ 11 h 302"/>
                <a:gd name="T86" fmla="*/ 5 w 232"/>
                <a:gd name="T87" fmla="*/ 17 h 302"/>
                <a:gd name="T88" fmla="*/ 4 w 232"/>
                <a:gd name="T89" fmla="*/ 18 h 302"/>
                <a:gd name="T90" fmla="*/ 4 w 232"/>
                <a:gd name="T91" fmla="*/ 21 h 302"/>
                <a:gd name="T92" fmla="*/ 4 w 232"/>
                <a:gd name="T93" fmla="*/ 21 h 3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2" h="302">
                  <a:moveTo>
                    <a:pt x="42" y="155"/>
                  </a:moveTo>
                  <a:lnTo>
                    <a:pt x="0" y="187"/>
                  </a:lnTo>
                  <a:lnTo>
                    <a:pt x="28" y="202"/>
                  </a:lnTo>
                  <a:lnTo>
                    <a:pt x="27" y="214"/>
                  </a:lnTo>
                  <a:lnTo>
                    <a:pt x="65" y="215"/>
                  </a:lnTo>
                  <a:lnTo>
                    <a:pt x="77" y="219"/>
                  </a:lnTo>
                  <a:lnTo>
                    <a:pt x="95" y="254"/>
                  </a:lnTo>
                  <a:lnTo>
                    <a:pt x="130" y="259"/>
                  </a:lnTo>
                  <a:lnTo>
                    <a:pt x="155" y="270"/>
                  </a:lnTo>
                  <a:lnTo>
                    <a:pt x="150" y="300"/>
                  </a:lnTo>
                  <a:lnTo>
                    <a:pt x="157" y="302"/>
                  </a:lnTo>
                  <a:lnTo>
                    <a:pt x="182" y="249"/>
                  </a:lnTo>
                  <a:lnTo>
                    <a:pt x="172" y="235"/>
                  </a:lnTo>
                  <a:lnTo>
                    <a:pt x="172" y="225"/>
                  </a:lnTo>
                  <a:lnTo>
                    <a:pt x="188" y="214"/>
                  </a:lnTo>
                  <a:lnTo>
                    <a:pt x="178" y="209"/>
                  </a:lnTo>
                  <a:lnTo>
                    <a:pt x="180" y="200"/>
                  </a:lnTo>
                  <a:lnTo>
                    <a:pt x="187" y="202"/>
                  </a:lnTo>
                  <a:lnTo>
                    <a:pt x="200" y="212"/>
                  </a:lnTo>
                  <a:lnTo>
                    <a:pt x="215" y="210"/>
                  </a:lnTo>
                  <a:lnTo>
                    <a:pt x="223" y="225"/>
                  </a:lnTo>
                  <a:lnTo>
                    <a:pt x="232" y="227"/>
                  </a:lnTo>
                  <a:lnTo>
                    <a:pt x="228" y="215"/>
                  </a:lnTo>
                  <a:lnTo>
                    <a:pt x="230" y="205"/>
                  </a:lnTo>
                  <a:lnTo>
                    <a:pt x="218" y="182"/>
                  </a:lnTo>
                  <a:lnTo>
                    <a:pt x="225" y="165"/>
                  </a:lnTo>
                  <a:lnTo>
                    <a:pt x="220" y="157"/>
                  </a:lnTo>
                  <a:lnTo>
                    <a:pt x="227" y="129"/>
                  </a:lnTo>
                  <a:lnTo>
                    <a:pt x="195" y="129"/>
                  </a:lnTo>
                  <a:lnTo>
                    <a:pt x="145" y="99"/>
                  </a:lnTo>
                  <a:lnTo>
                    <a:pt x="135" y="75"/>
                  </a:lnTo>
                  <a:lnTo>
                    <a:pt x="123" y="77"/>
                  </a:lnTo>
                  <a:lnTo>
                    <a:pt x="138" y="54"/>
                  </a:lnTo>
                  <a:lnTo>
                    <a:pt x="133" y="35"/>
                  </a:lnTo>
                  <a:lnTo>
                    <a:pt x="147" y="30"/>
                  </a:lnTo>
                  <a:lnTo>
                    <a:pt x="160" y="7"/>
                  </a:lnTo>
                  <a:lnTo>
                    <a:pt x="150" y="0"/>
                  </a:lnTo>
                  <a:lnTo>
                    <a:pt x="142" y="9"/>
                  </a:lnTo>
                  <a:lnTo>
                    <a:pt x="82" y="25"/>
                  </a:lnTo>
                  <a:lnTo>
                    <a:pt x="78" y="39"/>
                  </a:lnTo>
                  <a:lnTo>
                    <a:pt x="63" y="67"/>
                  </a:lnTo>
                  <a:lnTo>
                    <a:pt x="48" y="72"/>
                  </a:lnTo>
                  <a:lnTo>
                    <a:pt x="42" y="89"/>
                  </a:lnTo>
                  <a:lnTo>
                    <a:pt x="47" y="130"/>
                  </a:lnTo>
                  <a:lnTo>
                    <a:pt x="38" y="135"/>
                  </a:lnTo>
                  <a:lnTo>
                    <a:pt x="42" y="15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74"/>
            <p:cNvSpPr>
              <a:spLocks/>
            </p:cNvSpPr>
            <p:nvPr/>
          </p:nvSpPr>
          <p:spPr bwMode="auto">
            <a:xfrm>
              <a:off x="1448" y="2581"/>
              <a:ext cx="148" cy="201"/>
            </a:xfrm>
            <a:custGeom>
              <a:avLst/>
              <a:gdLst>
                <a:gd name="T0" fmla="*/ 4 w 232"/>
                <a:gd name="T1" fmla="*/ 21 h 302"/>
                <a:gd name="T2" fmla="*/ 0 w 232"/>
                <a:gd name="T3" fmla="*/ 25 h 302"/>
                <a:gd name="T4" fmla="*/ 3 w 232"/>
                <a:gd name="T5" fmla="*/ 26 h 302"/>
                <a:gd name="T6" fmla="*/ 3 w 232"/>
                <a:gd name="T7" fmla="*/ 28 h 302"/>
                <a:gd name="T8" fmla="*/ 7 w 232"/>
                <a:gd name="T9" fmla="*/ 28 h 302"/>
                <a:gd name="T10" fmla="*/ 8 w 232"/>
                <a:gd name="T11" fmla="*/ 29 h 302"/>
                <a:gd name="T12" fmla="*/ 10 w 232"/>
                <a:gd name="T13" fmla="*/ 33 h 302"/>
                <a:gd name="T14" fmla="*/ 14 w 232"/>
                <a:gd name="T15" fmla="*/ 34 h 302"/>
                <a:gd name="T16" fmla="*/ 17 w 232"/>
                <a:gd name="T17" fmla="*/ 35 h 302"/>
                <a:gd name="T18" fmla="*/ 16 w 232"/>
                <a:gd name="T19" fmla="*/ 39 h 302"/>
                <a:gd name="T20" fmla="*/ 17 w 232"/>
                <a:gd name="T21" fmla="*/ 39 h 302"/>
                <a:gd name="T22" fmla="*/ 19 w 232"/>
                <a:gd name="T23" fmla="*/ 33 h 302"/>
                <a:gd name="T24" fmla="*/ 19 w 232"/>
                <a:gd name="T25" fmla="*/ 31 h 302"/>
                <a:gd name="T26" fmla="*/ 19 w 232"/>
                <a:gd name="T27" fmla="*/ 30 h 302"/>
                <a:gd name="T28" fmla="*/ 20 w 232"/>
                <a:gd name="T29" fmla="*/ 28 h 302"/>
                <a:gd name="T30" fmla="*/ 19 w 232"/>
                <a:gd name="T31" fmla="*/ 27 h 302"/>
                <a:gd name="T32" fmla="*/ 19 w 232"/>
                <a:gd name="T33" fmla="*/ 26 h 302"/>
                <a:gd name="T34" fmla="*/ 20 w 232"/>
                <a:gd name="T35" fmla="*/ 26 h 302"/>
                <a:gd name="T36" fmla="*/ 21 w 232"/>
                <a:gd name="T37" fmla="*/ 28 h 302"/>
                <a:gd name="T38" fmla="*/ 23 w 232"/>
                <a:gd name="T39" fmla="*/ 27 h 302"/>
                <a:gd name="T40" fmla="*/ 24 w 232"/>
                <a:gd name="T41" fmla="*/ 30 h 302"/>
                <a:gd name="T42" fmla="*/ 24 w 232"/>
                <a:gd name="T43" fmla="*/ 30 h 302"/>
                <a:gd name="T44" fmla="*/ 24 w 232"/>
                <a:gd name="T45" fmla="*/ 28 h 302"/>
                <a:gd name="T46" fmla="*/ 24 w 232"/>
                <a:gd name="T47" fmla="*/ 27 h 302"/>
                <a:gd name="T48" fmla="*/ 23 w 232"/>
                <a:gd name="T49" fmla="*/ 24 h 302"/>
                <a:gd name="T50" fmla="*/ 24 w 232"/>
                <a:gd name="T51" fmla="*/ 22 h 302"/>
                <a:gd name="T52" fmla="*/ 23 w 232"/>
                <a:gd name="T53" fmla="*/ 21 h 302"/>
                <a:gd name="T54" fmla="*/ 24 w 232"/>
                <a:gd name="T55" fmla="*/ 17 h 302"/>
                <a:gd name="T56" fmla="*/ 20 w 232"/>
                <a:gd name="T57" fmla="*/ 17 h 302"/>
                <a:gd name="T58" fmla="*/ 15 w 232"/>
                <a:gd name="T59" fmla="*/ 13 h 302"/>
                <a:gd name="T60" fmla="*/ 14 w 232"/>
                <a:gd name="T61" fmla="*/ 10 h 302"/>
                <a:gd name="T62" fmla="*/ 13 w 232"/>
                <a:gd name="T63" fmla="*/ 10 h 302"/>
                <a:gd name="T64" fmla="*/ 15 w 232"/>
                <a:gd name="T65" fmla="*/ 7 h 302"/>
                <a:gd name="T66" fmla="*/ 14 w 232"/>
                <a:gd name="T67" fmla="*/ 5 h 302"/>
                <a:gd name="T68" fmla="*/ 15 w 232"/>
                <a:gd name="T69" fmla="*/ 4 h 302"/>
                <a:gd name="T70" fmla="*/ 17 w 232"/>
                <a:gd name="T71" fmla="*/ 1 h 302"/>
                <a:gd name="T72" fmla="*/ 16 w 232"/>
                <a:gd name="T73" fmla="*/ 0 h 302"/>
                <a:gd name="T74" fmla="*/ 15 w 232"/>
                <a:gd name="T75" fmla="*/ 1 h 302"/>
                <a:gd name="T76" fmla="*/ 8 w 232"/>
                <a:gd name="T77" fmla="*/ 3 h 302"/>
                <a:gd name="T78" fmla="*/ 8 w 232"/>
                <a:gd name="T79" fmla="*/ 5 h 302"/>
                <a:gd name="T80" fmla="*/ 7 w 232"/>
                <a:gd name="T81" fmla="*/ 9 h 302"/>
                <a:gd name="T82" fmla="*/ 5 w 232"/>
                <a:gd name="T83" fmla="*/ 9 h 302"/>
                <a:gd name="T84" fmla="*/ 4 w 232"/>
                <a:gd name="T85" fmla="*/ 11 h 302"/>
                <a:gd name="T86" fmla="*/ 5 w 232"/>
                <a:gd name="T87" fmla="*/ 17 h 302"/>
                <a:gd name="T88" fmla="*/ 4 w 232"/>
                <a:gd name="T89" fmla="*/ 18 h 302"/>
                <a:gd name="T90" fmla="*/ 4 w 232"/>
                <a:gd name="T91" fmla="*/ 21 h 302"/>
                <a:gd name="T92" fmla="*/ 4 w 232"/>
                <a:gd name="T93" fmla="*/ 21 h 3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32" h="302">
                  <a:moveTo>
                    <a:pt x="42" y="155"/>
                  </a:moveTo>
                  <a:lnTo>
                    <a:pt x="0" y="187"/>
                  </a:lnTo>
                  <a:lnTo>
                    <a:pt x="28" y="202"/>
                  </a:lnTo>
                  <a:lnTo>
                    <a:pt x="27" y="214"/>
                  </a:lnTo>
                  <a:lnTo>
                    <a:pt x="65" y="215"/>
                  </a:lnTo>
                  <a:lnTo>
                    <a:pt x="77" y="219"/>
                  </a:lnTo>
                  <a:lnTo>
                    <a:pt x="95" y="254"/>
                  </a:lnTo>
                  <a:lnTo>
                    <a:pt x="130" y="259"/>
                  </a:lnTo>
                  <a:lnTo>
                    <a:pt x="155" y="270"/>
                  </a:lnTo>
                  <a:lnTo>
                    <a:pt x="150" y="300"/>
                  </a:lnTo>
                  <a:lnTo>
                    <a:pt x="157" y="302"/>
                  </a:lnTo>
                  <a:lnTo>
                    <a:pt x="182" y="249"/>
                  </a:lnTo>
                  <a:lnTo>
                    <a:pt x="172" y="235"/>
                  </a:lnTo>
                  <a:lnTo>
                    <a:pt x="172" y="225"/>
                  </a:lnTo>
                  <a:lnTo>
                    <a:pt x="188" y="214"/>
                  </a:lnTo>
                  <a:lnTo>
                    <a:pt x="178" y="209"/>
                  </a:lnTo>
                  <a:lnTo>
                    <a:pt x="180" y="200"/>
                  </a:lnTo>
                  <a:lnTo>
                    <a:pt x="187" y="202"/>
                  </a:lnTo>
                  <a:lnTo>
                    <a:pt x="200" y="212"/>
                  </a:lnTo>
                  <a:lnTo>
                    <a:pt x="215" y="210"/>
                  </a:lnTo>
                  <a:lnTo>
                    <a:pt x="223" y="225"/>
                  </a:lnTo>
                  <a:lnTo>
                    <a:pt x="232" y="227"/>
                  </a:lnTo>
                  <a:lnTo>
                    <a:pt x="228" y="215"/>
                  </a:lnTo>
                  <a:lnTo>
                    <a:pt x="230" y="205"/>
                  </a:lnTo>
                  <a:lnTo>
                    <a:pt x="218" y="182"/>
                  </a:lnTo>
                  <a:lnTo>
                    <a:pt x="225" y="165"/>
                  </a:lnTo>
                  <a:lnTo>
                    <a:pt x="220" y="157"/>
                  </a:lnTo>
                  <a:lnTo>
                    <a:pt x="227" y="129"/>
                  </a:lnTo>
                  <a:lnTo>
                    <a:pt x="195" y="129"/>
                  </a:lnTo>
                  <a:lnTo>
                    <a:pt x="145" y="99"/>
                  </a:lnTo>
                  <a:lnTo>
                    <a:pt x="135" y="75"/>
                  </a:lnTo>
                  <a:lnTo>
                    <a:pt x="123" y="77"/>
                  </a:lnTo>
                  <a:lnTo>
                    <a:pt x="138" y="54"/>
                  </a:lnTo>
                  <a:lnTo>
                    <a:pt x="133" y="35"/>
                  </a:lnTo>
                  <a:lnTo>
                    <a:pt x="147" y="30"/>
                  </a:lnTo>
                  <a:lnTo>
                    <a:pt x="160" y="7"/>
                  </a:lnTo>
                  <a:lnTo>
                    <a:pt x="150" y="0"/>
                  </a:lnTo>
                  <a:lnTo>
                    <a:pt x="142" y="9"/>
                  </a:lnTo>
                  <a:lnTo>
                    <a:pt x="82" y="25"/>
                  </a:lnTo>
                  <a:lnTo>
                    <a:pt x="78" y="39"/>
                  </a:lnTo>
                  <a:lnTo>
                    <a:pt x="63" y="67"/>
                  </a:lnTo>
                  <a:lnTo>
                    <a:pt x="48" y="72"/>
                  </a:lnTo>
                  <a:lnTo>
                    <a:pt x="42" y="89"/>
                  </a:lnTo>
                  <a:lnTo>
                    <a:pt x="47" y="130"/>
                  </a:lnTo>
                  <a:lnTo>
                    <a:pt x="38" y="135"/>
                  </a:lnTo>
                  <a:lnTo>
                    <a:pt x="42" y="15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75"/>
            <p:cNvSpPr>
              <a:spLocks/>
            </p:cNvSpPr>
            <p:nvPr/>
          </p:nvSpPr>
          <p:spPr bwMode="auto">
            <a:xfrm>
              <a:off x="1426" y="2705"/>
              <a:ext cx="64" cy="74"/>
            </a:xfrm>
            <a:custGeom>
              <a:avLst/>
              <a:gdLst>
                <a:gd name="T0" fmla="*/ 4 w 99"/>
                <a:gd name="T1" fmla="*/ 0 h 112"/>
                <a:gd name="T2" fmla="*/ 2 w 99"/>
                <a:gd name="T3" fmla="*/ 1 h 112"/>
                <a:gd name="T4" fmla="*/ 0 w 99"/>
                <a:gd name="T5" fmla="*/ 7 h 112"/>
                <a:gd name="T6" fmla="*/ 0 w 99"/>
                <a:gd name="T7" fmla="*/ 9 h 112"/>
                <a:gd name="T8" fmla="*/ 1 w 99"/>
                <a:gd name="T9" fmla="*/ 9 h 112"/>
                <a:gd name="T10" fmla="*/ 2 w 99"/>
                <a:gd name="T11" fmla="*/ 7 h 112"/>
                <a:gd name="T12" fmla="*/ 2 w 99"/>
                <a:gd name="T13" fmla="*/ 9 h 112"/>
                <a:gd name="T14" fmla="*/ 1 w 99"/>
                <a:gd name="T15" fmla="*/ 11 h 112"/>
                <a:gd name="T16" fmla="*/ 3 w 99"/>
                <a:gd name="T17" fmla="*/ 14 h 112"/>
                <a:gd name="T18" fmla="*/ 6 w 99"/>
                <a:gd name="T19" fmla="*/ 11 h 112"/>
                <a:gd name="T20" fmla="*/ 7 w 99"/>
                <a:gd name="T21" fmla="*/ 9 h 112"/>
                <a:gd name="T22" fmla="*/ 10 w 99"/>
                <a:gd name="T23" fmla="*/ 9 h 112"/>
                <a:gd name="T24" fmla="*/ 11 w 99"/>
                <a:gd name="T25" fmla="*/ 4 h 112"/>
                <a:gd name="T26" fmla="*/ 6 w 99"/>
                <a:gd name="T27" fmla="*/ 3 h 112"/>
                <a:gd name="T28" fmla="*/ 6 w 99"/>
                <a:gd name="T29" fmla="*/ 2 h 112"/>
                <a:gd name="T30" fmla="*/ 4 w 99"/>
                <a:gd name="T31" fmla="*/ 0 h 112"/>
                <a:gd name="T32" fmla="*/ 4 w 99"/>
                <a:gd name="T33" fmla="*/ 0 h 1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9" h="112">
                  <a:moveTo>
                    <a:pt x="34" y="0"/>
                  </a:moveTo>
                  <a:lnTo>
                    <a:pt x="17" y="12"/>
                  </a:lnTo>
                  <a:lnTo>
                    <a:pt x="0" y="53"/>
                  </a:lnTo>
                  <a:lnTo>
                    <a:pt x="0" y="72"/>
                  </a:lnTo>
                  <a:lnTo>
                    <a:pt x="7" y="73"/>
                  </a:lnTo>
                  <a:lnTo>
                    <a:pt x="17" y="58"/>
                  </a:lnTo>
                  <a:lnTo>
                    <a:pt x="20" y="63"/>
                  </a:lnTo>
                  <a:lnTo>
                    <a:pt x="12" y="90"/>
                  </a:lnTo>
                  <a:lnTo>
                    <a:pt x="27" y="112"/>
                  </a:lnTo>
                  <a:lnTo>
                    <a:pt x="59" y="88"/>
                  </a:lnTo>
                  <a:lnTo>
                    <a:pt x="62" y="73"/>
                  </a:lnTo>
                  <a:lnTo>
                    <a:pt x="84" y="67"/>
                  </a:lnTo>
                  <a:lnTo>
                    <a:pt x="99" y="28"/>
                  </a:lnTo>
                  <a:lnTo>
                    <a:pt x="59" y="27"/>
                  </a:lnTo>
                  <a:lnTo>
                    <a:pt x="60" y="15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76"/>
            <p:cNvSpPr>
              <a:spLocks/>
            </p:cNvSpPr>
            <p:nvPr/>
          </p:nvSpPr>
          <p:spPr bwMode="auto">
            <a:xfrm>
              <a:off x="1426" y="2705"/>
              <a:ext cx="64" cy="74"/>
            </a:xfrm>
            <a:custGeom>
              <a:avLst/>
              <a:gdLst>
                <a:gd name="T0" fmla="*/ 4 w 99"/>
                <a:gd name="T1" fmla="*/ 0 h 112"/>
                <a:gd name="T2" fmla="*/ 2 w 99"/>
                <a:gd name="T3" fmla="*/ 1 h 112"/>
                <a:gd name="T4" fmla="*/ 0 w 99"/>
                <a:gd name="T5" fmla="*/ 7 h 112"/>
                <a:gd name="T6" fmla="*/ 0 w 99"/>
                <a:gd name="T7" fmla="*/ 9 h 112"/>
                <a:gd name="T8" fmla="*/ 1 w 99"/>
                <a:gd name="T9" fmla="*/ 9 h 112"/>
                <a:gd name="T10" fmla="*/ 2 w 99"/>
                <a:gd name="T11" fmla="*/ 7 h 112"/>
                <a:gd name="T12" fmla="*/ 2 w 99"/>
                <a:gd name="T13" fmla="*/ 9 h 112"/>
                <a:gd name="T14" fmla="*/ 1 w 99"/>
                <a:gd name="T15" fmla="*/ 11 h 112"/>
                <a:gd name="T16" fmla="*/ 3 w 99"/>
                <a:gd name="T17" fmla="*/ 14 h 112"/>
                <a:gd name="T18" fmla="*/ 6 w 99"/>
                <a:gd name="T19" fmla="*/ 11 h 112"/>
                <a:gd name="T20" fmla="*/ 7 w 99"/>
                <a:gd name="T21" fmla="*/ 9 h 112"/>
                <a:gd name="T22" fmla="*/ 10 w 99"/>
                <a:gd name="T23" fmla="*/ 9 h 112"/>
                <a:gd name="T24" fmla="*/ 11 w 99"/>
                <a:gd name="T25" fmla="*/ 4 h 112"/>
                <a:gd name="T26" fmla="*/ 6 w 99"/>
                <a:gd name="T27" fmla="*/ 3 h 112"/>
                <a:gd name="T28" fmla="*/ 6 w 99"/>
                <a:gd name="T29" fmla="*/ 2 h 112"/>
                <a:gd name="T30" fmla="*/ 4 w 99"/>
                <a:gd name="T31" fmla="*/ 0 h 112"/>
                <a:gd name="T32" fmla="*/ 4 w 99"/>
                <a:gd name="T33" fmla="*/ 0 h 1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9" h="112">
                  <a:moveTo>
                    <a:pt x="34" y="0"/>
                  </a:moveTo>
                  <a:lnTo>
                    <a:pt x="17" y="12"/>
                  </a:lnTo>
                  <a:lnTo>
                    <a:pt x="0" y="53"/>
                  </a:lnTo>
                  <a:lnTo>
                    <a:pt x="0" y="72"/>
                  </a:lnTo>
                  <a:lnTo>
                    <a:pt x="7" y="73"/>
                  </a:lnTo>
                  <a:lnTo>
                    <a:pt x="17" y="58"/>
                  </a:lnTo>
                  <a:lnTo>
                    <a:pt x="20" y="63"/>
                  </a:lnTo>
                  <a:lnTo>
                    <a:pt x="12" y="90"/>
                  </a:lnTo>
                  <a:lnTo>
                    <a:pt x="27" y="112"/>
                  </a:lnTo>
                  <a:lnTo>
                    <a:pt x="59" y="88"/>
                  </a:lnTo>
                  <a:lnTo>
                    <a:pt x="62" y="73"/>
                  </a:lnTo>
                  <a:lnTo>
                    <a:pt x="84" y="67"/>
                  </a:lnTo>
                  <a:lnTo>
                    <a:pt x="99" y="28"/>
                  </a:lnTo>
                  <a:lnTo>
                    <a:pt x="59" y="27"/>
                  </a:lnTo>
                  <a:lnTo>
                    <a:pt x="60" y="15"/>
                  </a:lnTo>
                  <a:lnTo>
                    <a:pt x="34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77"/>
            <p:cNvSpPr>
              <a:spLocks/>
            </p:cNvSpPr>
            <p:nvPr/>
          </p:nvSpPr>
          <p:spPr bwMode="auto">
            <a:xfrm>
              <a:off x="1527" y="2591"/>
              <a:ext cx="169" cy="143"/>
            </a:xfrm>
            <a:custGeom>
              <a:avLst/>
              <a:gdLst>
                <a:gd name="T0" fmla="*/ 3 w 266"/>
                <a:gd name="T1" fmla="*/ 2 h 217"/>
                <a:gd name="T2" fmla="*/ 3 w 266"/>
                <a:gd name="T3" fmla="*/ 5 h 217"/>
                <a:gd name="T4" fmla="*/ 4 w 266"/>
                <a:gd name="T5" fmla="*/ 6 h 217"/>
                <a:gd name="T6" fmla="*/ 4 w 266"/>
                <a:gd name="T7" fmla="*/ 5 h 217"/>
                <a:gd name="T8" fmla="*/ 4 w 266"/>
                <a:gd name="T9" fmla="*/ 3 h 217"/>
                <a:gd name="T10" fmla="*/ 5 w 266"/>
                <a:gd name="T11" fmla="*/ 3 h 217"/>
                <a:gd name="T12" fmla="*/ 6 w 266"/>
                <a:gd name="T13" fmla="*/ 0 h 217"/>
                <a:gd name="T14" fmla="*/ 9 w 266"/>
                <a:gd name="T15" fmla="*/ 2 h 217"/>
                <a:gd name="T16" fmla="*/ 10 w 266"/>
                <a:gd name="T17" fmla="*/ 4 h 217"/>
                <a:gd name="T18" fmla="*/ 20 w 266"/>
                <a:gd name="T19" fmla="*/ 5 h 217"/>
                <a:gd name="T20" fmla="*/ 22 w 266"/>
                <a:gd name="T21" fmla="*/ 6 h 217"/>
                <a:gd name="T22" fmla="*/ 24 w 266"/>
                <a:gd name="T23" fmla="*/ 8 h 217"/>
                <a:gd name="T24" fmla="*/ 24 w 266"/>
                <a:gd name="T25" fmla="*/ 9 h 217"/>
                <a:gd name="T26" fmla="*/ 27 w 266"/>
                <a:gd name="T27" fmla="*/ 12 h 217"/>
                <a:gd name="T28" fmla="*/ 24 w 266"/>
                <a:gd name="T29" fmla="*/ 13 h 217"/>
                <a:gd name="T30" fmla="*/ 25 w 266"/>
                <a:gd name="T31" fmla="*/ 14 h 217"/>
                <a:gd name="T32" fmla="*/ 24 w 266"/>
                <a:gd name="T33" fmla="*/ 16 h 217"/>
                <a:gd name="T34" fmla="*/ 24 w 266"/>
                <a:gd name="T35" fmla="*/ 16 h 217"/>
                <a:gd name="T36" fmla="*/ 24 w 266"/>
                <a:gd name="T37" fmla="*/ 18 h 217"/>
                <a:gd name="T38" fmla="*/ 23 w 266"/>
                <a:gd name="T39" fmla="*/ 22 h 217"/>
                <a:gd name="T40" fmla="*/ 20 w 266"/>
                <a:gd name="T41" fmla="*/ 21 h 217"/>
                <a:gd name="T42" fmla="*/ 19 w 266"/>
                <a:gd name="T43" fmla="*/ 22 h 217"/>
                <a:gd name="T44" fmla="*/ 16 w 266"/>
                <a:gd name="T45" fmla="*/ 19 h 217"/>
                <a:gd name="T46" fmla="*/ 15 w 266"/>
                <a:gd name="T47" fmla="*/ 20 h 217"/>
                <a:gd name="T48" fmla="*/ 18 w 266"/>
                <a:gd name="T49" fmla="*/ 24 h 217"/>
                <a:gd name="T50" fmla="*/ 15 w 266"/>
                <a:gd name="T51" fmla="*/ 27 h 217"/>
                <a:gd name="T52" fmla="*/ 11 w 266"/>
                <a:gd name="T53" fmla="*/ 26 h 217"/>
                <a:gd name="T54" fmla="*/ 11 w 266"/>
                <a:gd name="T55" fmla="*/ 25 h 217"/>
                <a:gd name="T56" fmla="*/ 11 w 266"/>
                <a:gd name="T57" fmla="*/ 24 h 217"/>
                <a:gd name="T58" fmla="*/ 10 w 266"/>
                <a:gd name="T59" fmla="*/ 20 h 217"/>
                <a:gd name="T60" fmla="*/ 11 w 266"/>
                <a:gd name="T61" fmla="*/ 18 h 217"/>
                <a:gd name="T62" fmla="*/ 10 w 266"/>
                <a:gd name="T63" fmla="*/ 18 h 217"/>
                <a:gd name="T64" fmla="*/ 11 w 266"/>
                <a:gd name="T65" fmla="*/ 14 h 217"/>
                <a:gd name="T66" fmla="*/ 7 w 266"/>
                <a:gd name="T67" fmla="*/ 14 h 217"/>
                <a:gd name="T68" fmla="*/ 2 w 266"/>
                <a:gd name="T69" fmla="*/ 11 h 217"/>
                <a:gd name="T70" fmla="*/ 1 w 266"/>
                <a:gd name="T71" fmla="*/ 7 h 217"/>
                <a:gd name="T72" fmla="*/ 0 w 266"/>
                <a:gd name="T73" fmla="*/ 8 h 217"/>
                <a:gd name="T74" fmla="*/ 2 w 266"/>
                <a:gd name="T75" fmla="*/ 5 h 217"/>
                <a:gd name="T76" fmla="*/ 1 w 266"/>
                <a:gd name="T77" fmla="*/ 3 h 217"/>
                <a:gd name="T78" fmla="*/ 3 w 266"/>
                <a:gd name="T79" fmla="*/ 2 h 217"/>
                <a:gd name="T80" fmla="*/ 3 w 266"/>
                <a:gd name="T81" fmla="*/ 2 h 21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66" h="217">
                  <a:moveTo>
                    <a:pt x="22" y="15"/>
                  </a:moveTo>
                  <a:lnTo>
                    <a:pt x="25" y="37"/>
                  </a:lnTo>
                  <a:lnTo>
                    <a:pt x="39" y="49"/>
                  </a:lnTo>
                  <a:lnTo>
                    <a:pt x="40" y="39"/>
                  </a:lnTo>
                  <a:lnTo>
                    <a:pt x="35" y="24"/>
                  </a:lnTo>
                  <a:lnTo>
                    <a:pt x="49" y="19"/>
                  </a:lnTo>
                  <a:lnTo>
                    <a:pt x="54" y="0"/>
                  </a:lnTo>
                  <a:lnTo>
                    <a:pt x="87" y="14"/>
                  </a:lnTo>
                  <a:lnTo>
                    <a:pt x="97" y="30"/>
                  </a:lnTo>
                  <a:lnTo>
                    <a:pt x="202" y="39"/>
                  </a:lnTo>
                  <a:lnTo>
                    <a:pt x="204" y="47"/>
                  </a:lnTo>
                  <a:lnTo>
                    <a:pt x="232" y="65"/>
                  </a:lnTo>
                  <a:lnTo>
                    <a:pt x="229" y="79"/>
                  </a:lnTo>
                  <a:lnTo>
                    <a:pt x="266" y="100"/>
                  </a:lnTo>
                  <a:lnTo>
                    <a:pt x="236" y="107"/>
                  </a:lnTo>
                  <a:lnTo>
                    <a:pt x="244" y="119"/>
                  </a:lnTo>
                  <a:lnTo>
                    <a:pt x="236" y="129"/>
                  </a:lnTo>
                  <a:lnTo>
                    <a:pt x="229" y="127"/>
                  </a:lnTo>
                  <a:lnTo>
                    <a:pt x="232" y="152"/>
                  </a:lnTo>
                  <a:lnTo>
                    <a:pt x="222" y="174"/>
                  </a:lnTo>
                  <a:lnTo>
                    <a:pt x="197" y="169"/>
                  </a:lnTo>
                  <a:lnTo>
                    <a:pt x="189" y="175"/>
                  </a:lnTo>
                  <a:lnTo>
                    <a:pt x="156" y="154"/>
                  </a:lnTo>
                  <a:lnTo>
                    <a:pt x="147" y="160"/>
                  </a:lnTo>
                  <a:lnTo>
                    <a:pt x="172" y="194"/>
                  </a:lnTo>
                  <a:lnTo>
                    <a:pt x="139" y="217"/>
                  </a:lnTo>
                  <a:lnTo>
                    <a:pt x="109" y="212"/>
                  </a:lnTo>
                  <a:lnTo>
                    <a:pt x="105" y="200"/>
                  </a:lnTo>
                  <a:lnTo>
                    <a:pt x="109" y="190"/>
                  </a:lnTo>
                  <a:lnTo>
                    <a:pt x="97" y="167"/>
                  </a:lnTo>
                  <a:lnTo>
                    <a:pt x="100" y="150"/>
                  </a:lnTo>
                  <a:lnTo>
                    <a:pt x="97" y="142"/>
                  </a:lnTo>
                  <a:lnTo>
                    <a:pt x="104" y="114"/>
                  </a:lnTo>
                  <a:lnTo>
                    <a:pt x="69" y="112"/>
                  </a:lnTo>
                  <a:lnTo>
                    <a:pt x="19" y="84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15" y="39"/>
                  </a:lnTo>
                  <a:lnTo>
                    <a:pt x="10" y="20"/>
                  </a:lnTo>
                  <a:lnTo>
                    <a:pt x="22" y="1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78"/>
            <p:cNvSpPr>
              <a:spLocks/>
            </p:cNvSpPr>
            <p:nvPr/>
          </p:nvSpPr>
          <p:spPr bwMode="auto">
            <a:xfrm>
              <a:off x="1527" y="2591"/>
              <a:ext cx="169" cy="143"/>
            </a:xfrm>
            <a:custGeom>
              <a:avLst/>
              <a:gdLst>
                <a:gd name="T0" fmla="*/ 3 w 266"/>
                <a:gd name="T1" fmla="*/ 2 h 217"/>
                <a:gd name="T2" fmla="*/ 3 w 266"/>
                <a:gd name="T3" fmla="*/ 5 h 217"/>
                <a:gd name="T4" fmla="*/ 4 w 266"/>
                <a:gd name="T5" fmla="*/ 6 h 217"/>
                <a:gd name="T6" fmla="*/ 4 w 266"/>
                <a:gd name="T7" fmla="*/ 5 h 217"/>
                <a:gd name="T8" fmla="*/ 4 w 266"/>
                <a:gd name="T9" fmla="*/ 3 h 217"/>
                <a:gd name="T10" fmla="*/ 5 w 266"/>
                <a:gd name="T11" fmla="*/ 3 h 217"/>
                <a:gd name="T12" fmla="*/ 6 w 266"/>
                <a:gd name="T13" fmla="*/ 0 h 217"/>
                <a:gd name="T14" fmla="*/ 9 w 266"/>
                <a:gd name="T15" fmla="*/ 2 h 217"/>
                <a:gd name="T16" fmla="*/ 10 w 266"/>
                <a:gd name="T17" fmla="*/ 4 h 217"/>
                <a:gd name="T18" fmla="*/ 20 w 266"/>
                <a:gd name="T19" fmla="*/ 5 h 217"/>
                <a:gd name="T20" fmla="*/ 22 w 266"/>
                <a:gd name="T21" fmla="*/ 6 h 217"/>
                <a:gd name="T22" fmla="*/ 24 w 266"/>
                <a:gd name="T23" fmla="*/ 8 h 217"/>
                <a:gd name="T24" fmla="*/ 24 w 266"/>
                <a:gd name="T25" fmla="*/ 9 h 217"/>
                <a:gd name="T26" fmla="*/ 27 w 266"/>
                <a:gd name="T27" fmla="*/ 12 h 217"/>
                <a:gd name="T28" fmla="*/ 24 w 266"/>
                <a:gd name="T29" fmla="*/ 13 h 217"/>
                <a:gd name="T30" fmla="*/ 25 w 266"/>
                <a:gd name="T31" fmla="*/ 14 h 217"/>
                <a:gd name="T32" fmla="*/ 24 w 266"/>
                <a:gd name="T33" fmla="*/ 16 h 217"/>
                <a:gd name="T34" fmla="*/ 24 w 266"/>
                <a:gd name="T35" fmla="*/ 16 h 217"/>
                <a:gd name="T36" fmla="*/ 24 w 266"/>
                <a:gd name="T37" fmla="*/ 18 h 217"/>
                <a:gd name="T38" fmla="*/ 23 w 266"/>
                <a:gd name="T39" fmla="*/ 22 h 217"/>
                <a:gd name="T40" fmla="*/ 20 w 266"/>
                <a:gd name="T41" fmla="*/ 21 h 217"/>
                <a:gd name="T42" fmla="*/ 19 w 266"/>
                <a:gd name="T43" fmla="*/ 22 h 217"/>
                <a:gd name="T44" fmla="*/ 16 w 266"/>
                <a:gd name="T45" fmla="*/ 19 h 217"/>
                <a:gd name="T46" fmla="*/ 15 w 266"/>
                <a:gd name="T47" fmla="*/ 20 h 217"/>
                <a:gd name="T48" fmla="*/ 18 w 266"/>
                <a:gd name="T49" fmla="*/ 24 h 217"/>
                <a:gd name="T50" fmla="*/ 15 w 266"/>
                <a:gd name="T51" fmla="*/ 27 h 217"/>
                <a:gd name="T52" fmla="*/ 11 w 266"/>
                <a:gd name="T53" fmla="*/ 26 h 217"/>
                <a:gd name="T54" fmla="*/ 11 w 266"/>
                <a:gd name="T55" fmla="*/ 25 h 217"/>
                <a:gd name="T56" fmla="*/ 11 w 266"/>
                <a:gd name="T57" fmla="*/ 24 h 217"/>
                <a:gd name="T58" fmla="*/ 10 w 266"/>
                <a:gd name="T59" fmla="*/ 20 h 217"/>
                <a:gd name="T60" fmla="*/ 11 w 266"/>
                <a:gd name="T61" fmla="*/ 18 h 217"/>
                <a:gd name="T62" fmla="*/ 10 w 266"/>
                <a:gd name="T63" fmla="*/ 18 h 217"/>
                <a:gd name="T64" fmla="*/ 11 w 266"/>
                <a:gd name="T65" fmla="*/ 14 h 217"/>
                <a:gd name="T66" fmla="*/ 7 w 266"/>
                <a:gd name="T67" fmla="*/ 14 h 217"/>
                <a:gd name="T68" fmla="*/ 2 w 266"/>
                <a:gd name="T69" fmla="*/ 11 h 217"/>
                <a:gd name="T70" fmla="*/ 1 w 266"/>
                <a:gd name="T71" fmla="*/ 7 h 217"/>
                <a:gd name="T72" fmla="*/ 0 w 266"/>
                <a:gd name="T73" fmla="*/ 8 h 217"/>
                <a:gd name="T74" fmla="*/ 2 w 266"/>
                <a:gd name="T75" fmla="*/ 5 h 217"/>
                <a:gd name="T76" fmla="*/ 1 w 266"/>
                <a:gd name="T77" fmla="*/ 3 h 217"/>
                <a:gd name="T78" fmla="*/ 3 w 266"/>
                <a:gd name="T79" fmla="*/ 2 h 217"/>
                <a:gd name="T80" fmla="*/ 3 w 266"/>
                <a:gd name="T81" fmla="*/ 2 h 21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66" h="217">
                  <a:moveTo>
                    <a:pt x="22" y="15"/>
                  </a:moveTo>
                  <a:lnTo>
                    <a:pt x="25" y="37"/>
                  </a:lnTo>
                  <a:lnTo>
                    <a:pt x="39" y="49"/>
                  </a:lnTo>
                  <a:lnTo>
                    <a:pt x="40" y="39"/>
                  </a:lnTo>
                  <a:lnTo>
                    <a:pt x="35" y="24"/>
                  </a:lnTo>
                  <a:lnTo>
                    <a:pt x="49" y="19"/>
                  </a:lnTo>
                  <a:lnTo>
                    <a:pt x="54" y="0"/>
                  </a:lnTo>
                  <a:lnTo>
                    <a:pt x="87" y="14"/>
                  </a:lnTo>
                  <a:lnTo>
                    <a:pt x="97" y="30"/>
                  </a:lnTo>
                  <a:lnTo>
                    <a:pt x="202" y="39"/>
                  </a:lnTo>
                  <a:lnTo>
                    <a:pt x="204" y="47"/>
                  </a:lnTo>
                  <a:lnTo>
                    <a:pt x="232" y="65"/>
                  </a:lnTo>
                  <a:lnTo>
                    <a:pt x="229" y="79"/>
                  </a:lnTo>
                  <a:lnTo>
                    <a:pt x="266" y="100"/>
                  </a:lnTo>
                  <a:lnTo>
                    <a:pt x="236" y="107"/>
                  </a:lnTo>
                  <a:lnTo>
                    <a:pt x="244" y="119"/>
                  </a:lnTo>
                  <a:lnTo>
                    <a:pt x="236" y="129"/>
                  </a:lnTo>
                  <a:lnTo>
                    <a:pt x="229" y="127"/>
                  </a:lnTo>
                  <a:lnTo>
                    <a:pt x="232" y="152"/>
                  </a:lnTo>
                  <a:lnTo>
                    <a:pt x="222" y="174"/>
                  </a:lnTo>
                  <a:lnTo>
                    <a:pt x="197" y="169"/>
                  </a:lnTo>
                  <a:lnTo>
                    <a:pt x="189" y="175"/>
                  </a:lnTo>
                  <a:lnTo>
                    <a:pt x="156" y="154"/>
                  </a:lnTo>
                  <a:lnTo>
                    <a:pt x="147" y="160"/>
                  </a:lnTo>
                  <a:lnTo>
                    <a:pt x="172" y="194"/>
                  </a:lnTo>
                  <a:lnTo>
                    <a:pt x="139" y="217"/>
                  </a:lnTo>
                  <a:lnTo>
                    <a:pt x="109" y="212"/>
                  </a:lnTo>
                  <a:lnTo>
                    <a:pt x="105" y="200"/>
                  </a:lnTo>
                  <a:lnTo>
                    <a:pt x="109" y="190"/>
                  </a:lnTo>
                  <a:lnTo>
                    <a:pt x="97" y="167"/>
                  </a:lnTo>
                  <a:lnTo>
                    <a:pt x="100" y="150"/>
                  </a:lnTo>
                  <a:lnTo>
                    <a:pt x="97" y="142"/>
                  </a:lnTo>
                  <a:lnTo>
                    <a:pt x="104" y="114"/>
                  </a:lnTo>
                  <a:lnTo>
                    <a:pt x="69" y="112"/>
                  </a:lnTo>
                  <a:lnTo>
                    <a:pt x="19" y="84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15" y="39"/>
                  </a:lnTo>
                  <a:lnTo>
                    <a:pt x="10" y="20"/>
                  </a:lnTo>
                  <a:lnTo>
                    <a:pt x="22" y="1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79"/>
            <p:cNvSpPr>
              <a:spLocks/>
            </p:cNvSpPr>
            <p:nvPr/>
          </p:nvSpPr>
          <p:spPr bwMode="auto">
            <a:xfrm>
              <a:off x="1420" y="2723"/>
              <a:ext cx="143" cy="231"/>
            </a:xfrm>
            <a:custGeom>
              <a:avLst/>
              <a:gdLst>
                <a:gd name="T0" fmla="*/ 3 w 223"/>
                <a:gd name="T1" fmla="*/ 8 h 347"/>
                <a:gd name="T2" fmla="*/ 0 w 223"/>
                <a:gd name="T3" fmla="*/ 10 h 347"/>
                <a:gd name="T4" fmla="*/ 1 w 223"/>
                <a:gd name="T5" fmla="*/ 15 h 347"/>
                <a:gd name="T6" fmla="*/ 3 w 223"/>
                <a:gd name="T7" fmla="*/ 17 h 347"/>
                <a:gd name="T8" fmla="*/ 3 w 223"/>
                <a:gd name="T9" fmla="*/ 19 h 347"/>
                <a:gd name="T10" fmla="*/ 4 w 223"/>
                <a:gd name="T11" fmla="*/ 21 h 347"/>
                <a:gd name="T12" fmla="*/ 5 w 223"/>
                <a:gd name="T13" fmla="*/ 26 h 347"/>
                <a:gd name="T14" fmla="*/ 8 w 223"/>
                <a:gd name="T15" fmla="*/ 31 h 347"/>
                <a:gd name="T16" fmla="*/ 8 w 223"/>
                <a:gd name="T17" fmla="*/ 34 h 347"/>
                <a:gd name="T18" fmla="*/ 12 w 223"/>
                <a:gd name="T19" fmla="*/ 39 h 347"/>
                <a:gd name="T20" fmla="*/ 18 w 223"/>
                <a:gd name="T21" fmla="*/ 42 h 347"/>
                <a:gd name="T22" fmla="*/ 19 w 223"/>
                <a:gd name="T23" fmla="*/ 46 h 347"/>
                <a:gd name="T24" fmla="*/ 22 w 223"/>
                <a:gd name="T25" fmla="*/ 41 h 347"/>
                <a:gd name="T26" fmla="*/ 22 w 223"/>
                <a:gd name="T27" fmla="*/ 39 h 347"/>
                <a:gd name="T28" fmla="*/ 24 w 223"/>
                <a:gd name="T29" fmla="*/ 34 h 347"/>
                <a:gd name="T30" fmla="*/ 22 w 223"/>
                <a:gd name="T31" fmla="*/ 29 h 347"/>
                <a:gd name="T32" fmla="*/ 20 w 223"/>
                <a:gd name="T33" fmla="*/ 28 h 347"/>
                <a:gd name="T34" fmla="*/ 21 w 223"/>
                <a:gd name="T35" fmla="*/ 25 h 347"/>
                <a:gd name="T36" fmla="*/ 19 w 223"/>
                <a:gd name="T37" fmla="*/ 25 h 347"/>
                <a:gd name="T38" fmla="*/ 17 w 223"/>
                <a:gd name="T39" fmla="*/ 25 h 347"/>
                <a:gd name="T40" fmla="*/ 16 w 223"/>
                <a:gd name="T41" fmla="*/ 23 h 347"/>
                <a:gd name="T42" fmla="*/ 14 w 223"/>
                <a:gd name="T43" fmla="*/ 25 h 347"/>
                <a:gd name="T44" fmla="*/ 13 w 223"/>
                <a:gd name="T45" fmla="*/ 21 h 347"/>
                <a:gd name="T46" fmla="*/ 15 w 223"/>
                <a:gd name="T47" fmla="*/ 17 h 347"/>
                <a:gd name="T48" fmla="*/ 15 w 223"/>
                <a:gd name="T49" fmla="*/ 15 h 347"/>
                <a:gd name="T50" fmla="*/ 22 w 223"/>
                <a:gd name="T51" fmla="*/ 11 h 347"/>
                <a:gd name="T52" fmla="*/ 21 w 223"/>
                <a:gd name="T53" fmla="*/ 11 h 347"/>
                <a:gd name="T54" fmla="*/ 21 w 223"/>
                <a:gd name="T55" fmla="*/ 7 h 347"/>
                <a:gd name="T56" fmla="*/ 19 w 223"/>
                <a:gd name="T57" fmla="*/ 6 h 347"/>
                <a:gd name="T58" fmla="*/ 15 w 223"/>
                <a:gd name="T59" fmla="*/ 5 h 347"/>
                <a:gd name="T60" fmla="*/ 13 w 223"/>
                <a:gd name="T61" fmla="*/ 1 h 347"/>
                <a:gd name="T62" fmla="*/ 12 w 223"/>
                <a:gd name="T63" fmla="*/ 0 h 347"/>
                <a:gd name="T64" fmla="*/ 10 w 223"/>
                <a:gd name="T65" fmla="*/ 5 h 347"/>
                <a:gd name="T66" fmla="*/ 8 w 223"/>
                <a:gd name="T67" fmla="*/ 6 h 347"/>
                <a:gd name="T68" fmla="*/ 8 w 223"/>
                <a:gd name="T69" fmla="*/ 8 h 347"/>
                <a:gd name="T70" fmla="*/ 4 w 223"/>
                <a:gd name="T71" fmla="*/ 11 h 347"/>
                <a:gd name="T72" fmla="*/ 3 w 223"/>
                <a:gd name="T73" fmla="*/ 8 h 347"/>
                <a:gd name="T74" fmla="*/ 3 w 223"/>
                <a:gd name="T75" fmla="*/ 8 h 3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223" h="347">
                  <a:moveTo>
                    <a:pt x="23" y="62"/>
                  </a:moveTo>
                  <a:lnTo>
                    <a:pt x="0" y="79"/>
                  </a:lnTo>
                  <a:lnTo>
                    <a:pt x="1" y="110"/>
                  </a:lnTo>
                  <a:lnTo>
                    <a:pt x="25" y="129"/>
                  </a:lnTo>
                  <a:lnTo>
                    <a:pt x="28" y="149"/>
                  </a:lnTo>
                  <a:lnTo>
                    <a:pt x="41" y="155"/>
                  </a:lnTo>
                  <a:lnTo>
                    <a:pt x="45" y="197"/>
                  </a:lnTo>
                  <a:lnTo>
                    <a:pt x="75" y="232"/>
                  </a:lnTo>
                  <a:lnTo>
                    <a:pt x="76" y="257"/>
                  </a:lnTo>
                  <a:lnTo>
                    <a:pt x="113" y="303"/>
                  </a:lnTo>
                  <a:lnTo>
                    <a:pt x="163" y="320"/>
                  </a:lnTo>
                  <a:lnTo>
                    <a:pt x="175" y="347"/>
                  </a:lnTo>
                  <a:lnTo>
                    <a:pt x="206" y="317"/>
                  </a:lnTo>
                  <a:lnTo>
                    <a:pt x="208" y="293"/>
                  </a:lnTo>
                  <a:lnTo>
                    <a:pt x="223" y="263"/>
                  </a:lnTo>
                  <a:lnTo>
                    <a:pt x="203" y="222"/>
                  </a:lnTo>
                  <a:lnTo>
                    <a:pt x="186" y="212"/>
                  </a:lnTo>
                  <a:lnTo>
                    <a:pt x="190" y="194"/>
                  </a:lnTo>
                  <a:lnTo>
                    <a:pt x="180" y="185"/>
                  </a:lnTo>
                  <a:lnTo>
                    <a:pt x="161" y="194"/>
                  </a:lnTo>
                  <a:lnTo>
                    <a:pt x="148" y="177"/>
                  </a:lnTo>
                  <a:lnTo>
                    <a:pt x="133" y="189"/>
                  </a:lnTo>
                  <a:lnTo>
                    <a:pt x="126" y="159"/>
                  </a:lnTo>
                  <a:lnTo>
                    <a:pt x="141" y="132"/>
                  </a:lnTo>
                  <a:lnTo>
                    <a:pt x="145" y="119"/>
                  </a:lnTo>
                  <a:lnTo>
                    <a:pt x="200" y="87"/>
                  </a:lnTo>
                  <a:lnTo>
                    <a:pt x="193" y="85"/>
                  </a:lnTo>
                  <a:lnTo>
                    <a:pt x="198" y="55"/>
                  </a:lnTo>
                  <a:lnTo>
                    <a:pt x="175" y="44"/>
                  </a:lnTo>
                  <a:lnTo>
                    <a:pt x="138" y="39"/>
                  </a:lnTo>
                  <a:lnTo>
                    <a:pt x="120" y="2"/>
                  </a:lnTo>
                  <a:lnTo>
                    <a:pt x="108" y="0"/>
                  </a:lnTo>
                  <a:lnTo>
                    <a:pt x="95" y="39"/>
                  </a:lnTo>
                  <a:lnTo>
                    <a:pt x="73" y="45"/>
                  </a:lnTo>
                  <a:lnTo>
                    <a:pt x="70" y="62"/>
                  </a:lnTo>
                  <a:lnTo>
                    <a:pt x="38" y="84"/>
                  </a:lnTo>
                  <a:lnTo>
                    <a:pt x="23" y="6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80"/>
            <p:cNvSpPr>
              <a:spLocks/>
            </p:cNvSpPr>
            <p:nvPr/>
          </p:nvSpPr>
          <p:spPr bwMode="auto">
            <a:xfrm>
              <a:off x="1490" y="2943"/>
              <a:ext cx="80" cy="430"/>
            </a:xfrm>
            <a:custGeom>
              <a:avLst/>
              <a:gdLst>
                <a:gd name="T0" fmla="*/ 8 w 127"/>
                <a:gd name="T1" fmla="*/ 5 h 648"/>
                <a:gd name="T2" fmla="*/ 7 w 127"/>
                <a:gd name="T3" fmla="*/ 21 h 648"/>
                <a:gd name="T4" fmla="*/ 4 w 127"/>
                <a:gd name="T5" fmla="*/ 29 h 648"/>
                <a:gd name="T6" fmla="*/ 4 w 127"/>
                <a:gd name="T7" fmla="*/ 42 h 648"/>
                <a:gd name="T8" fmla="*/ 3 w 127"/>
                <a:gd name="T9" fmla="*/ 49 h 648"/>
                <a:gd name="T10" fmla="*/ 4 w 127"/>
                <a:gd name="T11" fmla="*/ 57 h 648"/>
                <a:gd name="T12" fmla="*/ 3 w 127"/>
                <a:gd name="T13" fmla="*/ 60 h 648"/>
                <a:gd name="T14" fmla="*/ 3 w 127"/>
                <a:gd name="T15" fmla="*/ 65 h 648"/>
                <a:gd name="T16" fmla="*/ 0 w 127"/>
                <a:gd name="T17" fmla="*/ 68 h 648"/>
                <a:gd name="T18" fmla="*/ 1 w 127"/>
                <a:gd name="T19" fmla="*/ 70 h 648"/>
                <a:gd name="T20" fmla="*/ 2 w 127"/>
                <a:gd name="T21" fmla="*/ 72 h 648"/>
                <a:gd name="T22" fmla="*/ 2 w 127"/>
                <a:gd name="T23" fmla="*/ 79 h 648"/>
                <a:gd name="T24" fmla="*/ 3 w 127"/>
                <a:gd name="T25" fmla="*/ 82 h 648"/>
                <a:gd name="T26" fmla="*/ 4 w 127"/>
                <a:gd name="T27" fmla="*/ 82 h 648"/>
                <a:gd name="T28" fmla="*/ 5 w 127"/>
                <a:gd name="T29" fmla="*/ 81 h 648"/>
                <a:gd name="T30" fmla="*/ 5 w 127"/>
                <a:gd name="T31" fmla="*/ 83 h 648"/>
                <a:gd name="T32" fmla="*/ 8 w 127"/>
                <a:gd name="T33" fmla="*/ 81 h 648"/>
                <a:gd name="T34" fmla="*/ 6 w 127"/>
                <a:gd name="T35" fmla="*/ 81 h 648"/>
                <a:gd name="T36" fmla="*/ 4 w 127"/>
                <a:gd name="T37" fmla="*/ 79 h 648"/>
                <a:gd name="T38" fmla="*/ 3 w 127"/>
                <a:gd name="T39" fmla="*/ 75 h 648"/>
                <a:gd name="T40" fmla="*/ 4 w 127"/>
                <a:gd name="T41" fmla="*/ 71 h 648"/>
                <a:gd name="T42" fmla="*/ 3 w 127"/>
                <a:gd name="T43" fmla="*/ 69 h 648"/>
                <a:gd name="T44" fmla="*/ 4 w 127"/>
                <a:gd name="T45" fmla="*/ 66 h 648"/>
                <a:gd name="T46" fmla="*/ 6 w 127"/>
                <a:gd name="T47" fmla="*/ 64 h 648"/>
                <a:gd name="T48" fmla="*/ 6 w 127"/>
                <a:gd name="T49" fmla="*/ 45 h 648"/>
                <a:gd name="T50" fmla="*/ 8 w 127"/>
                <a:gd name="T51" fmla="*/ 43 h 648"/>
                <a:gd name="T52" fmla="*/ 8 w 127"/>
                <a:gd name="T53" fmla="*/ 38 h 648"/>
                <a:gd name="T54" fmla="*/ 10 w 127"/>
                <a:gd name="T55" fmla="*/ 22 h 648"/>
                <a:gd name="T56" fmla="*/ 11 w 127"/>
                <a:gd name="T57" fmla="*/ 17 h 648"/>
                <a:gd name="T58" fmla="*/ 13 w 127"/>
                <a:gd name="T59" fmla="*/ 16 h 648"/>
                <a:gd name="T60" fmla="*/ 11 w 127"/>
                <a:gd name="T61" fmla="*/ 13 h 648"/>
                <a:gd name="T62" fmla="*/ 8 w 127"/>
                <a:gd name="T63" fmla="*/ 0 h 648"/>
                <a:gd name="T64" fmla="*/ 6 w 127"/>
                <a:gd name="T65" fmla="*/ 2 h 64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7" h="648">
                  <a:moveTo>
                    <a:pt x="67" y="17"/>
                  </a:moveTo>
                  <a:lnTo>
                    <a:pt x="77" y="37"/>
                  </a:lnTo>
                  <a:lnTo>
                    <a:pt x="62" y="150"/>
                  </a:lnTo>
                  <a:lnTo>
                    <a:pt x="72" y="158"/>
                  </a:lnTo>
                  <a:lnTo>
                    <a:pt x="55" y="175"/>
                  </a:lnTo>
                  <a:lnTo>
                    <a:pt x="43" y="223"/>
                  </a:lnTo>
                  <a:lnTo>
                    <a:pt x="53" y="250"/>
                  </a:lnTo>
                  <a:lnTo>
                    <a:pt x="35" y="327"/>
                  </a:lnTo>
                  <a:lnTo>
                    <a:pt x="17" y="357"/>
                  </a:lnTo>
                  <a:lnTo>
                    <a:pt x="25" y="383"/>
                  </a:lnTo>
                  <a:lnTo>
                    <a:pt x="23" y="420"/>
                  </a:lnTo>
                  <a:lnTo>
                    <a:pt x="35" y="440"/>
                  </a:lnTo>
                  <a:lnTo>
                    <a:pt x="37" y="453"/>
                  </a:lnTo>
                  <a:lnTo>
                    <a:pt x="25" y="465"/>
                  </a:lnTo>
                  <a:lnTo>
                    <a:pt x="35" y="488"/>
                  </a:lnTo>
                  <a:lnTo>
                    <a:pt x="27" y="503"/>
                  </a:lnTo>
                  <a:lnTo>
                    <a:pt x="2" y="512"/>
                  </a:lnTo>
                  <a:lnTo>
                    <a:pt x="0" y="522"/>
                  </a:lnTo>
                  <a:lnTo>
                    <a:pt x="13" y="527"/>
                  </a:lnTo>
                  <a:lnTo>
                    <a:pt x="12" y="540"/>
                  </a:lnTo>
                  <a:lnTo>
                    <a:pt x="22" y="547"/>
                  </a:lnTo>
                  <a:lnTo>
                    <a:pt x="15" y="558"/>
                  </a:lnTo>
                  <a:lnTo>
                    <a:pt x="12" y="587"/>
                  </a:lnTo>
                  <a:lnTo>
                    <a:pt x="18" y="610"/>
                  </a:lnTo>
                  <a:lnTo>
                    <a:pt x="23" y="617"/>
                  </a:lnTo>
                  <a:lnTo>
                    <a:pt x="28" y="637"/>
                  </a:lnTo>
                  <a:lnTo>
                    <a:pt x="35" y="637"/>
                  </a:lnTo>
                  <a:lnTo>
                    <a:pt x="40" y="635"/>
                  </a:lnTo>
                  <a:lnTo>
                    <a:pt x="43" y="628"/>
                  </a:lnTo>
                  <a:lnTo>
                    <a:pt x="47" y="632"/>
                  </a:lnTo>
                  <a:lnTo>
                    <a:pt x="42" y="643"/>
                  </a:lnTo>
                  <a:lnTo>
                    <a:pt x="52" y="648"/>
                  </a:lnTo>
                  <a:lnTo>
                    <a:pt x="68" y="638"/>
                  </a:lnTo>
                  <a:lnTo>
                    <a:pt x="75" y="628"/>
                  </a:lnTo>
                  <a:lnTo>
                    <a:pt x="63" y="627"/>
                  </a:lnTo>
                  <a:lnTo>
                    <a:pt x="58" y="630"/>
                  </a:lnTo>
                  <a:lnTo>
                    <a:pt x="45" y="623"/>
                  </a:lnTo>
                  <a:lnTo>
                    <a:pt x="42" y="613"/>
                  </a:lnTo>
                  <a:lnTo>
                    <a:pt x="25" y="607"/>
                  </a:lnTo>
                  <a:lnTo>
                    <a:pt x="25" y="585"/>
                  </a:lnTo>
                  <a:lnTo>
                    <a:pt x="38" y="570"/>
                  </a:lnTo>
                  <a:lnTo>
                    <a:pt x="42" y="552"/>
                  </a:lnTo>
                  <a:lnTo>
                    <a:pt x="32" y="543"/>
                  </a:lnTo>
                  <a:lnTo>
                    <a:pt x="32" y="538"/>
                  </a:lnTo>
                  <a:lnTo>
                    <a:pt x="42" y="530"/>
                  </a:lnTo>
                  <a:lnTo>
                    <a:pt x="43" y="517"/>
                  </a:lnTo>
                  <a:lnTo>
                    <a:pt x="48" y="510"/>
                  </a:lnTo>
                  <a:lnTo>
                    <a:pt x="55" y="497"/>
                  </a:lnTo>
                  <a:lnTo>
                    <a:pt x="52" y="485"/>
                  </a:lnTo>
                  <a:lnTo>
                    <a:pt x="60" y="353"/>
                  </a:lnTo>
                  <a:lnTo>
                    <a:pt x="82" y="345"/>
                  </a:lnTo>
                  <a:lnTo>
                    <a:pt x="83" y="335"/>
                  </a:lnTo>
                  <a:lnTo>
                    <a:pt x="70" y="328"/>
                  </a:lnTo>
                  <a:lnTo>
                    <a:pt x="78" y="295"/>
                  </a:lnTo>
                  <a:lnTo>
                    <a:pt x="70" y="243"/>
                  </a:lnTo>
                  <a:lnTo>
                    <a:pt x="102" y="168"/>
                  </a:lnTo>
                  <a:lnTo>
                    <a:pt x="103" y="138"/>
                  </a:lnTo>
                  <a:lnTo>
                    <a:pt x="112" y="127"/>
                  </a:lnTo>
                  <a:lnTo>
                    <a:pt x="122" y="132"/>
                  </a:lnTo>
                  <a:lnTo>
                    <a:pt x="127" y="125"/>
                  </a:lnTo>
                  <a:lnTo>
                    <a:pt x="127" y="107"/>
                  </a:lnTo>
                  <a:lnTo>
                    <a:pt x="115" y="95"/>
                  </a:lnTo>
                  <a:lnTo>
                    <a:pt x="100" y="3"/>
                  </a:lnTo>
                  <a:lnTo>
                    <a:pt x="83" y="0"/>
                  </a:lnTo>
                  <a:lnTo>
                    <a:pt x="67" y="1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81"/>
            <p:cNvSpPr>
              <a:spLocks/>
            </p:cNvSpPr>
            <p:nvPr/>
          </p:nvSpPr>
          <p:spPr bwMode="auto">
            <a:xfrm>
              <a:off x="1490" y="2943"/>
              <a:ext cx="80" cy="430"/>
            </a:xfrm>
            <a:custGeom>
              <a:avLst/>
              <a:gdLst>
                <a:gd name="T0" fmla="*/ 8 w 127"/>
                <a:gd name="T1" fmla="*/ 5 h 648"/>
                <a:gd name="T2" fmla="*/ 7 w 127"/>
                <a:gd name="T3" fmla="*/ 21 h 648"/>
                <a:gd name="T4" fmla="*/ 4 w 127"/>
                <a:gd name="T5" fmla="*/ 29 h 648"/>
                <a:gd name="T6" fmla="*/ 4 w 127"/>
                <a:gd name="T7" fmla="*/ 42 h 648"/>
                <a:gd name="T8" fmla="*/ 3 w 127"/>
                <a:gd name="T9" fmla="*/ 49 h 648"/>
                <a:gd name="T10" fmla="*/ 4 w 127"/>
                <a:gd name="T11" fmla="*/ 57 h 648"/>
                <a:gd name="T12" fmla="*/ 3 w 127"/>
                <a:gd name="T13" fmla="*/ 60 h 648"/>
                <a:gd name="T14" fmla="*/ 3 w 127"/>
                <a:gd name="T15" fmla="*/ 65 h 648"/>
                <a:gd name="T16" fmla="*/ 0 w 127"/>
                <a:gd name="T17" fmla="*/ 68 h 648"/>
                <a:gd name="T18" fmla="*/ 1 w 127"/>
                <a:gd name="T19" fmla="*/ 70 h 648"/>
                <a:gd name="T20" fmla="*/ 2 w 127"/>
                <a:gd name="T21" fmla="*/ 72 h 648"/>
                <a:gd name="T22" fmla="*/ 2 w 127"/>
                <a:gd name="T23" fmla="*/ 79 h 648"/>
                <a:gd name="T24" fmla="*/ 3 w 127"/>
                <a:gd name="T25" fmla="*/ 82 h 648"/>
                <a:gd name="T26" fmla="*/ 4 w 127"/>
                <a:gd name="T27" fmla="*/ 82 h 648"/>
                <a:gd name="T28" fmla="*/ 5 w 127"/>
                <a:gd name="T29" fmla="*/ 81 h 648"/>
                <a:gd name="T30" fmla="*/ 5 w 127"/>
                <a:gd name="T31" fmla="*/ 83 h 648"/>
                <a:gd name="T32" fmla="*/ 8 w 127"/>
                <a:gd name="T33" fmla="*/ 81 h 648"/>
                <a:gd name="T34" fmla="*/ 6 w 127"/>
                <a:gd name="T35" fmla="*/ 81 h 648"/>
                <a:gd name="T36" fmla="*/ 4 w 127"/>
                <a:gd name="T37" fmla="*/ 79 h 648"/>
                <a:gd name="T38" fmla="*/ 3 w 127"/>
                <a:gd name="T39" fmla="*/ 75 h 648"/>
                <a:gd name="T40" fmla="*/ 4 w 127"/>
                <a:gd name="T41" fmla="*/ 71 h 648"/>
                <a:gd name="T42" fmla="*/ 3 w 127"/>
                <a:gd name="T43" fmla="*/ 69 h 648"/>
                <a:gd name="T44" fmla="*/ 4 w 127"/>
                <a:gd name="T45" fmla="*/ 66 h 648"/>
                <a:gd name="T46" fmla="*/ 6 w 127"/>
                <a:gd name="T47" fmla="*/ 64 h 648"/>
                <a:gd name="T48" fmla="*/ 6 w 127"/>
                <a:gd name="T49" fmla="*/ 45 h 648"/>
                <a:gd name="T50" fmla="*/ 8 w 127"/>
                <a:gd name="T51" fmla="*/ 43 h 648"/>
                <a:gd name="T52" fmla="*/ 8 w 127"/>
                <a:gd name="T53" fmla="*/ 38 h 648"/>
                <a:gd name="T54" fmla="*/ 10 w 127"/>
                <a:gd name="T55" fmla="*/ 22 h 648"/>
                <a:gd name="T56" fmla="*/ 11 w 127"/>
                <a:gd name="T57" fmla="*/ 17 h 648"/>
                <a:gd name="T58" fmla="*/ 13 w 127"/>
                <a:gd name="T59" fmla="*/ 16 h 648"/>
                <a:gd name="T60" fmla="*/ 11 w 127"/>
                <a:gd name="T61" fmla="*/ 13 h 648"/>
                <a:gd name="T62" fmla="*/ 8 w 127"/>
                <a:gd name="T63" fmla="*/ 0 h 648"/>
                <a:gd name="T64" fmla="*/ 6 w 127"/>
                <a:gd name="T65" fmla="*/ 2 h 64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7" h="648">
                  <a:moveTo>
                    <a:pt x="67" y="17"/>
                  </a:moveTo>
                  <a:lnTo>
                    <a:pt x="77" y="37"/>
                  </a:lnTo>
                  <a:lnTo>
                    <a:pt x="62" y="150"/>
                  </a:lnTo>
                  <a:lnTo>
                    <a:pt x="72" y="158"/>
                  </a:lnTo>
                  <a:lnTo>
                    <a:pt x="55" y="175"/>
                  </a:lnTo>
                  <a:lnTo>
                    <a:pt x="43" y="223"/>
                  </a:lnTo>
                  <a:lnTo>
                    <a:pt x="53" y="250"/>
                  </a:lnTo>
                  <a:lnTo>
                    <a:pt x="35" y="327"/>
                  </a:lnTo>
                  <a:lnTo>
                    <a:pt x="17" y="357"/>
                  </a:lnTo>
                  <a:lnTo>
                    <a:pt x="25" y="383"/>
                  </a:lnTo>
                  <a:lnTo>
                    <a:pt x="23" y="420"/>
                  </a:lnTo>
                  <a:lnTo>
                    <a:pt x="35" y="440"/>
                  </a:lnTo>
                  <a:lnTo>
                    <a:pt x="37" y="453"/>
                  </a:lnTo>
                  <a:lnTo>
                    <a:pt x="25" y="465"/>
                  </a:lnTo>
                  <a:lnTo>
                    <a:pt x="35" y="488"/>
                  </a:lnTo>
                  <a:lnTo>
                    <a:pt x="27" y="503"/>
                  </a:lnTo>
                  <a:lnTo>
                    <a:pt x="2" y="512"/>
                  </a:lnTo>
                  <a:lnTo>
                    <a:pt x="0" y="522"/>
                  </a:lnTo>
                  <a:lnTo>
                    <a:pt x="13" y="527"/>
                  </a:lnTo>
                  <a:lnTo>
                    <a:pt x="12" y="540"/>
                  </a:lnTo>
                  <a:lnTo>
                    <a:pt x="22" y="547"/>
                  </a:lnTo>
                  <a:lnTo>
                    <a:pt x="15" y="558"/>
                  </a:lnTo>
                  <a:lnTo>
                    <a:pt x="12" y="587"/>
                  </a:lnTo>
                  <a:lnTo>
                    <a:pt x="18" y="610"/>
                  </a:lnTo>
                  <a:lnTo>
                    <a:pt x="23" y="617"/>
                  </a:lnTo>
                  <a:lnTo>
                    <a:pt x="28" y="637"/>
                  </a:lnTo>
                  <a:lnTo>
                    <a:pt x="35" y="637"/>
                  </a:lnTo>
                  <a:lnTo>
                    <a:pt x="40" y="635"/>
                  </a:lnTo>
                  <a:lnTo>
                    <a:pt x="43" y="628"/>
                  </a:lnTo>
                  <a:lnTo>
                    <a:pt x="47" y="632"/>
                  </a:lnTo>
                  <a:lnTo>
                    <a:pt x="42" y="643"/>
                  </a:lnTo>
                  <a:lnTo>
                    <a:pt x="52" y="648"/>
                  </a:lnTo>
                  <a:lnTo>
                    <a:pt x="68" y="638"/>
                  </a:lnTo>
                  <a:lnTo>
                    <a:pt x="75" y="628"/>
                  </a:lnTo>
                  <a:lnTo>
                    <a:pt x="63" y="627"/>
                  </a:lnTo>
                  <a:lnTo>
                    <a:pt x="58" y="630"/>
                  </a:lnTo>
                  <a:lnTo>
                    <a:pt x="45" y="623"/>
                  </a:lnTo>
                  <a:lnTo>
                    <a:pt x="42" y="613"/>
                  </a:lnTo>
                  <a:lnTo>
                    <a:pt x="25" y="607"/>
                  </a:lnTo>
                  <a:lnTo>
                    <a:pt x="25" y="585"/>
                  </a:lnTo>
                  <a:lnTo>
                    <a:pt x="38" y="570"/>
                  </a:lnTo>
                  <a:lnTo>
                    <a:pt x="42" y="552"/>
                  </a:lnTo>
                  <a:lnTo>
                    <a:pt x="32" y="543"/>
                  </a:lnTo>
                  <a:lnTo>
                    <a:pt x="32" y="538"/>
                  </a:lnTo>
                  <a:lnTo>
                    <a:pt x="42" y="530"/>
                  </a:lnTo>
                  <a:lnTo>
                    <a:pt x="43" y="517"/>
                  </a:lnTo>
                  <a:lnTo>
                    <a:pt x="48" y="510"/>
                  </a:lnTo>
                  <a:lnTo>
                    <a:pt x="55" y="497"/>
                  </a:lnTo>
                  <a:lnTo>
                    <a:pt x="52" y="485"/>
                  </a:lnTo>
                  <a:lnTo>
                    <a:pt x="60" y="353"/>
                  </a:lnTo>
                  <a:lnTo>
                    <a:pt x="82" y="345"/>
                  </a:lnTo>
                  <a:lnTo>
                    <a:pt x="83" y="335"/>
                  </a:lnTo>
                  <a:lnTo>
                    <a:pt x="70" y="328"/>
                  </a:lnTo>
                  <a:lnTo>
                    <a:pt x="78" y="295"/>
                  </a:lnTo>
                  <a:lnTo>
                    <a:pt x="70" y="243"/>
                  </a:lnTo>
                  <a:lnTo>
                    <a:pt x="102" y="168"/>
                  </a:lnTo>
                  <a:lnTo>
                    <a:pt x="103" y="138"/>
                  </a:lnTo>
                  <a:lnTo>
                    <a:pt x="112" y="127"/>
                  </a:lnTo>
                  <a:lnTo>
                    <a:pt x="122" y="132"/>
                  </a:lnTo>
                  <a:lnTo>
                    <a:pt x="127" y="125"/>
                  </a:lnTo>
                  <a:lnTo>
                    <a:pt x="127" y="107"/>
                  </a:lnTo>
                  <a:lnTo>
                    <a:pt x="115" y="95"/>
                  </a:lnTo>
                  <a:lnTo>
                    <a:pt x="100" y="3"/>
                  </a:lnTo>
                  <a:lnTo>
                    <a:pt x="83" y="0"/>
                  </a:lnTo>
                  <a:lnTo>
                    <a:pt x="67" y="1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82"/>
            <p:cNvSpPr>
              <a:spLocks/>
            </p:cNvSpPr>
            <p:nvPr/>
          </p:nvSpPr>
          <p:spPr bwMode="auto">
            <a:xfrm>
              <a:off x="1489" y="3268"/>
              <a:ext cx="6" cy="6"/>
            </a:xfrm>
            <a:custGeom>
              <a:avLst/>
              <a:gdLst>
                <a:gd name="T0" fmla="*/ 1 w 10"/>
                <a:gd name="T1" fmla="*/ 0 h 10"/>
                <a:gd name="T2" fmla="*/ 0 w 10"/>
                <a:gd name="T3" fmla="*/ 1 h 10"/>
                <a:gd name="T4" fmla="*/ 1 w 10"/>
                <a:gd name="T5" fmla="*/ 1 h 10"/>
                <a:gd name="T6" fmla="*/ 1 w 10"/>
                <a:gd name="T7" fmla="*/ 1 h 10"/>
                <a:gd name="T8" fmla="*/ 1 w 10"/>
                <a:gd name="T9" fmla="*/ 1 h 10"/>
                <a:gd name="T10" fmla="*/ 1 w 10"/>
                <a:gd name="T11" fmla="*/ 0 h 10"/>
                <a:gd name="T12" fmla="*/ 1 w 10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10">
                  <a:moveTo>
                    <a:pt x="4" y="0"/>
                  </a:moveTo>
                  <a:lnTo>
                    <a:pt x="0" y="3"/>
                  </a:lnTo>
                  <a:lnTo>
                    <a:pt x="4" y="10"/>
                  </a:lnTo>
                  <a:lnTo>
                    <a:pt x="10" y="7"/>
                  </a:lnTo>
                  <a:lnTo>
                    <a:pt x="7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83"/>
            <p:cNvSpPr>
              <a:spLocks/>
            </p:cNvSpPr>
            <p:nvPr/>
          </p:nvSpPr>
          <p:spPr bwMode="auto">
            <a:xfrm>
              <a:off x="1489" y="3268"/>
              <a:ext cx="6" cy="6"/>
            </a:xfrm>
            <a:custGeom>
              <a:avLst/>
              <a:gdLst>
                <a:gd name="T0" fmla="*/ 1 w 10"/>
                <a:gd name="T1" fmla="*/ 0 h 10"/>
                <a:gd name="T2" fmla="*/ 0 w 10"/>
                <a:gd name="T3" fmla="*/ 1 h 10"/>
                <a:gd name="T4" fmla="*/ 1 w 10"/>
                <a:gd name="T5" fmla="*/ 1 h 10"/>
                <a:gd name="T6" fmla="*/ 1 w 10"/>
                <a:gd name="T7" fmla="*/ 1 h 10"/>
                <a:gd name="T8" fmla="*/ 1 w 10"/>
                <a:gd name="T9" fmla="*/ 1 h 10"/>
                <a:gd name="T10" fmla="*/ 1 w 10"/>
                <a:gd name="T11" fmla="*/ 0 h 10"/>
                <a:gd name="T12" fmla="*/ 1 w 10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" h="10">
                  <a:moveTo>
                    <a:pt x="4" y="0"/>
                  </a:moveTo>
                  <a:lnTo>
                    <a:pt x="0" y="3"/>
                  </a:lnTo>
                  <a:lnTo>
                    <a:pt x="4" y="10"/>
                  </a:lnTo>
                  <a:lnTo>
                    <a:pt x="10" y="7"/>
                  </a:lnTo>
                  <a:lnTo>
                    <a:pt x="7" y="2"/>
                  </a:lnTo>
                  <a:lnTo>
                    <a:pt x="4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84"/>
            <p:cNvSpPr>
              <a:spLocks/>
            </p:cNvSpPr>
            <p:nvPr/>
          </p:nvSpPr>
          <p:spPr bwMode="auto">
            <a:xfrm>
              <a:off x="1495" y="3231"/>
              <a:ext cx="4" cy="20"/>
            </a:xfrm>
            <a:custGeom>
              <a:avLst/>
              <a:gdLst>
                <a:gd name="T0" fmla="*/ 0 w 11"/>
                <a:gd name="T1" fmla="*/ 0 h 30"/>
                <a:gd name="T2" fmla="*/ 0 w 11"/>
                <a:gd name="T3" fmla="*/ 1 h 30"/>
                <a:gd name="T4" fmla="*/ 0 w 11"/>
                <a:gd name="T5" fmla="*/ 2 h 30"/>
                <a:gd name="T6" fmla="*/ 0 w 11"/>
                <a:gd name="T7" fmla="*/ 3 h 30"/>
                <a:gd name="T8" fmla="*/ 0 w 11"/>
                <a:gd name="T9" fmla="*/ 4 h 30"/>
                <a:gd name="T10" fmla="*/ 0 w 11"/>
                <a:gd name="T11" fmla="*/ 3 h 30"/>
                <a:gd name="T12" fmla="*/ 0 w 11"/>
                <a:gd name="T13" fmla="*/ 3 h 30"/>
                <a:gd name="T14" fmla="*/ 0 w 11"/>
                <a:gd name="T15" fmla="*/ 1 h 30"/>
                <a:gd name="T16" fmla="*/ 0 w 11"/>
                <a:gd name="T17" fmla="*/ 0 h 30"/>
                <a:gd name="T18" fmla="*/ 0 w 11"/>
                <a:gd name="T19" fmla="*/ 0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" h="30">
                  <a:moveTo>
                    <a:pt x="6" y="0"/>
                  </a:moveTo>
                  <a:lnTo>
                    <a:pt x="1" y="5"/>
                  </a:lnTo>
                  <a:lnTo>
                    <a:pt x="1" y="14"/>
                  </a:lnTo>
                  <a:lnTo>
                    <a:pt x="0" y="25"/>
                  </a:lnTo>
                  <a:lnTo>
                    <a:pt x="6" y="30"/>
                  </a:lnTo>
                  <a:lnTo>
                    <a:pt x="10" y="27"/>
                  </a:lnTo>
                  <a:lnTo>
                    <a:pt x="8" y="19"/>
                  </a:lnTo>
                  <a:lnTo>
                    <a:pt x="11" y="7"/>
                  </a:lnTo>
                  <a:lnTo>
                    <a:pt x="6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85"/>
            <p:cNvSpPr>
              <a:spLocks/>
            </p:cNvSpPr>
            <p:nvPr/>
          </p:nvSpPr>
          <p:spPr bwMode="auto">
            <a:xfrm>
              <a:off x="1519" y="3373"/>
              <a:ext cx="32" cy="35"/>
            </a:xfrm>
            <a:custGeom>
              <a:avLst/>
              <a:gdLst>
                <a:gd name="T0" fmla="*/ 5 w 48"/>
                <a:gd name="T1" fmla="*/ 0 h 53"/>
                <a:gd name="T2" fmla="*/ 3 w 48"/>
                <a:gd name="T3" fmla="*/ 1 h 53"/>
                <a:gd name="T4" fmla="*/ 3 w 48"/>
                <a:gd name="T5" fmla="*/ 3 h 53"/>
                <a:gd name="T6" fmla="*/ 1 w 48"/>
                <a:gd name="T7" fmla="*/ 3 h 53"/>
                <a:gd name="T8" fmla="*/ 0 w 48"/>
                <a:gd name="T9" fmla="*/ 5 h 53"/>
                <a:gd name="T10" fmla="*/ 3 w 48"/>
                <a:gd name="T11" fmla="*/ 5 h 53"/>
                <a:gd name="T12" fmla="*/ 4 w 48"/>
                <a:gd name="T13" fmla="*/ 6 h 53"/>
                <a:gd name="T14" fmla="*/ 5 w 48"/>
                <a:gd name="T15" fmla="*/ 7 h 53"/>
                <a:gd name="T16" fmla="*/ 6 w 48"/>
                <a:gd name="T17" fmla="*/ 6 h 53"/>
                <a:gd name="T18" fmla="*/ 6 w 48"/>
                <a:gd name="T19" fmla="*/ 3 h 53"/>
                <a:gd name="T20" fmla="*/ 5 w 48"/>
                <a:gd name="T21" fmla="*/ 0 h 53"/>
                <a:gd name="T22" fmla="*/ 5 w 48"/>
                <a:gd name="T23" fmla="*/ 0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53">
                  <a:moveTo>
                    <a:pt x="37" y="0"/>
                  </a:moveTo>
                  <a:lnTo>
                    <a:pt x="23" y="6"/>
                  </a:lnTo>
                  <a:lnTo>
                    <a:pt x="25" y="21"/>
                  </a:lnTo>
                  <a:lnTo>
                    <a:pt x="7" y="26"/>
                  </a:lnTo>
                  <a:lnTo>
                    <a:pt x="0" y="35"/>
                  </a:lnTo>
                  <a:lnTo>
                    <a:pt x="22" y="35"/>
                  </a:lnTo>
                  <a:lnTo>
                    <a:pt x="28" y="48"/>
                  </a:lnTo>
                  <a:lnTo>
                    <a:pt x="38" y="53"/>
                  </a:lnTo>
                  <a:lnTo>
                    <a:pt x="48" y="45"/>
                  </a:lnTo>
                  <a:lnTo>
                    <a:pt x="42" y="28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86"/>
            <p:cNvSpPr>
              <a:spLocks/>
            </p:cNvSpPr>
            <p:nvPr/>
          </p:nvSpPr>
          <p:spPr bwMode="auto">
            <a:xfrm>
              <a:off x="1519" y="3373"/>
              <a:ext cx="32" cy="35"/>
            </a:xfrm>
            <a:custGeom>
              <a:avLst/>
              <a:gdLst>
                <a:gd name="T0" fmla="*/ 5 w 48"/>
                <a:gd name="T1" fmla="*/ 0 h 53"/>
                <a:gd name="T2" fmla="*/ 3 w 48"/>
                <a:gd name="T3" fmla="*/ 1 h 53"/>
                <a:gd name="T4" fmla="*/ 3 w 48"/>
                <a:gd name="T5" fmla="*/ 3 h 53"/>
                <a:gd name="T6" fmla="*/ 1 w 48"/>
                <a:gd name="T7" fmla="*/ 3 h 53"/>
                <a:gd name="T8" fmla="*/ 0 w 48"/>
                <a:gd name="T9" fmla="*/ 5 h 53"/>
                <a:gd name="T10" fmla="*/ 3 w 48"/>
                <a:gd name="T11" fmla="*/ 5 h 53"/>
                <a:gd name="T12" fmla="*/ 4 w 48"/>
                <a:gd name="T13" fmla="*/ 6 h 53"/>
                <a:gd name="T14" fmla="*/ 5 w 48"/>
                <a:gd name="T15" fmla="*/ 7 h 53"/>
                <a:gd name="T16" fmla="*/ 6 w 48"/>
                <a:gd name="T17" fmla="*/ 6 h 53"/>
                <a:gd name="T18" fmla="*/ 6 w 48"/>
                <a:gd name="T19" fmla="*/ 3 h 53"/>
                <a:gd name="T20" fmla="*/ 5 w 48"/>
                <a:gd name="T21" fmla="*/ 0 h 53"/>
                <a:gd name="T22" fmla="*/ 5 w 48"/>
                <a:gd name="T23" fmla="*/ 0 h 5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8" h="53">
                  <a:moveTo>
                    <a:pt x="37" y="0"/>
                  </a:moveTo>
                  <a:lnTo>
                    <a:pt x="23" y="6"/>
                  </a:lnTo>
                  <a:lnTo>
                    <a:pt x="25" y="21"/>
                  </a:lnTo>
                  <a:lnTo>
                    <a:pt x="7" y="26"/>
                  </a:lnTo>
                  <a:lnTo>
                    <a:pt x="0" y="35"/>
                  </a:lnTo>
                  <a:lnTo>
                    <a:pt x="22" y="35"/>
                  </a:lnTo>
                  <a:lnTo>
                    <a:pt x="28" y="48"/>
                  </a:lnTo>
                  <a:lnTo>
                    <a:pt x="38" y="53"/>
                  </a:lnTo>
                  <a:lnTo>
                    <a:pt x="48" y="45"/>
                  </a:lnTo>
                  <a:lnTo>
                    <a:pt x="42" y="28"/>
                  </a:lnTo>
                  <a:lnTo>
                    <a:pt x="3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87"/>
            <p:cNvSpPr>
              <a:spLocks/>
            </p:cNvSpPr>
            <p:nvPr/>
          </p:nvSpPr>
          <p:spPr bwMode="auto">
            <a:xfrm>
              <a:off x="1544" y="3373"/>
              <a:ext cx="26" cy="33"/>
            </a:xfrm>
            <a:custGeom>
              <a:avLst/>
              <a:gdLst>
                <a:gd name="T0" fmla="*/ 0 w 45"/>
                <a:gd name="T1" fmla="*/ 0 h 50"/>
                <a:gd name="T2" fmla="*/ 1 w 45"/>
                <a:gd name="T3" fmla="*/ 3 h 50"/>
                <a:gd name="T4" fmla="*/ 1 w 45"/>
                <a:gd name="T5" fmla="*/ 6 h 50"/>
                <a:gd name="T6" fmla="*/ 2 w 45"/>
                <a:gd name="T7" fmla="*/ 7 h 50"/>
                <a:gd name="T8" fmla="*/ 3 w 45"/>
                <a:gd name="T9" fmla="*/ 6 h 50"/>
                <a:gd name="T10" fmla="*/ 2 w 45"/>
                <a:gd name="T11" fmla="*/ 5 h 50"/>
                <a:gd name="T12" fmla="*/ 2 w 45"/>
                <a:gd name="T13" fmla="*/ 4 h 50"/>
                <a:gd name="T14" fmla="*/ 1 w 45"/>
                <a:gd name="T15" fmla="*/ 3 h 50"/>
                <a:gd name="T16" fmla="*/ 1 w 45"/>
                <a:gd name="T17" fmla="*/ 1 h 50"/>
                <a:gd name="T18" fmla="*/ 0 w 45"/>
                <a:gd name="T19" fmla="*/ 0 h 50"/>
                <a:gd name="T20" fmla="*/ 0 w 45"/>
                <a:gd name="T21" fmla="*/ 0 h 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0">
                  <a:moveTo>
                    <a:pt x="0" y="0"/>
                  </a:moveTo>
                  <a:lnTo>
                    <a:pt x="5" y="28"/>
                  </a:lnTo>
                  <a:lnTo>
                    <a:pt x="11" y="45"/>
                  </a:lnTo>
                  <a:lnTo>
                    <a:pt x="26" y="50"/>
                  </a:lnTo>
                  <a:lnTo>
                    <a:pt x="45" y="45"/>
                  </a:lnTo>
                  <a:lnTo>
                    <a:pt x="36" y="33"/>
                  </a:lnTo>
                  <a:lnTo>
                    <a:pt x="30" y="31"/>
                  </a:lnTo>
                  <a:lnTo>
                    <a:pt x="20" y="26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88"/>
            <p:cNvSpPr>
              <a:spLocks/>
            </p:cNvSpPr>
            <p:nvPr/>
          </p:nvSpPr>
          <p:spPr bwMode="auto">
            <a:xfrm>
              <a:off x="1544" y="3373"/>
              <a:ext cx="26" cy="33"/>
            </a:xfrm>
            <a:custGeom>
              <a:avLst/>
              <a:gdLst>
                <a:gd name="T0" fmla="*/ 0 w 45"/>
                <a:gd name="T1" fmla="*/ 0 h 50"/>
                <a:gd name="T2" fmla="*/ 1 w 45"/>
                <a:gd name="T3" fmla="*/ 3 h 50"/>
                <a:gd name="T4" fmla="*/ 1 w 45"/>
                <a:gd name="T5" fmla="*/ 6 h 50"/>
                <a:gd name="T6" fmla="*/ 2 w 45"/>
                <a:gd name="T7" fmla="*/ 7 h 50"/>
                <a:gd name="T8" fmla="*/ 3 w 45"/>
                <a:gd name="T9" fmla="*/ 6 h 50"/>
                <a:gd name="T10" fmla="*/ 2 w 45"/>
                <a:gd name="T11" fmla="*/ 5 h 50"/>
                <a:gd name="T12" fmla="*/ 2 w 45"/>
                <a:gd name="T13" fmla="*/ 4 h 50"/>
                <a:gd name="T14" fmla="*/ 1 w 45"/>
                <a:gd name="T15" fmla="*/ 3 h 50"/>
                <a:gd name="T16" fmla="*/ 1 w 45"/>
                <a:gd name="T17" fmla="*/ 1 h 50"/>
                <a:gd name="T18" fmla="*/ 0 w 45"/>
                <a:gd name="T19" fmla="*/ 0 h 50"/>
                <a:gd name="T20" fmla="*/ 0 w 45"/>
                <a:gd name="T21" fmla="*/ 0 h 5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0">
                  <a:moveTo>
                    <a:pt x="0" y="0"/>
                  </a:moveTo>
                  <a:lnTo>
                    <a:pt x="5" y="28"/>
                  </a:lnTo>
                  <a:lnTo>
                    <a:pt x="11" y="45"/>
                  </a:lnTo>
                  <a:lnTo>
                    <a:pt x="26" y="50"/>
                  </a:lnTo>
                  <a:lnTo>
                    <a:pt x="45" y="45"/>
                  </a:lnTo>
                  <a:lnTo>
                    <a:pt x="36" y="33"/>
                  </a:lnTo>
                  <a:lnTo>
                    <a:pt x="30" y="31"/>
                  </a:lnTo>
                  <a:lnTo>
                    <a:pt x="20" y="26"/>
                  </a:lnTo>
                  <a:lnTo>
                    <a:pt x="8" y="1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89"/>
            <p:cNvSpPr>
              <a:spLocks/>
            </p:cNvSpPr>
            <p:nvPr/>
          </p:nvSpPr>
          <p:spPr bwMode="auto">
            <a:xfrm>
              <a:off x="1506" y="3001"/>
              <a:ext cx="208" cy="361"/>
            </a:xfrm>
            <a:custGeom>
              <a:avLst/>
              <a:gdLst>
                <a:gd name="T0" fmla="*/ 11 w 325"/>
                <a:gd name="T1" fmla="*/ 5 h 543"/>
                <a:gd name="T2" fmla="*/ 10 w 325"/>
                <a:gd name="T3" fmla="*/ 5 h 543"/>
                <a:gd name="T4" fmla="*/ 8 w 325"/>
                <a:gd name="T5" fmla="*/ 10 h 543"/>
                <a:gd name="T6" fmla="*/ 6 w 325"/>
                <a:gd name="T7" fmla="*/ 27 h 543"/>
                <a:gd name="T8" fmla="*/ 6 w 325"/>
                <a:gd name="T9" fmla="*/ 33 h 543"/>
                <a:gd name="T10" fmla="*/ 4 w 325"/>
                <a:gd name="T11" fmla="*/ 35 h 543"/>
                <a:gd name="T12" fmla="*/ 3 w 325"/>
                <a:gd name="T13" fmla="*/ 53 h 543"/>
                <a:gd name="T14" fmla="*/ 2 w 325"/>
                <a:gd name="T15" fmla="*/ 56 h 543"/>
                <a:gd name="T16" fmla="*/ 1 w 325"/>
                <a:gd name="T17" fmla="*/ 59 h 543"/>
                <a:gd name="T18" fmla="*/ 2 w 325"/>
                <a:gd name="T19" fmla="*/ 60 h 543"/>
                <a:gd name="T20" fmla="*/ 0 w 325"/>
                <a:gd name="T21" fmla="*/ 64 h 543"/>
                <a:gd name="T22" fmla="*/ 2 w 325"/>
                <a:gd name="T23" fmla="*/ 69 h 543"/>
                <a:gd name="T24" fmla="*/ 3 w 325"/>
                <a:gd name="T25" fmla="*/ 70 h 543"/>
                <a:gd name="T26" fmla="*/ 5 w 325"/>
                <a:gd name="T27" fmla="*/ 70 h 543"/>
                <a:gd name="T28" fmla="*/ 5 w 325"/>
                <a:gd name="T29" fmla="*/ 68 h 543"/>
                <a:gd name="T30" fmla="*/ 10 w 325"/>
                <a:gd name="T31" fmla="*/ 62 h 543"/>
                <a:gd name="T32" fmla="*/ 8 w 325"/>
                <a:gd name="T33" fmla="*/ 59 h 543"/>
                <a:gd name="T34" fmla="*/ 11 w 325"/>
                <a:gd name="T35" fmla="*/ 55 h 543"/>
                <a:gd name="T36" fmla="*/ 14 w 325"/>
                <a:gd name="T37" fmla="*/ 50 h 543"/>
                <a:gd name="T38" fmla="*/ 13 w 325"/>
                <a:gd name="T39" fmla="*/ 49 h 543"/>
                <a:gd name="T40" fmla="*/ 17 w 325"/>
                <a:gd name="T41" fmla="*/ 46 h 543"/>
                <a:gd name="T42" fmla="*/ 18 w 325"/>
                <a:gd name="T43" fmla="*/ 43 h 543"/>
                <a:gd name="T44" fmla="*/ 26 w 325"/>
                <a:gd name="T45" fmla="*/ 40 h 543"/>
                <a:gd name="T46" fmla="*/ 24 w 325"/>
                <a:gd name="T47" fmla="*/ 31 h 543"/>
                <a:gd name="T48" fmla="*/ 28 w 325"/>
                <a:gd name="T49" fmla="*/ 21 h 543"/>
                <a:gd name="T50" fmla="*/ 35 w 325"/>
                <a:gd name="T51" fmla="*/ 13 h 543"/>
                <a:gd name="T52" fmla="*/ 33 w 325"/>
                <a:gd name="T53" fmla="*/ 15 h 543"/>
                <a:gd name="T54" fmla="*/ 26 w 325"/>
                <a:gd name="T55" fmla="*/ 15 h 543"/>
                <a:gd name="T56" fmla="*/ 28 w 325"/>
                <a:gd name="T57" fmla="*/ 11 h 543"/>
                <a:gd name="T58" fmla="*/ 24 w 325"/>
                <a:gd name="T59" fmla="*/ 8 h 543"/>
                <a:gd name="T60" fmla="*/ 21 w 325"/>
                <a:gd name="T61" fmla="*/ 5 h 543"/>
                <a:gd name="T62" fmla="*/ 18 w 325"/>
                <a:gd name="T63" fmla="*/ 1 h 543"/>
                <a:gd name="T64" fmla="*/ 17 w 325"/>
                <a:gd name="T65" fmla="*/ 3 h 543"/>
                <a:gd name="T66" fmla="*/ 13 w 325"/>
                <a:gd name="T67" fmla="*/ 0 h 543"/>
                <a:gd name="T68" fmla="*/ 11 w 325"/>
                <a:gd name="T69" fmla="*/ 3 h 5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25" h="543">
                  <a:moveTo>
                    <a:pt x="100" y="20"/>
                  </a:moveTo>
                  <a:lnTo>
                    <a:pt x="102" y="38"/>
                  </a:lnTo>
                  <a:lnTo>
                    <a:pt x="97" y="45"/>
                  </a:lnTo>
                  <a:lnTo>
                    <a:pt x="87" y="40"/>
                  </a:lnTo>
                  <a:lnTo>
                    <a:pt x="78" y="51"/>
                  </a:lnTo>
                  <a:lnTo>
                    <a:pt x="78" y="78"/>
                  </a:lnTo>
                  <a:lnTo>
                    <a:pt x="45" y="156"/>
                  </a:lnTo>
                  <a:lnTo>
                    <a:pt x="53" y="208"/>
                  </a:lnTo>
                  <a:lnTo>
                    <a:pt x="45" y="241"/>
                  </a:lnTo>
                  <a:lnTo>
                    <a:pt x="58" y="248"/>
                  </a:lnTo>
                  <a:lnTo>
                    <a:pt x="57" y="258"/>
                  </a:lnTo>
                  <a:lnTo>
                    <a:pt x="35" y="266"/>
                  </a:lnTo>
                  <a:lnTo>
                    <a:pt x="27" y="398"/>
                  </a:lnTo>
                  <a:lnTo>
                    <a:pt x="30" y="410"/>
                  </a:lnTo>
                  <a:lnTo>
                    <a:pt x="23" y="423"/>
                  </a:lnTo>
                  <a:lnTo>
                    <a:pt x="17" y="431"/>
                  </a:lnTo>
                  <a:lnTo>
                    <a:pt x="17" y="445"/>
                  </a:lnTo>
                  <a:lnTo>
                    <a:pt x="7" y="451"/>
                  </a:lnTo>
                  <a:lnTo>
                    <a:pt x="7" y="456"/>
                  </a:lnTo>
                  <a:lnTo>
                    <a:pt x="17" y="465"/>
                  </a:lnTo>
                  <a:lnTo>
                    <a:pt x="15" y="481"/>
                  </a:lnTo>
                  <a:lnTo>
                    <a:pt x="0" y="498"/>
                  </a:lnTo>
                  <a:lnTo>
                    <a:pt x="0" y="520"/>
                  </a:lnTo>
                  <a:lnTo>
                    <a:pt x="18" y="530"/>
                  </a:lnTo>
                  <a:lnTo>
                    <a:pt x="20" y="536"/>
                  </a:lnTo>
                  <a:lnTo>
                    <a:pt x="33" y="543"/>
                  </a:lnTo>
                  <a:lnTo>
                    <a:pt x="37" y="540"/>
                  </a:lnTo>
                  <a:lnTo>
                    <a:pt x="50" y="541"/>
                  </a:lnTo>
                  <a:lnTo>
                    <a:pt x="53" y="536"/>
                  </a:lnTo>
                  <a:lnTo>
                    <a:pt x="50" y="525"/>
                  </a:lnTo>
                  <a:lnTo>
                    <a:pt x="52" y="515"/>
                  </a:lnTo>
                  <a:lnTo>
                    <a:pt x="93" y="481"/>
                  </a:lnTo>
                  <a:lnTo>
                    <a:pt x="90" y="458"/>
                  </a:lnTo>
                  <a:lnTo>
                    <a:pt x="77" y="453"/>
                  </a:lnTo>
                  <a:lnTo>
                    <a:pt x="80" y="431"/>
                  </a:lnTo>
                  <a:lnTo>
                    <a:pt x="102" y="425"/>
                  </a:lnTo>
                  <a:lnTo>
                    <a:pt x="112" y="390"/>
                  </a:lnTo>
                  <a:lnTo>
                    <a:pt x="133" y="383"/>
                  </a:lnTo>
                  <a:lnTo>
                    <a:pt x="132" y="375"/>
                  </a:lnTo>
                  <a:lnTo>
                    <a:pt x="123" y="373"/>
                  </a:lnTo>
                  <a:lnTo>
                    <a:pt x="130" y="363"/>
                  </a:lnTo>
                  <a:lnTo>
                    <a:pt x="157" y="353"/>
                  </a:lnTo>
                  <a:lnTo>
                    <a:pt x="163" y="333"/>
                  </a:lnTo>
                  <a:lnTo>
                    <a:pt x="162" y="326"/>
                  </a:lnTo>
                  <a:lnTo>
                    <a:pt x="212" y="321"/>
                  </a:lnTo>
                  <a:lnTo>
                    <a:pt x="239" y="305"/>
                  </a:lnTo>
                  <a:lnTo>
                    <a:pt x="244" y="270"/>
                  </a:lnTo>
                  <a:lnTo>
                    <a:pt x="227" y="235"/>
                  </a:lnTo>
                  <a:lnTo>
                    <a:pt x="232" y="193"/>
                  </a:lnTo>
                  <a:lnTo>
                    <a:pt x="257" y="156"/>
                  </a:lnTo>
                  <a:lnTo>
                    <a:pt x="324" y="123"/>
                  </a:lnTo>
                  <a:lnTo>
                    <a:pt x="325" y="95"/>
                  </a:lnTo>
                  <a:lnTo>
                    <a:pt x="315" y="93"/>
                  </a:lnTo>
                  <a:lnTo>
                    <a:pt x="302" y="110"/>
                  </a:lnTo>
                  <a:lnTo>
                    <a:pt x="270" y="126"/>
                  </a:lnTo>
                  <a:lnTo>
                    <a:pt x="239" y="120"/>
                  </a:lnTo>
                  <a:lnTo>
                    <a:pt x="234" y="110"/>
                  </a:lnTo>
                  <a:lnTo>
                    <a:pt x="259" y="85"/>
                  </a:lnTo>
                  <a:lnTo>
                    <a:pt x="235" y="63"/>
                  </a:lnTo>
                  <a:lnTo>
                    <a:pt x="222" y="61"/>
                  </a:lnTo>
                  <a:lnTo>
                    <a:pt x="217" y="45"/>
                  </a:lnTo>
                  <a:lnTo>
                    <a:pt x="195" y="41"/>
                  </a:lnTo>
                  <a:lnTo>
                    <a:pt x="182" y="11"/>
                  </a:lnTo>
                  <a:lnTo>
                    <a:pt x="165" y="8"/>
                  </a:lnTo>
                  <a:lnTo>
                    <a:pt x="155" y="21"/>
                  </a:lnTo>
                  <a:lnTo>
                    <a:pt x="152" y="20"/>
                  </a:lnTo>
                  <a:lnTo>
                    <a:pt x="137" y="1"/>
                  </a:lnTo>
                  <a:lnTo>
                    <a:pt x="123" y="0"/>
                  </a:lnTo>
                  <a:lnTo>
                    <a:pt x="108" y="16"/>
                  </a:lnTo>
                  <a:lnTo>
                    <a:pt x="100" y="2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90"/>
            <p:cNvSpPr>
              <a:spLocks/>
            </p:cNvSpPr>
            <p:nvPr/>
          </p:nvSpPr>
          <p:spPr bwMode="auto">
            <a:xfrm>
              <a:off x="1506" y="3001"/>
              <a:ext cx="208" cy="361"/>
            </a:xfrm>
            <a:custGeom>
              <a:avLst/>
              <a:gdLst>
                <a:gd name="T0" fmla="*/ 11 w 325"/>
                <a:gd name="T1" fmla="*/ 5 h 543"/>
                <a:gd name="T2" fmla="*/ 10 w 325"/>
                <a:gd name="T3" fmla="*/ 5 h 543"/>
                <a:gd name="T4" fmla="*/ 8 w 325"/>
                <a:gd name="T5" fmla="*/ 10 h 543"/>
                <a:gd name="T6" fmla="*/ 6 w 325"/>
                <a:gd name="T7" fmla="*/ 27 h 543"/>
                <a:gd name="T8" fmla="*/ 6 w 325"/>
                <a:gd name="T9" fmla="*/ 33 h 543"/>
                <a:gd name="T10" fmla="*/ 4 w 325"/>
                <a:gd name="T11" fmla="*/ 35 h 543"/>
                <a:gd name="T12" fmla="*/ 3 w 325"/>
                <a:gd name="T13" fmla="*/ 53 h 543"/>
                <a:gd name="T14" fmla="*/ 2 w 325"/>
                <a:gd name="T15" fmla="*/ 56 h 543"/>
                <a:gd name="T16" fmla="*/ 1 w 325"/>
                <a:gd name="T17" fmla="*/ 59 h 543"/>
                <a:gd name="T18" fmla="*/ 2 w 325"/>
                <a:gd name="T19" fmla="*/ 60 h 543"/>
                <a:gd name="T20" fmla="*/ 0 w 325"/>
                <a:gd name="T21" fmla="*/ 64 h 543"/>
                <a:gd name="T22" fmla="*/ 2 w 325"/>
                <a:gd name="T23" fmla="*/ 69 h 543"/>
                <a:gd name="T24" fmla="*/ 3 w 325"/>
                <a:gd name="T25" fmla="*/ 70 h 543"/>
                <a:gd name="T26" fmla="*/ 5 w 325"/>
                <a:gd name="T27" fmla="*/ 70 h 543"/>
                <a:gd name="T28" fmla="*/ 5 w 325"/>
                <a:gd name="T29" fmla="*/ 68 h 543"/>
                <a:gd name="T30" fmla="*/ 10 w 325"/>
                <a:gd name="T31" fmla="*/ 62 h 543"/>
                <a:gd name="T32" fmla="*/ 8 w 325"/>
                <a:gd name="T33" fmla="*/ 59 h 543"/>
                <a:gd name="T34" fmla="*/ 11 w 325"/>
                <a:gd name="T35" fmla="*/ 55 h 543"/>
                <a:gd name="T36" fmla="*/ 14 w 325"/>
                <a:gd name="T37" fmla="*/ 50 h 543"/>
                <a:gd name="T38" fmla="*/ 13 w 325"/>
                <a:gd name="T39" fmla="*/ 49 h 543"/>
                <a:gd name="T40" fmla="*/ 17 w 325"/>
                <a:gd name="T41" fmla="*/ 46 h 543"/>
                <a:gd name="T42" fmla="*/ 18 w 325"/>
                <a:gd name="T43" fmla="*/ 43 h 543"/>
                <a:gd name="T44" fmla="*/ 26 w 325"/>
                <a:gd name="T45" fmla="*/ 40 h 543"/>
                <a:gd name="T46" fmla="*/ 24 w 325"/>
                <a:gd name="T47" fmla="*/ 31 h 543"/>
                <a:gd name="T48" fmla="*/ 28 w 325"/>
                <a:gd name="T49" fmla="*/ 21 h 543"/>
                <a:gd name="T50" fmla="*/ 35 w 325"/>
                <a:gd name="T51" fmla="*/ 13 h 543"/>
                <a:gd name="T52" fmla="*/ 33 w 325"/>
                <a:gd name="T53" fmla="*/ 15 h 543"/>
                <a:gd name="T54" fmla="*/ 26 w 325"/>
                <a:gd name="T55" fmla="*/ 15 h 543"/>
                <a:gd name="T56" fmla="*/ 28 w 325"/>
                <a:gd name="T57" fmla="*/ 11 h 543"/>
                <a:gd name="T58" fmla="*/ 24 w 325"/>
                <a:gd name="T59" fmla="*/ 8 h 543"/>
                <a:gd name="T60" fmla="*/ 21 w 325"/>
                <a:gd name="T61" fmla="*/ 5 h 543"/>
                <a:gd name="T62" fmla="*/ 18 w 325"/>
                <a:gd name="T63" fmla="*/ 1 h 543"/>
                <a:gd name="T64" fmla="*/ 17 w 325"/>
                <a:gd name="T65" fmla="*/ 3 h 543"/>
                <a:gd name="T66" fmla="*/ 13 w 325"/>
                <a:gd name="T67" fmla="*/ 0 h 543"/>
                <a:gd name="T68" fmla="*/ 11 w 325"/>
                <a:gd name="T69" fmla="*/ 3 h 5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25" h="543">
                  <a:moveTo>
                    <a:pt x="100" y="20"/>
                  </a:moveTo>
                  <a:lnTo>
                    <a:pt x="102" y="38"/>
                  </a:lnTo>
                  <a:lnTo>
                    <a:pt x="97" y="45"/>
                  </a:lnTo>
                  <a:lnTo>
                    <a:pt x="87" y="40"/>
                  </a:lnTo>
                  <a:lnTo>
                    <a:pt x="78" y="51"/>
                  </a:lnTo>
                  <a:lnTo>
                    <a:pt x="78" y="78"/>
                  </a:lnTo>
                  <a:lnTo>
                    <a:pt x="45" y="156"/>
                  </a:lnTo>
                  <a:lnTo>
                    <a:pt x="53" y="208"/>
                  </a:lnTo>
                  <a:lnTo>
                    <a:pt x="45" y="241"/>
                  </a:lnTo>
                  <a:lnTo>
                    <a:pt x="58" y="248"/>
                  </a:lnTo>
                  <a:lnTo>
                    <a:pt x="57" y="258"/>
                  </a:lnTo>
                  <a:lnTo>
                    <a:pt x="35" y="266"/>
                  </a:lnTo>
                  <a:lnTo>
                    <a:pt x="27" y="398"/>
                  </a:lnTo>
                  <a:lnTo>
                    <a:pt x="30" y="410"/>
                  </a:lnTo>
                  <a:lnTo>
                    <a:pt x="23" y="423"/>
                  </a:lnTo>
                  <a:lnTo>
                    <a:pt x="17" y="431"/>
                  </a:lnTo>
                  <a:lnTo>
                    <a:pt x="17" y="445"/>
                  </a:lnTo>
                  <a:lnTo>
                    <a:pt x="7" y="451"/>
                  </a:lnTo>
                  <a:lnTo>
                    <a:pt x="7" y="456"/>
                  </a:lnTo>
                  <a:lnTo>
                    <a:pt x="17" y="465"/>
                  </a:lnTo>
                  <a:lnTo>
                    <a:pt x="15" y="481"/>
                  </a:lnTo>
                  <a:lnTo>
                    <a:pt x="0" y="498"/>
                  </a:lnTo>
                  <a:lnTo>
                    <a:pt x="0" y="520"/>
                  </a:lnTo>
                  <a:lnTo>
                    <a:pt x="18" y="530"/>
                  </a:lnTo>
                  <a:lnTo>
                    <a:pt x="20" y="536"/>
                  </a:lnTo>
                  <a:lnTo>
                    <a:pt x="33" y="543"/>
                  </a:lnTo>
                  <a:lnTo>
                    <a:pt x="37" y="540"/>
                  </a:lnTo>
                  <a:lnTo>
                    <a:pt x="50" y="541"/>
                  </a:lnTo>
                  <a:lnTo>
                    <a:pt x="53" y="536"/>
                  </a:lnTo>
                  <a:lnTo>
                    <a:pt x="50" y="525"/>
                  </a:lnTo>
                  <a:lnTo>
                    <a:pt x="52" y="515"/>
                  </a:lnTo>
                  <a:lnTo>
                    <a:pt x="93" y="481"/>
                  </a:lnTo>
                  <a:lnTo>
                    <a:pt x="90" y="458"/>
                  </a:lnTo>
                  <a:lnTo>
                    <a:pt x="77" y="453"/>
                  </a:lnTo>
                  <a:lnTo>
                    <a:pt x="80" y="431"/>
                  </a:lnTo>
                  <a:lnTo>
                    <a:pt x="102" y="425"/>
                  </a:lnTo>
                  <a:lnTo>
                    <a:pt x="112" y="390"/>
                  </a:lnTo>
                  <a:lnTo>
                    <a:pt x="133" y="383"/>
                  </a:lnTo>
                  <a:lnTo>
                    <a:pt x="132" y="375"/>
                  </a:lnTo>
                  <a:lnTo>
                    <a:pt x="123" y="373"/>
                  </a:lnTo>
                  <a:lnTo>
                    <a:pt x="130" y="363"/>
                  </a:lnTo>
                  <a:lnTo>
                    <a:pt x="157" y="353"/>
                  </a:lnTo>
                  <a:lnTo>
                    <a:pt x="163" y="333"/>
                  </a:lnTo>
                  <a:lnTo>
                    <a:pt x="162" y="326"/>
                  </a:lnTo>
                  <a:lnTo>
                    <a:pt x="212" y="321"/>
                  </a:lnTo>
                  <a:lnTo>
                    <a:pt x="239" y="305"/>
                  </a:lnTo>
                  <a:lnTo>
                    <a:pt x="244" y="270"/>
                  </a:lnTo>
                  <a:lnTo>
                    <a:pt x="227" y="235"/>
                  </a:lnTo>
                  <a:lnTo>
                    <a:pt x="232" y="193"/>
                  </a:lnTo>
                  <a:lnTo>
                    <a:pt x="257" y="156"/>
                  </a:lnTo>
                  <a:lnTo>
                    <a:pt x="324" y="123"/>
                  </a:lnTo>
                  <a:lnTo>
                    <a:pt x="325" y="95"/>
                  </a:lnTo>
                  <a:lnTo>
                    <a:pt x="315" y="93"/>
                  </a:lnTo>
                  <a:lnTo>
                    <a:pt x="302" y="110"/>
                  </a:lnTo>
                  <a:lnTo>
                    <a:pt x="270" y="126"/>
                  </a:lnTo>
                  <a:lnTo>
                    <a:pt x="239" y="120"/>
                  </a:lnTo>
                  <a:lnTo>
                    <a:pt x="234" y="110"/>
                  </a:lnTo>
                  <a:lnTo>
                    <a:pt x="259" y="85"/>
                  </a:lnTo>
                  <a:lnTo>
                    <a:pt x="235" y="63"/>
                  </a:lnTo>
                  <a:lnTo>
                    <a:pt x="222" y="61"/>
                  </a:lnTo>
                  <a:lnTo>
                    <a:pt x="217" y="45"/>
                  </a:lnTo>
                  <a:lnTo>
                    <a:pt x="195" y="41"/>
                  </a:lnTo>
                  <a:lnTo>
                    <a:pt x="182" y="11"/>
                  </a:lnTo>
                  <a:lnTo>
                    <a:pt x="165" y="8"/>
                  </a:lnTo>
                  <a:lnTo>
                    <a:pt x="155" y="21"/>
                  </a:lnTo>
                  <a:lnTo>
                    <a:pt x="152" y="20"/>
                  </a:lnTo>
                  <a:lnTo>
                    <a:pt x="137" y="1"/>
                  </a:lnTo>
                  <a:lnTo>
                    <a:pt x="123" y="0"/>
                  </a:lnTo>
                  <a:lnTo>
                    <a:pt x="108" y="16"/>
                  </a:lnTo>
                  <a:lnTo>
                    <a:pt x="100" y="2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91"/>
            <p:cNvSpPr>
              <a:spLocks/>
            </p:cNvSpPr>
            <p:nvPr/>
          </p:nvSpPr>
          <p:spPr bwMode="auto">
            <a:xfrm>
              <a:off x="1651" y="3104"/>
              <a:ext cx="60" cy="67"/>
            </a:xfrm>
            <a:custGeom>
              <a:avLst/>
              <a:gdLst>
                <a:gd name="T0" fmla="*/ 3 w 92"/>
                <a:gd name="T1" fmla="*/ 0 h 100"/>
                <a:gd name="T2" fmla="*/ 5 w 92"/>
                <a:gd name="T3" fmla="*/ 1 h 100"/>
                <a:gd name="T4" fmla="*/ 5 w 92"/>
                <a:gd name="T5" fmla="*/ 3 h 100"/>
                <a:gd name="T6" fmla="*/ 7 w 92"/>
                <a:gd name="T7" fmla="*/ 3 h 100"/>
                <a:gd name="T8" fmla="*/ 9 w 92"/>
                <a:gd name="T9" fmla="*/ 6 h 100"/>
                <a:gd name="T10" fmla="*/ 9 w 92"/>
                <a:gd name="T11" fmla="*/ 7 h 100"/>
                <a:gd name="T12" fmla="*/ 10 w 92"/>
                <a:gd name="T13" fmla="*/ 10 h 100"/>
                <a:gd name="T14" fmla="*/ 8 w 92"/>
                <a:gd name="T15" fmla="*/ 13 h 100"/>
                <a:gd name="T16" fmla="*/ 3 w 92"/>
                <a:gd name="T17" fmla="*/ 13 h 100"/>
                <a:gd name="T18" fmla="*/ 0 w 92"/>
                <a:gd name="T19" fmla="*/ 11 h 100"/>
                <a:gd name="T20" fmla="*/ 1 w 92"/>
                <a:gd name="T21" fmla="*/ 5 h 100"/>
                <a:gd name="T22" fmla="*/ 3 w 92"/>
                <a:gd name="T23" fmla="*/ 0 h 100"/>
                <a:gd name="T24" fmla="*/ 3 w 92"/>
                <a:gd name="T25" fmla="*/ 0 h 1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2" h="100">
                  <a:moveTo>
                    <a:pt x="30" y="0"/>
                  </a:moveTo>
                  <a:lnTo>
                    <a:pt x="45" y="10"/>
                  </a:lnTo>
                  <a:lnTo>
                    <a:pt x="45" y="25"/>
                  </a:lnTo>
                  <a:lnTo>
                    <a:pt x="60" y="27"/>
                  </a:lnTo>
                  <a:lnTo>
                    <a:pt x="78" y="45"/>
                  </a:lnTo>
                  <a:lnTo>
                    <a:pt x="77" y="55"/>
                  </a:lnTo>
                  <a:lnTo>
                    <a:pt x="92" y="75"/>
                  </a:lnTo>
                  <a:lnTo>
                    <a:pt x="65" y="100"/>
                  </a:lnTo>
                  <a:lnTo>
                    <a:pt x="23" y="92"/>
                  </a:lnTo>
                  <a:lnTo>
                    <a:pt x="0" y="79"/>
                  </a:lnTo>
                  <a:lnTo>
                    <a:pt x="5" y="37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92"/>
            <p:cNvSpPr>
              <a:spLocks/>
            </p:cNvSpPr>
            <p:nvPr/>
          </p:nvSpPr>
          <p:spPr bwMode="auto">
            <a:xfrm>
              <a:off x="1651" y="3104"/>
              <a:ext cx="60" cy="67"/>
            </a:xfrm>
            <a:custGeom>
              <a:avLst/>
              <a:gdLst>
                <a:gd name="T0" fmla="*/ 3 w 92"/>
                <a:gd name="T1" fmla="*/ 0 h 100"/>
                <a:gd name="T2" fmla="*/ 5 w 92"/>
                <a:gd name="T3" fmla="*/ 1 h 100"/>
                <a:gd name="T4" fmla="*/ 5 w 92"/>
                <a:gd name="T5" fmla="*/ 3 h 100"/>
                <a:gd name="T6" fmla="*/ 7 w 92"/>
                <a:gd name="T7" fmla="*/ 3 h 100"/>
                <a:gd name="T8" fmla="*/ 9 w 92"/>
                <a:gd name="T9" fmla="*/ 6 h 100"/>
                <a:gd name="T10" fmla="*/ 9 w 92"/>
                <a:gd name="T11" fmla="*/ 7 h 100"/>
                <a:gd name="T12" fmla="*/ 10 w 92"/>
                <a:gd name="T13" fmla="*/ 10 h 100"/>
                <a:gd name="T14" fmla="*/ 8 w 92"/>
                <a:gd name="T15" fmla="*/ 13 h 100"/>
                <a:gd name="T16" fmla="*/ 3 w 92"/>
                <a:gd name="T17" fmla="*/ 13 h 100"/>
                <a:gd name="T18" fmla="*/ 0 w 92"/>
                <a:gd name="T19" fmla="*/ 11 h 100"/>
                <a:gd name="T20" fmla="*/ 1 w 92"/>
                <a:gd name="T21" fmla="*/ 5 h 100"/>
                <a:gd name="T22" fmla="*/ 3 w 92"/>
                <a:gd name="T23" fmla="*/ 0 h 100"/>
                <a:gd name="T24" fmla="*/ 3 w 92"/>
                <a:gd name="T25" fmla="*/ 0 h 1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2" h="100">
                  <a:moveTo>
                    <a:pt x="30" y="0"/>
                  </a:moveTo>
                  <a:lnTo>
                    <a:pt x="45" y="10"/>
                  </a:lnTo>
                  <a:lnTo>
                    <a:pt x="45" y="25"/>
                  </a:lnTo>
                  <a:lnTo>
                    <a:pt x="60" y="27"/>
                  </a:lnTo>
                  <a:lnTo>
                    <a:pt x="78" y="45"/>
                  </a:lnTo>
                  <a:lnTo>
                    <a:pt x="77" y="55"/>
                  </a:lnTo>
                  <a:lnTo>
                    <a:pt x="92" y="75"/>
                  </a:lnTo>
                  <a:lnTo>
                    <a:pt x="65" y="100"/>
                  </a:lnTo>
                  <a:lnTo>
                    <a:pt x="23" y="92"/>
                  </a:lnTo>
                  <a:lnTo>
                    <a:pt x="0" y="79"/>
                  </a:lnTo>
                  <a:lnTo>
                    <a:pt x="5" y="37"/>
                  </a:lnTo>
                  <a:lnTo>
                    <a:pt x="3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93"/>
            <p:cNvSpPr>
              <a:spLocks/>
            </p:cNvSpPr>
            <p:nvPr/>
          </p:nvSpPr>
          <p:spPr bwMode="auto">
            <a:xfrm>
              <a:off x="1544" y="2862"/>
              <a:ext cx="141" cy="152"/>
            </a:xfrm>
            <a:custGeom>
              <a:avLst/>
              <a:gdLst>
                <a:gd name="T0" fmla="*/ 0 w 221"/>
                <a:gd name="T1" fmla="*/ 16 h 230"/>
                <a:gd name="T2" fmla="*/ 2 w 221"/>
                <a:gd name="T3" fmla="*/ 16 h 230"/>
                <a:gd name="T4" fmla="*/ 3 w 221"/>
                <a:gd name="T5" fmla="*/ 28 h 230"/>
                <a:gd name="T6" fmla="*/ 4 w 221"/>
                <a:gd name="T7" fmla="*/ 29 h 230"/>
                <a:gd name="T8" fmla="*/ 6 w 221"/>
                <a:gd name="T9" fmla="*/ 28 h 230"/>
                <a:gd name="T10" fmla="*/ 7 w 221"/>
                <a:gd name="T11" fmla="*/ 26 h 230"/>
                <a:gd name="T12" fmla="*/ 8 w 221"/>
                <a:gd name="T13" fmla="*/ 26 h 230"/>
                <a:gd name="T14" fmla="*/ 10 w 221"/>
                <a:gd name="T15" fmla="*/ 29 h 230"/>
                <a:gd name="T16" fmla="*/ 11 w 221"/>
                <a:gd name="T17" fmla="*/ 29 h 230"/>
                <a:gd name="T18" fmla="*/ 11 w 221"/>
                <a:gd name="T19" fmla="*/ 28 h 230"/>
                <a:gd name="T20" fmla="*/ 13 w 221"/>
                <a:gd name="T21" fmla="*/ 28 h 230"/>
                <a:gd name="T22" fmla="*/ 15 w 221"/>
                <a:gd name="T23" fmla="*/ 24 h 230"/>
                <a:gd name="T24" fmla="*/ 17 w 221"/>
                <a:gd name="T25" fmla="*/ 24 h 230"/>
                <a:gd name="T26" fmla="*/ 21 w 221"/>
                <a:gd name="T27" fmla="*/ 24 h 230"/>
                <a:gd name="T28" fmla="*/ 21 w 221"/>
                <a:gd name="T29" fmla="*/ 24 h 230"/>
                <a:gd name="T30" fmla="*/ 22 w 221"/>
                <a:gd name="T31" fmla="*/ 25 h 230"/>
                <a:gd name="T32" fmla="*/ 22 w 221"/>
                <a:gd name="T33" fmla="*/ 24 h 230"/>
                <a:gd name="T34" fmla="*/ 23 w 221"/>
                <a:gd name="T35" fmla="*/ 22 h 230"/>
                <a:gd name="T36" fmla="*/ 22 w 221"/>
                <a:gd name="T37" fmla="*/ 17 h 230"/>
                <a:gd name="T38" fmla="*/ 20 w 221"/>
                <a:gd name="T39" fmla="*/ 17 h 230"/>
                <a:gd name="T40" fmla="*/ 19 w 221"/>
                <a:gd name="T41" fmla="*/ 14 h 230"/>
                <a:gd name="T42" fmla="*/ 19 w 221"/>
                <a:gd name="T43" fmla="*/ 13 h 230"/>
                <a:gd name="T44" fmla="*/ 19 w 221"/>
                <a:gd name="T45" fmla="*/ 13 h 230"/>
                <a:gd name="T46" fmla="*/ 19 w 221"/>
                <a:gd name="T47" fmla="*/ 11 h 230"/>
                <a:gd name="T48" fmla="*/ 14 w 221"/>
                <a:gd name="T49" fmla="*/ 7 h 230"/>
                <a:gd name="T50" fmla="*/ 12 w 221"/>
                <a:gd name="T51" fmla="*/ 6 h 230"/>
                <a:gd name="T52" fmla="*/ 10 w 221"/>
                <a:gd name="T53" fmla="*/ 4 h 230"/>
                <a:gd name="T54" fmla="*/ 11 w 221"/>
                <a:gd name="T55" fmla="*/ 3 h 230"/>
                <a:gd name="T56" fmla="*/ 12 w 221"/>
                <a:gd name="T57" fmla="*/ 1 h 230"/>
                <a:gd name="T58" fmla="*/ 11 w 221"/>
                <a:gd name="T59" fmla="*/ 0 h 230"/>
                <a:gd name="T60" fmla="*/ 6 w 221"/>
                <a:gd name="T61" fmla="*/ 1 h 230"/>
                <a:gd name="T62" fmla="*/ 5 w 221"/>
                <a:gd name="T63" fmla="*/ 1 h 230"/>
                <a:gd name="T64" fmla="*/ 4 w 221"/>
                <a:gd name="T65" fmla="*/ 1 h 230"/>
                <a:gd name="T66" fmla="*/ 3 w 221"/>
                <a:gd name="T67" fmla="*/ 2 h 230"/>
                <a:gd name="T68" fmla="*/ 1 w 221"/>
                <a:gd name="T69" fmla="*/ 2 h 230"/>
                <a:gd name="T70" fmla="*/ 3 w 221"/>
                <a:gd name="T71" fmla="*/ 7 h 230"/>
                <a:gd name="T72" fmla="*/ 2 w 221"/>
                <a:gd name="T73" fmla="*/ 11 h 230"/>
                <a:gd name="T74" fmla="*/ 2 w 221"/>
                <a:gd name="T75" fmla="*/ 14 h 230"/>
                <a:gd name="T76" fmla="*/ 0 w 221"/>
                <a:gd name="T77" fmla="*/ 16 h 230"/>
                <a:gd name="T78" fmla="*/ 0 w 221"/>
                <a:gd name="T79" fmla="*/ 16 h 23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21" h="230">
                  <a:moveTo>
                    <a:pt x="0" y="123"/>
                  </a:moveTo>
                  <a:lnTo>
                    <a:pt x="15" y="126"/>
                  </a:lnTo>
                  <a:lnTo>
                    <a:pt x="32" y="216"/>
                  </a:lnTo>
                  <a:lnTo>
                    <a:pt x="42" y="230"/>
                  </a:lnTo>
                  <a:lnTo>
                    <a:pt x="54" y="226"/>
                  </a:lnTo>
                  <a:lnTo>
                    <a:pt x="65" y="210"/>
                  </a:lnTo>
                  <a:lnTo>
                    <a:pt x="79" y="211"/>
                  </a:lnTo>
                  <a:lnTo>
                    <a:pt x="94" y="230"/>
                  </a:lnTo>
                  <a:lnTo>
                    <a:pt x="99" y="230"/>
                  </a:lnTo>
                  <a:lnTo>
                    <a:pt x="107" y="218"/>
                  </a:lnTo>
                  <a:lnTo>
                    <a:pt x="126" y="221"/>
                  </a:lnTo>
                  <a:lnTo>
                    <a:pt x="137" y="195"/>
                  </a:lnTo>
                  <a:lnTo>
                    <a:pt x="164" y="185"/>
                  </a:lnTo>
                  <a:lnTo>
                    <a:pt x="202" y="185"/>
                  </a:lnTo>
                  <a:lnTo>
                    <a:pt x="201" y="195"/>
                  </a:lnTo>
                  <a:lnTo>
                    <a:pt x="211" y="201"/>
                  </a:lnTo>
                  <a:lnTo>
                    <a:pt x="212" y="190"/>
                  </a:lnTo>
                  <a:lnTo>
                    <a:pt x="221" y="180"/>
                  </a:lnTo>
                  <a:lnTo>
                    <a:pt x="211" y="138"/>
                  </a:lnTo>
                  <a:lnTo>
                    <a:pt x="184" y="130"/>
                  </a:lnTo>
                  <a:lnTo>
                    <a:pt x="179" y="111"/>
                  </a:lnTo>
                  <a:lnTo>
                    <a:pt x="172" y="106"/>
                  </a:lnTo>
                  <a:lnTo>
                    <a:pt x="174" y="100"/>
                  </a:lnTo>
                  <a:lnTo>
                    <a:pt x="182" y="93"/>
                  </a:lnTo>
                  <a:lnTo>
                    <a:pt x="134" y="53"/>
                  </a:lnTo>
                  <a:lnTo>
                    <a:pt x="109" y="48"/>
                  </a:lnTo>
                  <a:lnTo>
                    <a:pt x="94" y="28"/>
                  </a:lnTo>
                  <a:lnTo>
                    <a:pt x="105" y="23"/>
                  </a:lnTo>
                  <a:lnTo>
                    <a:pt x="109" y="2"/>
                  </a:lnTo>
                  <a:lnTo>
                    <a:pt x="97" y="0"/>
                  </a:lnTo>
                  <a:lnTo>
                    <a:pt x="54" y="7"/>
                  </a:lnTo>
                  <a:lnTo>
                    <a:pt x="50" y="3"/>
                  </a:lnTo>
                  <a:lnTo>
                    <a:pt x="35" y="3"/>
                  </a:lnTo>
                  <a:lnTo>
                    <a:pt x="29" y="18"/>
                  </a:lnTo>
                  <a:lnTo>
                    <a:pt x="12" y="15"/>
                  </a:lnTo>
                  <a:lnTo>
                    <a:pt x="30" y="58"/>
                  </a:lnTo>
                  <a:lnTo>
                    <a:pt x="15" y="88"/>
                  </a:lnTo>
                  <a:lnTo>
                    <a:pt x="14" y="11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94"/>
            <p:cNvSpPr>
              <a:spLocks/>
            </p:cNvSpPr>
            <p:nvPr/>
          </p:nvSpPr>
          <p:spPr bwMode="auto">
            <a:xfrm>
              <a:off x="1544" y="2862"/>
              <a:ext cx="141" cy="152"/>
            </a:xfrm>
            <a:custGeom>
              <a:avLst/>
              <a:gdLst>
                <a:gd name="T0" fmla="*/ 0 w 221"/>
                <a:gd name="T1" fmla="*/ 16 h 230"/>
                <a:gd name="T2" fmla="*/ 2 w 221"/>
                <a:gd name="T3" fmla="*/ 16 h 230"/>
                <a:gd name="T4" fmla="*/ 3 w 221"/>
                <a:gd name="T5" fmla="*/ 28 h 230"/>
                <a:gd name="T6" fmla="*/ 4 w 221"/>
                <a:gd name="T7" fmla="*/ 29 h 230"/>
                <a:gd name="T8" fmla="*/ 6 w 221"/>
                <a:gd name="T9" fmla="*/ 28 h 230"/>
                <a:gd name="T10" fmla="*/ 7 w 221"/>
                <a:gd name="T11" fmla="*/ 26 h 230"/>
                <a:gd name="T12" fmla="*/ 8 w 221"/>
                <a:gd name="T13" fmla="*/ 26 h 230"/>
                <a:gd name="T14" fmla="*/ 10 w 221"/>
                <a:gd name="T15" fmla="*/ 29 h 230"/>
                <a:gd name="T16" fmla="*/ 11 w 221"/>
                <a:gd name="T17" fmla="*/ 29 h 230"/>
                <a:gd name="T18" fmla="*/ 11 w 221"/>
                <a:gd name="T19" fmla="*/ 28 h 230"/>
                <a:gd name="T20" fmla="*/ 13 w 221"/>
                <a:gd name="T21" fmla="*/ 28 h 230"/>
                <a:gd name="T22" fmla="*/ 15 w 221"/>
                <a:gd name="T23" fmla="*/ 24 h 230"/>
                <a:gd name="T24" fmla="*/ 17 w 221"/>
                <a:gd name="T25" fmla="*/ 24 h 230"/>
                <a:gd name="T26" fmla="*/ 21 w 221"/>
                <a:gd name="T27" fmla="*/ 24 h 230"/>
                <a:gd name="T28" fmla="*/ 21 w 221"/>
                <a:gd name="T29" fmla="*/ 24 h 230"/>
                <a:gd name="T30" fmla="*/ 22 w 221"/>
                <a:gd name="T31" fmla="*/ 25 h 230"/>
                <a:gd name="T32" fmla="*/ 22 w 221"/>
                <a:gd name="T33" fmla="*/ 24 h 230"/>
                <a:gd name="T34" fmla="*/ 23 w 221"/>
                <a:gd name="T35" fmla="*/ 22 h 230"/>
                <a:gd name="T36" fmla="*/ 22 w 221"/>
                <a:gd name="T37" fmla="*/ 17 h 230"/>
                <a:gd name="T38" fmla="*/ 20 w 221"/>
                <a:gd name="T39" fmla="*/ 17 h 230"/>
                <a:gd name="T40" fmla="*/ 19 w 221"/>
                <a:gd name="T41" fmla="*/ 14 h 230"/>
                <a:gd name="T42" fmla="*/ 19 w 221"/>
                <a:gd name="T43" fmla="*/ 13 h 230"/>
                <a:gd name="T44" fmla="*/ 19 w 221"/>
                <a:gd name="T45" fmla="*/ 13 h 230"/>
                <a:gd name="T46" fmla="*/ 19 w 221"/>
                <a:gd name="T47" fmla="*/ 11 h 230"/>
                <a:gd name="T48" fmla="*/ 14 w 221"/>
                <a:gd name="T49" fmla="*/ 7 h 230"/>
                <a:gd name="T50" fmla="*/ 12 w 221"/>
                <a:gd name="T51" fmla="*/ 6 h 230"/>
                <a:gd name="T52" fmla="*/ 10 w 221"/>
                <a:gd name="T53" fmla="*/ 4 h 230"/>
                <a:gd name="T54" fmla="*/ 11 w 221"/>
                <a:gd name="T55" fmla="*/ 3 h 230"/>
                <a:gd name="T56" fmla="*/ 12 w 221"/>
                <a:gd name="T57" fmla="*/ 1 h 230"/>
                <a:gd name="T58" fmla="*/ 11 w 221"/>
                <a:gd name="T59" fmla="*/ 0 h 230"/>
                <a:gd name="T60" fmla="*/ 6 w 221"/>
                <a:gd name="T61" fmla="*/ 1 h 230"/>
                <a:gd name="T62" fmla="*/ 5 w 221"/>
                <a:gd name="T63" fmla="*/ 1 h 230"/>
                <a:gd name="T64" fmla="*/ 4 w 221"/>
                <a:gd name="T65" fmla="*/ 1 h 230"/>
                <a:gd name="T66" fmla="*/ 3 w 221"/>
                <a:gd name="T67" fmla="*/ 2 h 230"/>
                <a:gd name="T68" fmla="*/ 1 w 221"/>
                <a:gd name="T69" fmla="*/ 2 h 230"/>
                <a:gd name="T70" fmla="*/ 3 w 221"/>
                <a:gd name="T71" fmla="*/ 7 h 230"/>
                <a:gd name="T72" fmla="*/ 2 w 221"/>
                <a:gd name="T73" fmla="*/ 11 h 230"/>
                <a:gd name="T74" fmla="*/ 2 w 221"/>
                <a:gd name="T75" fmla="*/ 14 h 230"/>
                <a:gd name="T76" fmla="*/ 0 w 221"/>
                <a:gd name="T77" fmla="*/ 16 h 230"/>
                <a:gd name="T78" fmla="*/ 0 w 221"/>
                <a:gd name="T79" fmla="*/ 16 h 23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21" h="230">
                  <a:moveTo>
                    <a:pt x="0" y="123"/>
                  </a:moveTo>
                  <a:lnTo>
                    <a:pt x="15" y="126"/>
                  </a:lnTo>
                  <a:lnTo>
                    <a:pt x="32" y="216"/>
                  </a:lnTo>
                  <a:lnTo>
                    <a:pt x="42" y="230"/>
                  </a:lnTo>
                  <a:lnTo>
                    <a:pt x="54" y="226"/>
                  </a:lnTo>
                  <a:lnTo>
                    <a:pt x="65" y="210"/>
                  </a:lnTo>
                  <a:lnTo>
                    <a:pt x="79" y="211"/>
                  </a:lnTo>
                  <a:lnTo>
                    <a:pt x="94" y="230"/>
                  </a:lnTo>
                  <a:lnTo>
                    <a:pt x="99" y="230"/>
                  </a:lnTo>
                  <a:lnTo>
                    <a:pt x="107" y="218"/>
                  </a:lnTo>
                  <a:lnTo>
                    <a:pt x="126" y="221"/>
                  </a:lnTo>
                  <a:lnTo>
                    <a:pt x="137" y="195"/>
                  </a:lnTo>
                  <a:lnTo>
                    <a:pt x="164" y="185"/>
                  </a:lnTo>
                  <a:lnTo>
                    <a:pt x="202" y="185"/>
                  </a:lnTo>
                  <a:lnTo>
                    <a:pt x="201" y="195"/>
                  </a:lnTo>
                  <a:lnTo>
                    <a:pt x="211" y="201"/>
                  </a:lnTo>
                  <a:lnTo>
                    <a:pt x="212" y="190"/>
                  </a:lnTo>
                  <a:lnTo>
                    <a:pt x="221" y="180"/>
                  </a:lnTo>
                  <a:lnTo>
                    <a:pt x="211" y="138"/>
                  </a:lnTo>
                  <a:lnTo>
                    <a:pt x="184" y="130"/>
                  </a:lnTo>
                  <a:lnTo>
                    <a:pt x="179" y="111"/>
                  </a:lnTo>
                  <a:lnTo>
                    <a:pt x="172" y="106"/>
                  </a:lnTo>
                  <a:lnTo>
                    <a:pt x="174" y="100"/>
                  </a:lnTo>
                  <a:lnTo>
                    <a:pt x="182" y="93"/>
                  </a:lnTo>
                  <a:lnTo>
                    <a:pt x="134" y="53"/>
                  </a:lnTo>
                  <a:lnTo>
                    <a:pt x="109" y="48"/>
                  </a:lnTo>
                  <a:lnTo>
                    <a:pt x="94" y="28"/>
                  </a:lnTo>
                  <a:lnTo>
                    <a:pt x="105" y="23"/>
                  </a:lnTo>
                  <a:lnTo>
                    <a:pt x="109" y="2"/>
                  </a:lnTo>
                  <a:lnTo>
                    <a:pt x="97" y="0"/>
                  </a:lnTo>
                  <a:lnTo>
                    <a:pt x="54" y="7"/>
                  </a:lnTo>
                  <a:lnTo>
                    <a:pt x="50" y="3"/>
                  </a:lnTo>
                  <a:lnTo>
                    <a:pt x="35" y="3"/>
                  </a:lnTo>
                  <a:lnTo>
                    <a:pt x="29" y="18"/>
                  </a:lnTo>
                  <a:lnTo>
                    <a:pt x="12" y="15"/>
                  </a:lnTo>
                  <a:lnTo>
                    <a:pt x="30" y="58"/>
                  </a:lnTo>
                  <a:lnTo>
                    <a:pt x="15" y="88"/>
                  </a:lnTo>
                  <a:lnTo>
                    <a:pt x="14" y="110"/>
                  </a:lnTo>
                  <a:lnTo>
                    <a:pt x="0" y="12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95"/>
            <p:cNvSpPr>
              <a:spLocks/>
            </p:cNvSpPr>
            <p:nvPr/>
          </p:nvSpPr>
          <p:spPr bwMode="auto">
            <a:xfrm>
              <a:off x="1623" y="2983"/>
              <a:ext cx="91" cy="101"/>
            </a:xfrm>
            <a:custGeom>
              <a:avLst/>
              <a:gdLst>
                <a:gd name="T0" fmla="*/ 9 w 143"/>
                <a:gd name="T1" fmla="*/ 2 h 151"/>
                <a:gd name="T2" fmla="*/ 9 w 143"/>
                <a:gd name="T3" fmla="*/ 6 h 151"/>
                <a:gd name="T4" fmla="*/ 10 w 143"/>
                <a:gd name="T5" fmla="*/ 7 h 151"/>
                <a:gd name="T6" fmla="*/ 11 w 143"/>
                <a:gd name="T7" fmla="*/ 7 h 151"/>
                <a:gd name="T8" fmla="*/ 14 w 143"/>
                <a:gd name="T9" fmla="*/ 9 h 151"/>
                <a:gd name="T10" fmla="*/ 14 w 143"/>
                <a:gd name="T11" fmla="*/ 11 h 151"/>
                <a:gd name="T12" fmla="*/ 15 w 143"/>
                <a:gd name="T13" fmla="*/ 13 h 151"/>
                <a:gd name="T14" fmla="*/ 15 w 143"/>
                <a:gd name="T15" fmla="*/ 16 h 151"/>
                <a:gd name="T16" fmla="*/ 14 w 143"/>
                <a:gd name="T17" fmla="*/ 15 h 151"/>
                <a:gd name="T18" fmla="*/ 13 w 143"/>
                <a:gd name="T19" fmla="*/ 18 h 151"/>
                <a:gd name="T20" fmla="*/ 10 w 143"/>
                <a:gd name="T21" fmla="*/ 20 h 151"/>
                <a:gd name="T22" fmla="*/ 6 w 143"/>
                <a:gd name="T23" fmla="*/ 19 h 151"/>
                <a:gd name="T24" fmla="*/ 5 w 143"/>
                <a:gd name="T25" fmla="*/ 18 h 151"/>
                <a:gd name="T26" fmla="*/ 8 w 143"/>
                <a:gd name="T27" fmla="*/ 15 h 151"/>
                <a:gd name="T28" fmla="*/ 6 w 143"/>
                <a:gd name="T29" fmla="*/ 11 h 151"/>
                <a:gd name="T30" fmla="*/ 4 w 143"/>
                <a:gd name="T31" fmla="*/ 11 h 151"/>
                <a:gd name="T32" fmla="*/ 4 w 143"/>
                <a:gd name="T33" fmla="*/ 9 h 151"/>
                <a:gd name="T34" fmla="*/ 2 w 143"/>
                <a:gd name="T35" fmla="*/ 9 h 151"/>
                <a:gd name="T36" fmla="*/ 0 w 143"/>
                <a:gd name="T37" fmla="*/ 5 h 151"/>
                <a:gd name="T38" fmla="*/ 1 w 143"/>
                <a:gd name="T39" fmla="*/ 1 h 151"/>
                <a:gd name="T40" fmla="*/ 4 w 143"/>
                <a:gd name="T41" fmla="*/ 0 h 151"/>
                <a:gd name="T42" fmla="*/ 8 w 143"/>
                <a:gd name="T43" fmla="*/ 0 h 151"/>
                <a:gd name="T44" fmla="*/ 8 w 143"/>
                <a:gd name="T45" fmla="*/ 1 h 151"/>
                <a:gd name="T46" fmla="*/ 9 w 143"/>
                <a:gd name="T47" fmla="*/ 2 h 151"/>
                <a:gd name="T48" fmla="*/ 9 w 143"/>
                <a:gd name="T49" fmla="*/ 2 h 1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3" h="151">
                  <a:moveTo>
                    <a:pt x="87" y="16"/>
                  </a:moveTo>
                  <a:lnTo>
                    <a:pt x="83" y="43"/>
                  </a:lnTo>
                  <a:lnTo>
                    <a:pt x="92" y="55"/>
                  </a:lnTo>
                  <a:lnTo>
                    <a:pt x="103" y="51"/>
                  </a:lnTo>
                  <a:lnTo>
                    <a:pt x="133" y="71"/>
                  </a:lnTo>
                  <a:lnTo>
                    <a:pt x="130" y="88"/>
                  </a:lnTo>
                  <a:lnTo>
                    <a:pt x="143" y="98"/>
                  </a:lnTo>
                  <a:lnTo>
                    <a:pt x="140" y="120"/>
                  </a:lnTo>
                  <a:lnTo>
                    <a:pt x="133" y="118"/>
                  </a:lnTo>
                  <a:lnTo>
                    <a:pt x="120" y="135"/>
                  </a:lnTo>
                  <a:lnTo>
                    <a:pt x="88" y="151"/>
                  </a:lnTo>
                  <a:lnTo>
                    <a:pt x="55" y="145"/>
                  </a:lnTo>
                  <a:lnTo>
                    <a:pt x="52" y="135"/>
                  </a:lnTo>
                  <a:lnTo>
                    <a:pt x="75" y="110"/>
                  </a:lnTo>
                  <a:lnTo>
                    <a:pt x="55" y="88"/>
                  </a:lnTo>
                  <a:lnTo>
                    <a:pt x="40" y="86"/>
                  </a:lnTo>
                  <a:lnTo>
                    <a:pt x="35" y="71"/>
                  </a:lnTo>
                  <a:lnTo>
                    <a:pt x="15" y="68"/>
                  </a:lnTo>
                  <a:lnTo>
                    <a:pt x="0" y="36"/>
                  </a:lnTo>
                  <a:lnTo>
                    <a:pt x="13" y="10"/>
                  </a:lnTo>
                  <a:lnTo>
                    <a:pt x="40" y="0"/>
                  </a:lnTo>
                  <a:lnTo>
                    <a:pt x="78" y="0"/>
                  </a:lnTo>
                  <a:lnTo>
                    <a:pt x="77" y="10"/>
                  </a:lnTo>
                  <a:lnTo>
                    <a:pt x="87" y="1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96"/>
            <p:cNvSpPr>
              <a:spLocks/>
            </p:cNvSpPr>
            <p:nvPr/>
          </p:nvSpPr>
          <p:spPr bwMode="auto">
            <a:xfrm>
              <a:off x="1623" y="2983"/>
              <a:ext cx="91" cy="101"/>
            </a:xfrm>
            <a:custGeom>
              <a:avLst/>
              <a:gdLst>
                <a:gd name="T0" fmla="*/ 9 w 143"/>
                <a:gd name="T1" fmla="*/ 2 h 151"/>
                <a:gd name="T2" fmla="*/ 9 w 143"/>
                <a:gd name="T3" fmla="*/ 6 h 151"/>
                <a:gd name="T4" fmla="*/ 10 w 143"/>
                <a:gd name="T5" fmla="*/ 7 h 151"/>
                <a:gd name="T6" fmla="*/ 11 w 143"/>
                <a:gd name="T7" fmla="*/ 7 h 151"/>
                <a:gd name="T8" fmla="*/ 14 w 143"/>
                <a:gd name="T9" fmla="*/ 9 h 151"/>
                <a:gd name="T10" fmla="*/ 14 w 143"/>
                <a:gd name="T11" fmla="*/ 11 h 151"/>
                <a:gd name="T12" fmla="*/ 15 w 143"/>
                <a:gd name="T13" fmla="*/ 13 h 151"/>
                <a:gd name="T14" fmla="*/ 15 w 143"/>
                <a:gd name="T15" fmla="*/ 16 h 151"/>
                <a:gd name="T16" fmla="*/ 14 w 143"/>
                <a:gd name="T17" fmla="*/ 15 h 151"/>
                <a:gd name="T18" fmla="*/ 13 w 143"/>
                <a:gd name="T19" fmla="*/ 18 h 151"/>
                <a:gd name="T20" fmla="*/ 10 w 143"/>
                <a:gd name="T21" fmla="*/ 20 h 151"/>
                <a:gd name="T22" fmla="*/ 6 w 143"/>
                <a:gd name="T23" fmla="*/ 19 h 151"/>
                <a:gd name="T24" fmla="*/ 5 w 143"/>
                <a:gd name="T25" fmla="*/ 18 h 151"/>
                <a:gd name="T26" fmla="*/ 8 w 143"/>
                <a:gd name="T27" fmla="*/ 15 h 151"/>
                <a:gd name="T28" fmla="*/ 6 w 143"/>
                <a:gd name="T29" fmla="*/ 11 h 151"/>
                <a:gd name="T30" fmla="*/ 4 w 143"/>
                <a:gd name="T31" fmla="*/ 11 h 151"/>
                <a:gd name="T32" fmla="*/ 4 w 143"/>
                <a:gd name="T33" fmla="*/ 9 h 151"/>
                <a:gd name="T34" fmla="*/ 2 w 143"/>
                <a:gd name="T35" fmla="*/ 9 h 151"/>
                <a:gd name="T36" fmla="*/ 0 w 143"/>
                <a:gd name="T37" fmla="*/ 5 h 151"/>
                <a:gd name="T38" fmla="*/ 1 w 143"/>
                <a:gd name="T39" fmla="*/ 1 h 151"/>
                <a:gd name="T40" fmla="*/ 4 w 143"/>
                <a:gd name="T41" fmla="*/ 0 h 151"/>
                <a:gd name="T42" fmla="*/ 8 w 143"/>
                <a:gd name="T43" fmla="*/ 0 h 151"/>
                <a:gd name="T44" fmla="*/ 8 w 143"/>
                <a:gd name="T45" fmla="*/ 1 h 151"/>
                <a:gd name="T46" fmla="*/ 9 w 143"/>
                <a:gd name="T47" fmla="*/ 2 h 151"/>
                <a:gd name="T48" fmla="*/ 9 w 143"/>
                <a:gd name="T49" fmla="*/ 2 h 1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3" h="151">
                  <a:moveTo>
                    <a:pt x="87" y="16"/>
                  </a:moveTo>
                  <a:lnTo>
                    <a:pt x="83" y="43"/>
                  </a:lnTo>
                  <a:lnTo>
                    <a:pt x="92" y="55"/>
                  </a:lnTo>
                  <a:lnTo>
                    <a:pt x="103" y="51"/>
                  </a:lnTo>
                  <a:lnTo>
                    <a:pt x="133" y="71"/>
                  </a:lnTo>
                  <a:lnTo>
                    <a:pt x="130" y="88"/>
                  </a:lnTo>
                  <a:lnTo>
                    <a:pt x="143" y="98"/>
                  </a:lnTo>
                  <a:lnTo>
                    <a:pt x="140" y="120"/>
                  </a:lnTo>
                  <a:lnTo>
                    <a:pt x="133" y="118"/>
                  </a:lnTo>
                  <a:lnTo>
                    <a:pt x="120" y="135"/>
                  </a:lnTo>
                  <a:lnTo>
                    <a:pt x="88" y="151"/>
                  </a:lnTo>
                  <a:lnTo>
                    <a:pt x="55" y="145"/>
                  </a:lnTo>
                  <a:lnTo>
                    <a:pt x="52" y="135"/>
                  </a:lnTo>
                  <a:lnTo>
                    <a:pt x="75" y="110"/>
                  </a:lnTo>
                  <a:lnTo>
                    <a:pt x="55" y="88"/>
                  </a:lnTo>
                  <a:lnTo>
                    <a:pt x="40" y="86"/>
                  </a:lnTo>
                  <a:lnTo>
                    <a:pt x="35" y="71"/>
                  </a:lnTo>
                  <a:lnTo>
                    <a:pt x="15" y="68"/>
                  </a:lnTo>
                  <a:lnTo>
                    <a:pt x="0" y="36"/>
                  </a:lnTo>
                  <a:lnTo>
                    <a:pt x="13" y="10"/>
                  </a:lnTo>
                  <a:lnTo>
                    <a:pt x="40" y="0"/>
                  </a:lnTo>
                  <a:lnTo>
                    <a:pt x="78" y="0"/>
                  </a:lnTo>
                  <a:lnTo>
                    <a:pt x="77" y="10"/>
                  </a:lnTo>
                  <a:lnTo>
                    <a:pt x="87" y="1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97"/>
            <p:cNvSpPr>
              <a:spLocks/>
            </p:cNvSpPr>
            <p:nvPr/>
          </p:nvSpPr>
          <p:spPr bwMode="auto">
            <a:xfrm>
              <a:off x="1674" y="2657"/>
              <a:ext cx="60" cy="84"/>
            </a:xfrm>
            <a:custGeom>
              <a:avLst/>
              <a:gdLst>
                <a:gd name="T0" fmla="*/ 4 w 95"/>
                <a:gd name="T1" fmla="*/ 0 h 127"/>
                <a:gd name="T2" fmla="*/ 2 w 95"/>
                <a:gd name="T3" fmla="*/ 1 h 127"/>
                <a:gd name="T4" fmla="*/ 1 w 95"/>
                <a:gd name="T5" fmla="*/ 1 h 127"/>
                <a:gd name="T6" fmla="*/ 2 w 95"/>
                <a:gd name="T7" fmla="*/ 3 h 127"/>
                <a:gd name="T8" fmla="*/ 1 w 95"/>
                <a:gd name="T9" fmla="*/ 4 h 127"/>
                <a:gd name="T10" fmla="*/ 0 w 95"/>
                <a:gd name="T11" fmla="*/ 3 h 127"/>
                <a:gd name="T12" fmla="*/ 1 w 95"/>
                <a:gd name="T13" fmla="*/ 6 h 127"/>
                <a:gd name="T14" fmla="*/ 2 w 95"/>
                <a:gd name="T15" fmla="*/ 7 h 127"/>
                <a:gd name="T16" fmla="*/ 2 w 95"/>
                <a:gd name="T17" fmla="*/ 9 h 127"/>
                <a:gd name="T18" fmla="*/ 3 w 95"/>
                <a:gd name="T19" fmla="*/ 9 h 127"/>
                <a:gd name="T20" fmla="*/ 3 w 95"/>
                <a:gd name="T21" fmla="*/ 15 h 127"/>
                <a:gd name="T22" fmla="*/ 3 w 95"/>
                <a:gd name="T23" fmla="*/ 16 h 127"/>
                <a:gd name="T24" fmla="*/ 8 w 95"/>
                <a:gd name="T25" fmla="*/ 15 h 127"/>
                <a:gd name="T26" fmla="*/ 8 w 95"/>
                <a:gd name="T27" fmla="*/ 13 h 127"/>
                <a:gd name="T28" fmla="*/ 6 w 95"/>
                <a:gd name="T29" fmla="*/ 11 h 127"/>
                <a:gd name="T30" fmla="*/ 6 w 95"/>
                <a:gd name="T31" fmla="*/ 9 h 127"/>
                <a:gd name="T32" fmla="*/ 9 w 95"/>
                <a:gd name="T33" fmla="*/ 6 h 127"/>
                <a:gd name="T34" fmla="*/ 6 w 95"/>
                <a:gd name="T35" fmla="*/ 5 h 127"/>
                <a:gd name="T36" fmla="*/ 4 w 95"/>
                <a:gd name="T37" fmla="*/ 0 h 127"/>
                <a:gd name="T38" fmla="*/ 4 w 95"/>
                <a:gd name="T39" fmla="*/ 0 h 12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5" h="127">
                  <a:moveTo>
                    <a:pt x="35" y="0"/>
                  </a:moveTo>
                  <a:lnTo>
                    <a:pt x="18" y="2"/>
                  </a:lnTo>
                  <a:lnTo>
                    <a:pt x="8" y="7"/>
                  </a:lnTo>
                  <a:lnTo>
                    <a:pt x="15" y="19"/>
                  </a:lnTo>
                  <a:lnTo>
                    <a:pt x="7" y="29"/>
                  </a:lnTo>
                  <a:lnTo>
                    <a:pt x="0" y="27"/>
                  </a:lnTo>
                  <a:lnTo>
                    <a:pt x="3" y="45"/>
                  </a:lnTo>
                  <a:lnTo>
                    <a:pt x="18" y="52"/>
                  </a:lnTo>
                  <a:lnTo>
                    <a:pt x="17" y="64"/>
                  </a:lnTo>
                  <a:lnTo>
                    <a:pt x="23" y="69"/>
                  </a:lnTo>
                  <a:lnTo>
                    <a:pt x="23" y="115"/>
                  </a:lnTo>
                  <a:lnTo>
                    <a:pt x="28" y="127"/>
                  </a:lnTo>
                  <a:lnTo>
                    <a:pt x="83" y="119"/>
                  </a:lnTo>
                  <a:lnTo>
                    <a:pt x="75" y="99"/>
                  </a:lnTo>
                  <a:lnTo>
                    <a:pt x="60" y="89"/>
                  </a:lnTo>
                  <a:lnTo>
                    <a:pt x="62" y="67"/>
                  </a:lnTo>
                  <a:lnTo>
                    <a:pt x="95" y="42"/>
                  </a:lnTo>
                  <a:lnTo>
                    <a:pt x="63" y="4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2" name="Freeform 98"/>
            <p:cNvSpPr>
              <a:spLocks/>
            </p:cNvSpPr>
            <p:nvPr/>
          </p:nvSpPr>
          <p:spPr bwMode="auto">
            <a:xfrm>
              <a:off x="1674" y="2657"/>
              <a:ext cx="60" cy="84"/>
            </a:xfrm>
            <a:custGeom>
              <a:avLst/>
              <a:gdLst>
                <a:gd name="T0" fmla="*/ 4 w 95"/>
                <a:gd name="T1" fmla="*/ 0 h 127"/>
                <a:gd name="T2" fmla="*/ 2 w 95"/>
                <a:gd name="T3" fmla="*/ 1 h 127"/>
                <a:gd name="T4" fmla="*/ 1 w 95"/>
                <a:gd name="T5" fmla="*/ 1 h 127"/>
                <a:gd name="T6" fmla="*/ 2 w 95"/>
                <a:gd name="T7" fmla="*/ 3 h 127"/>
                <a:gd name="T8" fmla="*/ 1 w 95"/>
                <a:gd name="T9" fmla="*/ 4 h 127"/>
                <a:gd name="T10" fmla="*/ 0 w 95"/>
                <a:gd name="T11" fmla="*/ 3 h 127"/>
                <a:gd name="T12" fmla="*/ 1 w 95"/>
                <a:gd name="T13" fmla="*/ 6 h 127"/>
                <a:gd name="T14" fmla="*/ 2 w 95"/>
                <a:gd name="T15" fmla="*/ 7 h 127"/>
                <a:gd name="T16" fmla="*/ 2 w 95"/>
                <a:gd name="T17" fmla="*/ 9 h 127"/>
                <a:gd name="T18" fmla="*/ 3 w 95"/>
                <a:gd name="T19" fmla="*/ 9 h 127"/>
                <a:gd name="T20" fmla="*/ 3 w 95"/>
                <a:gd name="T21" fmla="*/ 15 h 127"/>
                <a:gd name="T22" fmla="*/ 3 w 95"/>
                <a:gd name="T23" fmla="*/ 16 h 127"/>
                <a:gd name="T24" fmla="*/ 8 w 95"/>
                <a:gd name="T25" fmla="*/ 15 h 127"/>
                <a:gd name="T26" fmla="*/ 8 w 95"/>
                <a:gd name="T27" fmla="*/ 13 h 127"/>
                <a:gd name="T28" fmla="*/ 6 w 95"/>
                <a:gd name="T29" fmla="*/ 11 h 127"/>
                <a:gd name="T30" fmla="*/ 6 w 95"/>
                <a:gd name="T31" fmla="*/ 9 h 127"/>
                <a:gd name="T32" fmla="*/ 9 w 95"/>
                <a:gd name="T33" fmla="*/ 6 h 127"/>
                <a:gd name="T34" fmla="*/ 6 w 95"/>
                <a:gd name="T35" fmla="*/ 5 h 127"/>
                <a:gd name="T36" fmla="*/ 4 w 95"/>
                <a:gd name="T37" fmla="*/ 0 h 127"/>
                <a:gd name="T38" fmla="*/ 4 w 95"/>
                <a:gd name="T39" fmla="*/ 0 h 12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5" h="127">
                  <a:moveTo>
                    <a:pt x="35" y="0"/>
                  </a:moveTo>
                  <a:lnTo>
                    <a:pt x="18" y="2"/>
                  </a:lnTo>
                  <a:lnTo>
                    <a:pt x="8" y="7"/>
                  </a:lnTo>
                  <a:lnTo>
                    <a:pt x="15" y="19"/>
                  </a:lnTo>
                  <a:lnTo>
                    <a:pt x="7" y="29"/>
                  </a:lnTo>
                  <a:lnTo>
                    <a:pt x="0" y="27"/>
                  </a:lnTo>
                  <a:lnTo>
                    <a:pt x="3" y="45"/>
                  </a:lnTo>
                  <a:lnTo>
                    <a:pt x="18" y="52"/>
                  </a:lnTo>
                  <a:lnTo>
                    <a:pt x="17" y="64"/>
                  </a:lnTo>
                  <a:lnTo>
                    <a:pt x="23" y="69"/>
                  </a:lnTo>
                  <a:lnTo>
                    <a:pt x="23" y="115"/>
                  </a:lnTo>
                  <a:lnTo>
                    <a:pt x="28" y="127"/>
                  </a:lnTo>
                  <a:lnTo>
                    <a:pt x="83" y="119"/>
                  </a:lnTo>
                  <a:lnTo>
                    <a:pt x="75" y="99"/>
                  </a:lnTo>
                  <a:lnTo>
                    <a:pt x="60" y="89"/>
                  </a:lnTo>
                  <a:lnTo>
                    <a:pt x="62" y="67"/>
                  </a:lnTo>
                  <a:lnTo>
                    <a:pt x="95" y="42"/>
                  </a:lnTo>
                  <a:lnTo>
                    <a:pt x="63" y="40"/>
                  </a:lnTo>
                  <a:lnTo>
                    <a:pt x="3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3" name="Freeform 99"/>
            <p:cNvSpPr>
              <a:spLocks/>
            </p:cNvSpPr>
            <p:nvPr/>
          </p:nvSpPr>
          <p:spPr bwMode="auto">
            <a:xfrm>
              <a:off x="1711" y="2684"/>
              <a:ext cx="53" cy="51"/>
            </a:xfrm>
            <a:custGeom>
              <a:avLst/>
              <a:gdLst>
                <a:gd name="T0" fmla="*/ 4 w 82"/>
                <a:gd name="T1" fmla="*/ 0 h 77"/>
                <a:gd name="T2" fmla="*/ 1 w 82"/>
                <a:gd name="T3" fmla="*/ 3 h 77"/>
                <a:gd name="T4" fmla="*/ 0 w 82"/>
                <a:gd name="T5" fmla="*/ 6 h 77"/>
                <a:gd name="T6" fmla="*/ 2 w 82"/>
                <a:gd name="T7" fmla="*/ 7 h 77"/>
                <a:gd name="T8" fmla="*/ 3 w 82"/>
                <a:gd name="T9" fmla="*/ 10 h 77"/>
                <a:gd name="T10" fmla="*/ 4 w 82"/>
                <a:gd name="T11" fmla="*/ 9 h 77"/>
                <a:gd name="T12" fmla="*/ 6 w 82"/>
                <a:gd name="T13" fmla="*/ 10 h 77"/>
                <a:gd name="T14" fmla="*/ 8 w 82"/>
                <a:gd name="T15" fmla="*/ 10 h 77"/>
                <a:gd name="T16" fmla="*/ 9 w 82"/>
                <a:gd name="T17" fmla="*/ 6 h 77"/>
                <a:gd name="T18" fmla="*/ 8 w 82"/>
                <a:gd name="T19" fmla="*/ 5 h 77"/>
                <a:gd name="T20" fmla="*/ 9 w 82"/>
                <a:gd name="T21" fmla="*/ 3 h 77"/>
                <a:gd name="T22" fmla="*/ 7 w 82"/>
                <a:gd name="T23" fmla="*/ 3 h 77"/>
                <a:gd name="T24" fmla="*/ 5 w 82"/>
                <a:gd name="T25" fmla="*/ 1 h 77"/>
                <a:gd name="T26" fmla="*/ 4 w 82"/>
                <a:gd name="T27" fmla="*/ 0 h 77"/>
                <a:gd name="T28" fmla="*/ 4 w 82"/>
                <a:gd name="T29" fmla="*/ 0 h 7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2" h="77">
                  <a:moveTo>
                    <a:pt x="35" y="0"/>
                  </a:moveTo>
                  <a:lnTo>
                    <a:pt x="2" y="25"/>
                  </a:lnTo>
                  <a:lnTo>
                    <a:pt x="0" y="47"/>
                  </a:lnTo>
                  <a:lnTo>
                    <a:pt x="17" y="57"/>
                  </a:lnTo>
                  <a:lnTo>
                    <a:pt x="23" y="77"/>
                  </a:lnTo>
                  <a:lnTo>
                    <a:pt x="35" y="67"/>
                  </a:lnTo>
                  <a:lnTo>
                    <a:pt x="50" y="77"/>
                  </a:lnTo>
                  <a:lnTo>
                    <a:pt x="67" y="77"/>
                  </a:lnTo>
                  <a:lnTo>
                    <a:pt x="80" y="48"/>
                  </a:lnTo>
                  <a:lnTo>
                    <a:pt x="73" y="37"/>
                  </a:lnTo>
                  <a:lnTo>
                    <a:pt x="82" y="23"/>
                  </a:lnTo>
                  <a:lnTo>
                    <a:pt x="65" y="20"/>
                  </a:lnTo>
                  <a:lnTo>
                    <a:pt x="43" y="2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4" name="Freeform 100"/>
            <p:cNvSpPr>
              <a:spLocks/>
            </p:cNvSpPr>
            <p:nvPr/>
          </p:nvSpPr>
          <p:spPr bwMode="auto">
            <a:xfrm>
              <a:off x="1711" y="2684"/>
              <a:ext cx="53" cy="51"/>
            </a:xfrm>
            <a:custGeom>
              <a:avLst/>
              <a:gdLst>
                <a:gd name="T0" fmla="*/ 4 w 82"/>
                <a:gd name="T1" fmla="*/ 0 h 77"/>
                <a:gd name="T2" fmla="*/ 1 w 82"/>
                <a:gd name="T3" fmla="*/ 3 h 77"/>
                <a:gd name="T4" fmla="*/ 0 w 82"/>
                <a:gd name="T5" fmla="*/ 6 h 77"/>
                <a:gd name="T6" fmla="*/ 2 w 82"/>
                <a:gd name="T7" fmla="*/ 7 h 77"/>
                <a:gd name="T8" fmla="*/ 3 w 82"/>
                <a:gd name="T9" fmla="*/ 10 h 77"/>
                <a:gd name="T10" fmla="*/ 4 w 82"/>
                <a:gd name="T11" fmla="*/ 9 h 77"/>
                <a:gd name="T12" fmla="*/ 6 w 82"/>
                <a:gd name="T13" fmla="*/ 10 h 77"/>
                <a:gd name="T14" fmla="*/ 8 w 82"/>
                <a:gd name="T15" fmla="*/ 10 h 77"/>
                <a:gd name="T16" fmla="*/ 9 w 82"/>
                <a:gd name="T17" fmla="*/ 6 h 77"/>
                <a:gd name="T18" fmla="*/ 8 w 82"/>
                <a:gd name="T19" fmla="*/ 5 h 77"/>
                <a:gd name="T20" fmla="*/ 9 w 82"/>
                <a:gd name="T21" fmla="*/ 3 h 77"/>
                <a:gd name="T22" fmla="*/ 7 w 82"/>
                <a:gd name="T23" fmla="*/ 3 h 77"/>
                <a:gd name="T24" fmla="*/ 5 w 82"/>
                <a:gd name="T25" fmla="*/ 1 h 77"/>
                <a:gd name="T26" fmla="*/ 4 w 82"/>
                <a:gd name="T27" fmla="*/ 0 h 77"/>
                <a:gd name="T28" fmla="*/ 4 w 82"/>
                <a:gd name="T29" fmla="*/ 0 h 7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2" h="77">
                  <a:moveTo>
                    <a:pt x="35" y="0"/>
                  </a:moveTo>
                  <a:lnTo>
                    <a:pt x="2" y="25"/>
                  </a:lnTo>
                  <a:lnTo>
                    <a:pt x="0" y="47"/>
                  </a:lnTo>
                  <a:lnTo>
                    <a:pt x="17" y="57"/>
                  </a:lnTo>
                  <a:lnTo>
                    <a:pt x="23" y="77"/>
                  </a:lnTo>
                  <a:lnTo>
                    <a:pt x="35" y="67"/>
                  </a:lnTo>
                  <a:lnTo>
                    <a:pt x="50" y="77"/>
                  </a:lnTo>
                  <a:lnTo>
                    <a:pt x="67" y="77"/>
                  </a:lnTo>
                  <a:lnTo>
                    <a:pt x="80" y="48"/>
                  </a:lnTo>
                  <a:lnTo>
                    <a:pt x="73" y="37"/>
                  </a:lnTo>
                  <a:lnTo>
                    <a:pt x="82" y="23"/>
                  </a:lnTo>
                  <a:lnTo>
                    <a:pt x="65" y="20"/>
                  </a:lnTo>
                  <a:lnTo>
                    <a:pt x="43" y="2"/>
                  </a:lnTo>
                  <a:lnTo>
                    <a:pt x="3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101"/>
            <p:cNvSpPr>
              <a:spLocks/>
            </p:cNvSpPr>
            <p:nvPr/>
          </p:nvSpPr>
          <p:spPr bwMode="auto">
            <a:xfrm>
              <a:off x="1756" y="2700"/>
              <a:ext cx="28" cy="41"/>
            </a:xfrm>
            <a:custGeom>
              <a:avLst/>
              <a:gdLst>
                <a:gd name="T0" fmla="*/ 1 w 45"/>
                <a:gd name="T1" fmla="*/ 0 h 60"/>
                <a:gd name="T2" fmla="*/ 1 w 45"/>
                <a:gd name="T3" fmla="*/ 2 h 60"/>
                <a:gd name="T4" fmla="*/ 1 w 45"/>
                <a:gd name="T5" fmla="*/ 3 h 60"/>
                <a:gd name="T6" fmla="*/ 0 w 45"/>
                <a:gd name="T7" fmla="*/ 8 h 60"/>
                <a:gd name="T8" fmla="*/ 1 w 45"/>
                <a:gd name="T9" fmla="*/ 9 h 60"/>
                <a:gd name="T10" fmla="*/ 2 w 45"/>
                <a:gd name="T11" fmla="*/ 9 h 60"/>
                <a:gd name="T12" fmla="*/ 4 w 45"/>
                <a:gd name="T13" fmla="*/ 3 h 60"/>
                <a:gd name="T14" fmla="*/ 2 w 45"/>
                <a:gd name="T15" fmla="*/ 1 h 60"/>
                <a:gd name="T16" fmla="*/ 1 w 45"/>
                <a:gd name="T17" fmla="*/ 0 h 60"/>
                <a:gd name="T18" fmla="*/ 1 w 45"/>
                <a:gd name="T19" fmla="*/ 0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60">
                  <a:moveTo>
                    <a:pt x="15" y="0"/>
                  </a:moveTo>
                  <a:lnTo>
                    <a:pt x="6" y="14"/>
                  </a:lnTo>
                  <a:lnTo>
                    <a:pt x="13" y="25"/>
                  </a:lnTo>
                  <a:lnTo>
                    <a:pt x="0" y="54"/>
                  </a:lnTo>
                  <a:lnTo>
                    <a:pt x="10" y="60"/>
                  </a:lnTo>
                  <a:lnTo>
                    <a:pt x="21" y="60"/>
                  </a:lnTo>
                  <a:lnTo>
                    <a:pt x="45" y="25"/>
                  </a:lnTo>
                  <a:lnTo>
                    <a:pt x="23" y="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6" name="Freeform 102"/>
            <p:cNvSpPr>
              <a:spLocks/>
            </p:cNvSpPr>
            <p:nvPr/>
          </p:nvSpPr>
          <p:spPr bwMode="auto">
            <a:xfrm>
              <a:off x="1756" y="2700"/>
              <a:ext cx="28" cy="41"/>
            </a:xfrm>
            <a:custGeom>
              <a:avLst/>
              <a:gdLst>
                <a:gd name="T0" fmla="*/ 1 w 45"/>
                <a:gd name="T1" fmla="*/ 0 h 60"/>
                <a:gd name="T2" fmla="*/ 1 w 45"/>
                <a:gd name="T3" fmla="*/ 2 h 60"/>
                <a:gd name="T4" fmla="*/ 1 w 45"/>
                <a:gd name="T5" fmla="*/ 3 h 60"/>
                <a:gd name="T6" fmla="*/ 0 w 45"/>
                <a:gd name="T7" fmla="*/ 8 h 60"/>
                <a:gd name="T8" fmla="*/ 1 w 45"/>
                <a:gd name="T9" fmla="*/ 9 h 60"/>
                <a:gd name="T10" fmla="*/ 2 w 45"/>
                <a:gd name="T11" fmla="*/ 9 h 60"/>
                <a:gd name="T12" fmla="*/ 4 w 45"/>
                <a:gd name="T13" fmla="*/ 3 h 60"/>
                <a:gd name="T14" fmla="*/ 2 w 45"/>
                <a:gd name="T15" fmla="*/ 1 h 60"/>
                <a:gd name="T16" fmla="*/ 1 w 45"/>
                <a:gd name="T17" fmla="*/ 0 h 60"/>
                <a:gd name="T18" fmla="*/ 1 w 45"/>
                <a:gd name="T19" fmla="*/ 0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5" h="60">
                  <a:moveTo>
                    <a:pt x="15" y="0"/>
                  </a:moveTo>
                  <a:lnTo>
                    <a:pt x="6" y="14"/>
                  </a:lnTo>
                  <a:lnTo>
                    <a:pt x="13" y="25"/>
                  </a:lnTo>
                  <a:lnTo>
                    <a:pt x="0" y="54"/>
                  </a:lnTo>
                  <a:lnTo>
                    <a:pt x="10" y="60"/>
                  </a:lnTo>
                  <a:lnTo>
                    <a:pt x="21" y="60"/>
                  </a:lnTo>
                  <a:lnTo>
                    <a:pt x="45" y="25"/>
                  </a:lnTo>
                  <a:lnTo>
                    <a:pt x="23" y="4"/>
                  </a:lnTo>
                  <a:lnTo>
                    <a:pt x="1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7" name="Freeform 103"/>
            <p:cNvSpPr>
              <a:spLocks/>
            </p:cNvSpPr>
            <p:nvPr/>
          </p:nvSpPr>
          <p:spPr bwMode="auto">
            <a:xfrm>
              <a:off x="1502" y="2687"/>
              <a:ext cx="466" cy="467"/>
            </a:xfrm>
            <a:custGeom>
              <a:avLst/>
              <a:gdLst>
                <a:gd name="T0" fmla="*/ 50 w 724"/>
                <a:gd name="T1" fmla="*/ 7 h 703"/>
                <a:gd name="T2" fmla="*/ 53 w 724"/>
                <a:gd name="T3" fmla="*/ 12 h 703"/>
                <a:gd name="T4" fmla="*/ 50 w 724"/>
                <a:gd name="T5" fmla="*/ 18 h 703"/>
                <a:gd name="T6" fmla="*/ 53 w 724"/>
                <a:gd name="T7" fmla="*/ 17 h 703"/>
                <a:gd name="T8" fmla="*/ 51 w 724"/>
                <a:gd name="T9" fmla="*/ 19 h 703"/>
                <a:gd name="T10" fmla="*/ 55 w 724"/>
                <a:gd name="T11" fmla="*/ 18 h 703"/>
                <a:gd name="T12" fmla="*/ 61 w 724"/>
                <a:gd name="T13" fmla="*/ 20 h 703"/>
                <a:gd name="T14" fmla="*/ 61 w 724"/>
                <a:gd name="T15" fmla="*/ 22 h 703"/>
                <a:gd name="T16" fmla="*/ 62 w 724"/>
                <a:gd name="T17" fmla="*/ 23 h 703"/>
                <a:gd name="T18" fmla="*/ 68 w 724"/>
                <a:gd name="T19" fmla="*/ 26 h 703"/>
                <a:gd name="T20" fmla="*/ 71 w 724"/>
                <a:gd name="T21" fmla="*/ 25 h 703"/>
                <a:gd name="T22" fmla="*/ 77 w 724"/>
                <a:gd name="T23" fmla="*/ 31 h 703"/>
                <a:gd name="T24" fmla="*/ 80 w 724"/>
                <a:gd name="T25" fmla="*/ 31 h 703"/>
                <a:gd name="T26" fmla="*/ 79 w 724"/>
                <a:gd name="T27" fmla="*/ 41 h 703"/>
                <a:gd name="T28" fmla="*/ 71 w 724"/>
                <a:gd name="T29" fmla="*/ 47 h 703"/>
                <a:gd name="T30" fmla="*/ 70 w 724"/>
                <a:gd name="T31" fmla="*/ 52 h 703"/>
                <a:gd name="T32" fmla="*/ 68 w 724"/>
                <a:gd name="T33" fmla="*/ 60 h 703"/>
                <a:gd name="T34" fmla="*/ 60 w 724"/>
                <a:gd name="T35" fmla="*/ 69 h 703"/>
                <a:gd name="T36" fmla="*/ 53 w 724"/>
                <a:gd name="T37" fmla="*/ 72 h 703"/>
                <a:gd name="T38" fmla="*/ 46 w 724"/>
                <a:gd name="T39" fmla="*/ 74 h 703"/>
                <a:gd name="T40" fmla="*/ 39 w 724"/>
                <a:gd name="T41" fmla="*/ 88 h 703"/>
                <a:gd name="T42" fmla="*/ 40 w 724"/>
                <a:gd name="T43" fmla="*/ 84 h 703"/>
                <a:gd name="T44" fmla="*/ 36 w 724"/>
                <a:gd name="T45" fmla="*/ 91 h 703"/>
                <a:gd name="T46" fmla="*/ 34 w 724"/>
                <a:gd name="T47" fmla="*/ 87 h 703"/>
                <a:gd name="T48" fmla="*/ 31 w 724"/>
                <a:gd name="T49" fmla="*/ 84 h 703"/>
                <a:gd name="T50" fmla="*/ 29 w 724"/>
                <a:gd name="T51" fmla="*/ 81 h 703"/>
                <a:gd name="T52" fmla="*/ 37 w 724"/>
                <a:gd name="T53" fmla="*/ 73 h 703"/>
                <a:gd name="T54" fmla="*/ 37 w 724"/>
                <a:gd name="T55" fmla="*/ 70 h 703"/>
                <a:gd name="T56" fmla="*/ 35 w 724"/>
                <a:gd name="T57" fmla="*/ 67 h 703"/>
                <a:gd name="T58" fmla="*/ 31 w 724"/>
                <a:gd name="T59" fmla="*/ 65 h 703"/>
                <a:gd name="T60" fmla="*/ 30 w 724"/>
                <a:gd name="T61" fmla="*/ 58 h 703"/>
                <a:gd name="T62" fmla="*/ 30 w 724"/>
                <a:gd name="T63" fmla="*/ 52 h 703"/>
                <a:gd name="T64" fmla="*/ 26 w 724"/>
                <a:gd name="T65" fmla="*/ 48 h 703"/>
                <a:gd name="T66" fmla="*/ 26 w 724"/>
                <a:gd name="T67" fmla="*/ 47 h 703"/>
                <a:gd name="T68" fmla="*/ 21 w 724"/>
                <a:gd name="T69" fmla="*/ 41 h 703"/>
                <a:gd name="T70" fmla="*/ 17 w 724"/>
                <a:gd name="T71" fmla="*/ 37 h 703"/>
                <a:gd name="T72" fmla="*/ 19 w 724"/>
                <a:gd name="T73" fmla="*/ 34 h 703"/>
                <a:gd name="T74" fmla="*/ 13 w 724"/>
                <a:gd name="T75" fmla="*/ 35 h 703"/>
                <a:gd name="T76" fmla="*/ 11 w 724"/>
                <a:gd name="T77" fmla="*/ 35 h 703"/>
                <a:gd name="T78" fmla="*/ 9 w 724"/>
                <a:gd name="T79" fmla="*/ 36 h 703"/>
                <a:gd name="T80" fmla="*/ 7 w 724"/>
                <a:gd name="T81" fmla="*/ 32 h 703"/>
                <a:gd name="T82" fmla="*/ 4 w 724"/>
                <a:gd name="T83" fmla="*/ 32 h 703"/>
                <a:gd name="T84" fmla="*/ 1 w 724"/>
                <a:gd name="T85" fmla="*/ 32 h 703"/>
                <a:gd name="T86" fmla="*/ 1 w 724"/>
                <a:gd name="T87" fmla="*/ 24 h 703"/>
                <a:gd name="T88" fmla="*/ 8 w 724"/>
                <a:gd name="T89" fmla="*/ 19 h 703"/>
                <a:gd name="T90" fmla="*/ 10 w 724"/>
                <a:gd name="T91" fmla="*/ 10 h 703"/>
                <a:gd name="T92" fmla="*/ 11 w 724"/>
                <a:gd name="T93" fmla="*/ 7 h 703"/>
                <a:gd name="T94" fmla="*/ 10 w 724"/>
                <a:gd name="T95" fmla="*/ 7 h 703"/>
                <a:gd name="T96" fmla="*/ 11 w 724"/>
                <a:gd name="T97" fmla="*/ 6 h 703"/>
                <a:gd name="T98" fmla="*/ 14 w 724"/>
                <a:gd name="T99" fmla="*/ 7 h 703"/>
                <a:gd name="T100" fmla="*/ 19 w 724"/>
                <a:gd name="T101" fmla="*/ 9 h 703"/>
                <a:gd name="T102" fmla="*/ 21 w 724"/>
                <a:gd name="T103" fmla="*/ 2 h 703"/>
                <a:gd name="T104" fmla="*/ 25 w 724"/>
                <a:gd name="T105" fmla="*/ 4 h 703"/>
                <a:gd name="T106" fmla="*/ 28 w 724"/>
                <a:gd name="T107" fmla="*/ 4 h 703"/>
                <a:gd name="T108" fmla="*/ 30 w 724"/>
                <a:gd name="T109" fmla="*/ 0 h 703"/>
                <a:gd name="T110" fmla="*/ 32 w 724"/>
                <a:gd name="T111" fmla="*/ 2 h 703"/>
                <a:gd name="T112" fmla="*/ 32 w 724"/>
                <a:gd name="T113" fmla="*/ 9 h 703"/>
                <a:gd name="T114" fmla="*/ 39 w 724"/>
                <a:gd name="T115" fmla="*/ 10 h 703"/>
                <a:gd name="T116" fmla="*/ 41 w 724"/>
                <a:gd name="T117" fmla="*/ 10 h 703"/>
                <a:gd name="T118" fmla="*/ 45 w 724"/>
                <a:gd name="T119" fmla="*/ 10 h 703"/>
                <a:gd name="T120" fmla="*/ 48 w 724"/>
                <a:gd name="T121" fmla="*/ 6 h 7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724" h="703">
                  <a:moveTo>
                    <a:pt x="440" y="45"/>
                  </a:moveTo>
                  <a:lnTo>
                    <a:pt x="449" y="54"/>
                  </a:lnTo>
                  <a:lnTo>
                    <a:pt x="462" y="85"/>
                  </a:lnTo>
                  <a:lnTo>
                    <a:pt x="475" y="94"/>
                  </a:lnTo>
                  <a:lnTo>
                    <a:pt x="427" y="142"/>
                  </a:lnTo>
                  <a:lnTo>
                    <a:pt x="452" y="140"/>
                  </a:lnTo>
                  <a:lnTo>
                    <a:pt x="469" y="130"/>
                  </a:lnTo>
                  <a:lnTo>
                    <a:pt x="482" y="132"/>
                  </a:lnTo>
                  <a:lnTo>
                    <a:pt x="479" y="147"/>
                  </a:lnTo>
                  <a:lnTo>
                    <a:pt x="459" y="147"/>
                  </a:lnTo>
                  <a:lnTo>
                    <a:pt x="479" y="157"/>
                  </a:lnTo>
                  <a:lnTo>
                    <a:pt x="500" y="142"/>
                  </a:lnTo>
                  <a:lnTo>
                    <a:pt x="545" y="145"/>
                  </a:lnTo>
                  <a:lnTo>
                    <a:pt x="547" y="155"/>
                  </a:lnTo>
                  <a:lnTo>
                    <a:pt x="555" y="154"/>
                  </a:lnTo>
                  <a:lnTo>
                    <a:pt x="552" y="169"/>
                  </a:lnTo>
                  <a:lnTo>
                    <a:pt x="562" y="174"/>
                  </a:lnTo>
                  <a:lnTo>
                    <a:pt x="559" y="180"/>
                  </a:lnTo>
                  <a:lnTo>
                    <a:pt x="590" y="180"/>
                  </a:lnTo>
                  <a:lnTo>
                    <a:pt x="617" y="197"/>
                  </a:lnTo>
                  <a:lnTo>
                    <a:pt x="634" y="185"/>
                  </a:lnTo>
                  <a:lnTo>
                    <a:pt x="645" y="190"/>
                  </a:lnTo>
                  <a:lnTo>
                    <a:pt x="687" y="235"/>
                  </a:lnTo>
                  <a:lnTo>
                    <a:pt x="697" y="239"/>
                  </a:lnTo>
                  <a:lnTo>
                    <a:pt x="712" y="234"/>
                  </a:lnTo>
                  <a:lnTo>
                    <a:pt x="722" y="242"/>
                  </a:lnTo>
                  <a:lnTo>
                    <a:pt x="724" y="292"/>
                  </a:lnTo>
                  <a:lnTo>
                    <a:pt x="714" y="313"/>
                  </a:lnTo>
                  <a:lnTo>
                    <a:pt x="695" y="318"/>
                  </a:lnTo>
                  <a:lnTo>
                    <a:pt x="647" y="363"/>
                  </a:lnTo>
                  <a:lnTo>
                    <a:pt x="632" y="372"/>
                  </a:lnTo>
                  <a:lnTo>
                    <a:pt x="630" y="405"/>
                  </a:lnTo>
                  <a:lnTo>
                    <a:pt x="617" y="430"/>
                  </a:lnTo>
                  <a:lnTo>
                    <a:pt x="612" y="460"/>
                  </a:lnTo>
                  <a:lnTo>
                    <a:pt x="552" y="535"/>
                  </a:lnTo>
                  <a:lnTo>
                    <a:pt x="542" y="538"/>
                  </a:lnTo>
                  <a:lnTo>
                    <a:pt x="517" y="537"/>
                  </a:lnTo>
                  <a:lnTo>
                    <a:pt x="484" y="552"/>
                  </a:lnTo>
                  <a:lnTo>
                    <a:pt x="470" y="550"/>
                  </a:lnTo>
                  <a:lnTo>
                    <a:pt x="420" y="575"/>
                  </a:lnTo>
                  <a:lnTo>
                    <a:pt x="409" y="623"/>
                  </a:lnTo>
                  <a:lnTo>
                    <a:pt x="355" y="680"/>
                  </a:lnTo>
                  <a:lnTo>
                    <a:pt x="345" y="680"/>
                  </a:lnTo>
                  <a:lnTo>
                    <a:pt x="362" y="645"/>
                  </a:lnTo>
                  <a:lnTo>
                    <a:pt x="354" y="647"/>
                  </a:lnTo>
                  <a:lnTo>
                    <a:pt x="324" y="703"/>
                  </a:lnTo>
                  <a:lnTo>
                    <a:pt x="309" y="683"/>
                  </a:lnTo>
                  <a:lnTo>
                    <a:pt x="310" y="673"/>
                  </a:lnTo>
                  <a:lnTo>
                    <a:pt x="292" y="655"/>
                  </a:lnTo>
                  <a:lnTo>
                    <a:pt x="279" y="653"/>
                  </a:lnTo>
                  <a:lnTo>
                    <a:pt x="277" y="638"/>
                  </a:lnTo>
                  <a:lnTo>
                    <a:pt x="264" y="628"/>
                  </a:lnTo>
                  <a:lnTo>
                    <a:pt x="330" y="595"/>
                  </a:lnTo>
                  <a:lnTo>
                    <a:pt x="330" y="568"/>
                  </a:lnTo>
                  <a:lnTo>
                    <a:pt x="327" y="567"/>
                  </a:lnTo>
                  <a:lnTo>
                    <a:pt x="330" y="545"/>
                  </a:lnTo>
                  <a:lnTo>
                    <a:pt x="317" y="535"/>
                  </a:lnTo>
                  <a:lnTo>
                    <a:pt x="320" y="518"/>
                  </a:lnTo>
                  <a:lnTo>
                    <a:pt x="290" y="498"/>
                  </a:lnTo>
                  <a:lnTo>
                    <a:pt x="279" y="502"/>
                  </a:lnTo>
                  <a:lnTo>
                    <a:pt x="269" y="493"/>
                  </a:lnTo>
                  <a:lnTo>
                    <a:pt x="275" y="452"/>
                  </a:lnTo>
                  <a:lnTo>
                    <a:pt x="284" y="442"/>
                  </a:lnTo>
                  <a:lnTo>
                    <a:pt x="274" y="400"/>
                  </a:lnTo>
                  <a:lnTo>
                    <a:pt x="247" y="392"/>
                  </a:lnTo>
                  <a:lnTo>
                    <a:pt x="242" y="373"/>
                  </a:lnTo>
                  <a:lnTo>
                    <a:pt x="237" y="368"/>
                  </a:lnTo>
                  <a:lnTo>
                    <a:pt x="237" y="363"/>
                  </a:lnTo>
                  <a:lnTo>
                    <a:pt x="247" y="355"/>
                  </a:lnTo>
                  <a:lnTo>
                    <a:pt x="195" y="313"/>
                  </a:lnTo>
                  <a:lnTo>
                    <a:pt x="172" y="310"/>
                  </a:lnTo>
                  <a:lnTo>
                    <a:pt x="157" y="290"/>
                  </a:lnTo>
                  <a:lnTo>
                    <a:pt x="168" y="285"/>
                  </a:lnTo>
                  <a:lnTo>
                    <a:pt x="172" y="264"/>
                  </a:lnTo>
                  <a:lnTo>
                    <a:pt x="160" y="262"/>
                  </a:lnTo>
                  <a:lnTo>
                    <a:pt x="117" y="269"/>
                  </a:lnTo>
                  <a:lnTo>
                    <a:pt x="113" y="265"/>
                  </a:lnTo>
                  <a:lnTo>
                    <a:pt x="98" y="265"/>
                  </a:lnTo>
                  <a:lnTo>
                    <a:pt x="92" y="280"/>
                  </a:lnTo>
                  <a:lnTo>
                    <a:pt x="77" y="277"/>
                  </a:lnTo>
                  <a:lnTo>
                    <a:pt x="58" y="267"/>
                  </a:lnTo>
                  <a:lnTo>
                    <a:pt x="62" y="249"/>
                  </a:lnTo>
                  <a:lnTo>
                    <a:pt x="53" y="242"/>
                  </a:lnTo>
                  <a:lnTo>
                    <a:pt x="33" y="249"/>
                  </a:lnTo>
                  <a:lnTo>
                    <a:pt x="23" y="232"/>
                  </a:lnTo>
                  <a:lnTo>
                    <a:pt x="5" y="244"/>
                  </a:lnTo>
                  <a:lnTo>
                    <a:pt x="0" y="214"/>
                  </a:lnTo>
                  <a:lnTo>
                    <a:pt x="13" y="187"/>
                  </a:lnTo>
                  <a:lnTo>
                    <a:pt x="17" y="174"/>
                  </a:lnTo>
                  <a:lnTo>
                    <a:pt x="72" y="144"/>
                  </a:lnTo>
                  <a:lnTo>
                    <a:pt x="97" y="89"/>
                  </a:lnTo>
                  <a:lnTo>
                    <a:pt x="85" y="77"/>
                  </a:lnTo>
                  <a:lnTo>
                    <a:pt x="87" y="65"/>
                  </a:lnTo>
                  <a:lnTo>
                    <a:pt x="103" y="54"/>
                  </a:lnTo>
                  <a:lnTo>
                    <a:pt x="97" y="50"/>
                  </a:lnTo>
                  <a:lnTo>
                    <a:pt x="92" y="49"/>
                  </a:lnTo>
                  <a:lnTo>
                    <a:pt x="95" y="40"/>
                  </a:lnTo>
                  <a:lnTo>
                    <a:pt x="102" y="42"/>
                  </a:lnTo>
                  <a:lnTo>
                    <a:pt x="117" y="52"/>
                  </a:lnTo>
                  <a:lnTo>
                    <a:pt x="128" y="50"/>
                  </a:lnTo>
                  <a:lnTo>
                    <a:pt x="138" y="65"/>
                  </a:lnTo>
                  <a:lnTo>
                    <a:pt x="177" y="72"/>
                  </a:lnTo>
                  <a:lnTo>
                    <a:pt x="210" y="49"/>
                  </a:lnTo>
                  <a:lnTo>
                    <a:pt x="185" y="15"/>
                  </a:lnTo>
                  <a:lnTo>
                    <a:pt x="194" y="10"/>
                  </a:lnTo>
                  <a:lnTo>
                    <a:pt x="227" y="30"/>
                  </a:lnTo>
                  <a:lnTo>
                    <a:pt x="235" y="24"/>
                  </a:lnTo>
                  <a:lnTo>
                    <a:pt x="260" y="29"/>
                  </a:lnTo>
                  <a:lnTo>
                    <a:pt x="270" y="7"/>
                  </a:lnTo>
                  <a:lnTo>
                    <a:pt x="269" y="0"/>
                  </a:lnTo>
                  <a:lnTo>
                    <a:pt x="285" y="9"/>
                  </a:lnTo>
                  <a:lnTo>
                    <a:pt x="284" y="17"/>
                  </a:lnTo>
                  <a:lnTo>
                    <a:pt x="290" y="24"/>
                  </a:lnTo>
                  <a:lnTo>
                    <a:pt x="290" y="70"/>
                  </a:lnTo>
                  <a:lnTo>
                    <a:pt x="295" y="82"/>
                  </a:lnTo>
                  <a:lnTo>
                    <a:pt x="349" y="74"/>
                  </a:lnTo>
                  <a:lnTo>
                    <a:pt x="362" y="64"/>
                  </a:lnTo>
                  <a:lnTo>
                    <a:pt x="377" y="74"/>
                  </a:lnTo>
                  <a:lnTo>
                    <a:pt x="395" y="72"/>
                  </a:lnTo>
                  <a:lnTo>
                    <a:pt x="405" y="80"/>
                  </a:lnTo>
                  <a:lnTo>
                    <a:pt x="415" y="80"/>
                  </a:lnTo>
                  <a:lnTo>
                    <a:pt x="440" y="4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Freeform 104"/>
            <p:cNvSpPr>
              <a:spLocks/>
            </p:cNvSpPr>
            <p:nvPr/>
          </p:nvSpPr>
          <p:spPr bwMode="auto">
            <a:xfrm>
              <a:off x="1502" y="2687"/>
              <a:ext cx="466" cy="467"/>
            </a:xfrm>
            <a:custGeom>
              <a:avLst/>
              <a:gdLst>
                <a:gd name="T0" fmla="*/ 50 w 724"/>
                <a:gd name="T1" fmla="*/ 7 h 703"/>
                <a:gd name="T2" fmla="*/ 53 w 724"/>
                <a:gd name="T3" fmla="*/ 12 h 703"/>
                <a:gd name="T4" fmla="*/ 50 w 724"/>
                <a:gd name="T5" fmla="*/ 18 h 703"/>
                <a:gd name="T6" fmla="*/ 53 w 724"/>
                <a:gd name="T7" fmla="*/ 17 h 703"/>
                <a:gd name="T8" fmla="*/ 51 w 724"/>
                <a:gd name="T9" fmla="*/ 19 h 703"/>
                <a:gd name="T10" fmla="*/ 55 w 724"/>
                <a:gd name="T11" fmla="*/ 18 h 703"/>
                <a:gd name="T12" fmla="*/ 61 w 724"/>
                <a:gd name="T13" fmla="*/ 20 h 703"/>
                <a:gd name="T14" fmla="*/ 61 w 724"/>
                <a:gd name="T15" fmla="*/ 22 h 703"/>
                <a:gd name="T16" fmla="*/ 62 w 724"/>
                <a:gd name="T17" fmla="*/ 23 h 703"/>
                <a:gd name="T18" fmla="*/ 68 w 724"/>
                <a:gd name="T19" fmla="*/ 26 h 703"/>
                <a:gd name="T20" fmla="*/ 71 w 724"/>
                <a:gd name="T21" fmla="*/ 25 h 703"/>
                <a:gd name="T22" fmla="*/ 77 w 724"/>
                <a:gd name="T23" fmla="*/ 31 h 703"/>
                <a:gd name="T24" fmla="*/ 80 w 724"/>
                <a:gd name="T25" fmla="*/ 31 h 703"/>
                <a:gd name="T26" fmla="*/ 79 w 724"/>
                <a:gd name="T27" fmla="*/ 41 h 703"/>
                <a:gd name="T28" fmla="*/ 71 w 724"/>
                <a:gd name="T29" fmla="*/ 47 h 703"/>
                <a:gd name="T30" fmla="*/ 70 w 724"/>
                <a:gd name="T31" fmla="*/ 52 h 703"/>
                <a:gd name="T32" fmla="*/ 68 w 724"/>
                <a:gd name="T33" fmla="*/ 60 h 703"/>
                <a:gd name="T34" fmla="*/ 60 w 724"/>
                <a:gd name="T35" fmla="*/ 69 h 703"/>
                <a:gd name="T36" fmla="*/ 53 w 724"/>
                <a:gd name="T37" fmla="*/ 72 h 703"/>
                <a:gd name="T38" fmla="*/ 46 w 724"/>
                <a:gd name="T39" fmla="*/ 74 h 703"/>
                <a:gd name="T40" fmla="*/ 39 w 724"/>
                <a:gd name="T41" fmla="*/ 88 h 703"/>
                <a:gd name="T42" fmla="*/ 40 w 724"/>
                <a:gd name="T43" fmla="*/ 84 h 703"/>
                <a:gd name="T44" fmla="*/ 36 w 724"/>
                <a:gd name="T45" fmla="*/ 91 h 703"/>
                <a:gd name="T46" fmla="*/ 34 w 724"/>
                <a:gd name="T47" fmla="*/ 87 h 703"/>
                <a:gd name="T48" fmla="*/ 31 w 724"/>
                <a:gd name="T49" fmla="*/ 84 h 703"/>
                <a:gd name="T50" fmla="*/ 29 w 724"/>
                <a:gd name="T51" fmla="*/ 81 h 703"/>
                <a:gd name="T52" fmla="*/ 37 w 724"/>
                <a:gd name="T53" fmla="*/ 73 h 703"/>
                <a:gd name="T54" fmla="*/ 37 w 724"/>
                <a:gd name="T55" fmla="*/ 70 h 703"/>
                <a:gd name="T56" fmla="*/ 35 w 724"/>
                <a:gd name="T57" fmla="*/ 67 h 703"/>
                <a:gd name="T58" fmla="*/ 31 w 724"/>
                <a:gd name="T59" fmla="*/ 65 h 703"/>
                <a:gd name="T60" fmla="*/ 30 w 724"/>
                <a:gd name="T61" fmla="*/ 58 h 703"/>
                <a:gd name="T62" fmla="*/ 30 w 724"/>
                <a:gd name="T63" fmla="*/ 52 h 703"/>
                <a:gd name="T64" fmla="*/ 26 w 724"/>
                <a:gd name="T65" fmla="*/ 48 h 703"/>
                <a:gd name="T66" fmla="*/ 26 w 724"/>
                <a:gd name="T67" fmla="*/ 47 h 703"/>
                <a:gd name="T68" fmla="*/ 21 w 724"/>
                <a:gd name="T69" fmla="*/ 41 h 703"/>
                <a:gd name="T70" fmla="*/ 17 w 724"/>
                <a:gd name="T71" fmla="*/ 37 h 703"/>
                <a:gd name="T72" fmla="*/ 19 w 724"/>
                <a:gd name="T73" fmla="*/ 34 h 703"/>
                <a:gd name="T74" fmla="*/ 13 w 724"/>
                <a:gd name="T75" fmla="*/ 35 h 703"/>
                <a:gd name="T76" fmla="*/ 11 w 724"/>
                <a:gd name="T77" fmla="*/ 35 h 703"/>
                <a:gd name="T78" fmla="*/ 9 w 724"/>
                <a:gd name="T79" fmla="*/ 36 h 703"/>
                <a:gd name="T80" fmla="*/ 7 w 724"/>
                <a:gd name="T81" fmla="*/ 32 h 703"/>
                <a:gd name="T82" fmla="*/ 4 w 724"/>
                <a:gd name="T83" fmla="*/ 32 h 703"/>
                <a:gd name="T84" fmla="*/ 1 w 724"/>
                <a:gd name="T85" fmla="*/ 32 h 703"/>
                <a:gd name="T86" fmla="*/ 1 w 724"/>
                <a:gd name="T87" fmla="*/ 24 h 703"/>
                <a:gd name="T88" fmla="*/ 8 w 724"/>
                <a:gd name="T89" fmla="*/ 19 h 703"/>
                <a:gd name="T90" fmla="*/ 10 w 724"/>
                <a:gd name="T91" fmla="*/ 10 h 703"/>
                <a:gd name="T92" fmla="*/ 11 w 724"/>
                <a:gd name="T93" fmla="*/ 7 h 703"/>
                <a:gd name="T94" fmla="*/ 10 w 724"/>
                <a:gd name="T95" fmla="*/ 7 h 703"/>
                <a:gd name="T96" fmla="*/ 11 w 724"/>
                <a:gd name="T97" fmla="*/ 6 h 703"/>
                <a:gd name="T98" fmla="*/ 14 w 724"/>
                <a:gd name="T99" fmla="*/ 7 h 703"/>
                <a:gd name="T100" fmla="*/ 19 w 724"/>
                <a:gd name="T101" fmla="*/ 9 h 703"/>
                <a:gd name="T102" fmla="*/ 21 w 724"/>
                <a:gd name="T103" fmla="*/ 2 h 703"/>
                <a:gd name="T104" fmla="*/ 25 w 724"/>
                <a:gd name="T105" fmla="*/ 4 h 703"/>
                <a:gd name="T106" fmla="*/ 28 w 724"/>
                <a:gd name="T107" fmla="*/ 4 h 703"/>
                <a:gd name="T108" fmla="*/ 30 w 724"/>
                <a:gd name="T109" fmla="*/ 0 h 703"/>
                <a:gd name="T110" fmla="*/ 32 w 724"/>
                <a:gd name="T111" fmla="*/ 2 h 703"/>
                <a:gd name="T112" fmla="*/ 32 w 724"/>
                <a:gd name="T113" fmla="*/ 9 h 703"/>
                <a:gd name="T114" fmla="*/ 39 w 724"/>
                <a:gd name="T115" fmla="*/ 10 h 703"/>
                <a:gd name="T116" fmla="*/ 41 w 724"/>
                <a:gd name="T117" fmla="*/ 10 h 703"/>
                <a:gd name="T118" fmla="*/ 45 w 724"/>
                <a:gd name="T119" fmla="*/ 10 h 703"/>
                <a:gd name="T120" fmla="*/ 48 w 724"/>
                <a:gd name="T121" fmla="*/ 6 h 7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724" h="703">
                  <a:moveTo>
                    <a:pt x="440" y="45"/>
                  </a:moveTo>
                  <a:lnTo>
                    <a:pt x="449" y="54"/>
                  </a:lnTo>
                  <a:lnTo>
                    <a:pt x="462" y="85"/>
                  </a:lnTo>
                  <a:lnTo>
                    <a:pt x="475" y="94"/>
                  </a:lnTo>
                  <a:lnTo>
                    <a:pt x="427" y="142"/>
                  </a:lnTo>
                  <a:lnTo>
                    <a:pt x="452" y="140"/>
                  </a:lnTo>
                  <a:lnTo>
                    <a:pt x="469" y="130"/>
                  </a:lnTo>
                  <a:lnTo>
                    <a:pt x="482" y="132"/>
                  </a:lnTo>
                  <a:lnTo>
                    <a:pt x="479" y="147"/>
                  </a:lnTo>
                  <a:lnTo>
                    <a:pt x="459" y="147"/>
                  </a:lnTo>
                  <a:lnTo>
                    <a:pt x="479" y="157"/>
                  </a:lnTo>
                  <a:lnTo>
                    <a:pt x="500" y="142"/>
                  </a:lnTo>
                  <a:lnTo>
                    <a:pt x="545" y="145"/>
                  </a:lnTo>
                  <a:lnTo>
                    <a:pt x="547" y="155"/>
                  </a:lnTo>
                  <a:lnTo>
                    <a:pt x="555" y="154"/>
                  </a:lnTo>
                  <a:lnTo>
                    <a:pt x="552" y="169"/>
                  </a:lnTo>
                  <a:lnTo>
                    <a:pt x="562" y="174"/>
                  </a:lnTo>
                  <a:lnTo>
                    <a:pt x="559" y="180"/>
                  </a:lnTo>
                  <a:lnTo>
                    <a:pt x="590" y="180"/>
                  </a:lnTo>
                  <a:lnTo>
                    <a:pt x="617" y="197"/>
                  </a:lnTo>
                  <a:lnTo>
                    <a:pt x="634" y="185"/>
                  </a:lnTo>
                  <a:lnTo>
                    <a:pt x="645" y="190"/>
                  </a:lnTo>
                  <a:lnTo>
                    <a:pt x="687" y="235"/>
                  </a:lnTo>
                  <a:lnTo>
                    <a:pt x="697" y="239"/>
                  </a:lnTo>
                  <a:lnTo>
                    <a:pt x="712" y="234"/>
                  </a:lnTo>
                  <a:lnTo>
                    <a:pt x="722" y="242"/>
                  </a:lnTo>
                  <a:lnTo>
                    <a:pt x="724" y="292"/>
                  </a:lnTo>
                  <a:lnTo>
                    <a:pt x="714" y="313"/>
                  </a:lnTo>
                  <a:lnTo>
                    <a:pt x="695" y="318"/>
                  </a:lnTo>
                  <a:lnTo>
                    <a:pt x="647" y="363"/>
                  </a:lnTo>
                  <a:lnTo>
                    <a:pt x="632" y="372"/>
                  </a:lnTo>
                  <a:lnTo>
                    <a:pt x="630" y="405"/>
                  </a:lnTo>
                  <a:lnTo>
                    <a:pt x="617" y="430"/>
                  </a:lnTo>
                  <a:lnTo>
                    <a:pt x="612" y="460"/>
                  </a:lnTo>
                  <a:lnTo>
                    <a:pt x="552" y="535"/>
                  </a:lnTo>
                  <a:lnTo>
                    <a:pt x="542" y="538"/>
                  </a:lnTo>
                  <a:lnTo>
                    <a:pt x="517" y="537"/>
                  </a:lnTo>
                  <a:lnTo>
                    <a:pt x="484" y="552"/>
                  </a:lnTo>
                  <a:lnTo>
                    <a:pt x="470" y="550"/>
                  </a:lnTo>
                  <a:lnTo>
                    <a:pt x="420" y="575"/>
                  </a:lnTo>
                  <a:lnTo>
                    <a:pt x="409" y="623"/>
                  </a:lnTo>
                  <a:lnTo>
                    <a:pt x="355" y="680"/>
                  </a:lnTo>
                  <a:lnTo>
                    <a:pt x="345" y="680"/>
                  </a:lnTo>
                  <a:lnTo>
                    <a:pt x="362" y="645"/>
                  </a:lnTo>
                  <a:lnTo>
                    <a:pt x="354" y="647"/>
                  </a:lnTo>
                  <a:lnTo>
                    <a:pt x="324" y="703"/>
                  </a:lnTo>
                  <a:lnTo>
                    <a:pt x="309" y="683"/>
                  </a:lnTo>
                  <a:lnTo>
                    <a:pt x="310" y="673"/>
                  </a:lnTo>
                  <a:lnTo>
                    <a:pt x="292" y="655"/>
                  </a:lnTo>
                  <a:lnTo>
                    <a:pt x="279" y="653"/>
                  </a:lnTo>
                  <a:lnTo>
                    <a:pt x="277" y="638"/>
                  </a:lnTo>
                  <a:lnTo>
                    <a:pt x="264" y="628"/>
                  </a:lnTo>
                  <a:lnTo>
                    <a:pt x="330" y="595"/>
                  </a:lnTo>
                  <a:lnTo>
                    <a:pt x="330" y="568"/>
                  </a:lnTo>
                  <a:lnTo>
                    <a:pt x="327" y="567"/>
                  </a:lnTo>
                  <a:lnTo>
                    <a:pt x="330" y="545"/>
                  </a:lnTo>
                  <a:lnTo>
                    <a:pt x="317" y="535"/>
                  </a:lnTo>
                  <a:lnTo>
                    <a:pt x="320" y="518"/>
                  </a:lnTo>
                  <a:lnTo>
                    <a:pt x="290" y="498"/>
                  </a:lnTo>
                  <a:lnTo>
                    <a:pt x="279" y="502"/>
                  </a:lnTo>
                  <a:lnTo>
                    <a:pt x="269" y="493"/>
                  </a:lnTo>
                  <a:lnTo>
                    <a:pt x="275" y="452"/>
                  </a:lnTo>
                  <a:lnTo>
                    <a:pt x="284" y="442"/>
                  </a:lnTo>
                  <a:lnTo>
                    <a:pt x="274" y="400"/>
                  </a:lnTo>
                  <a:lnTo>
                    <a:pt x="247" y="392"/>
                  </a:lnTo>
                  <a:lnTo>
                    <a:pt x="242" y="373"/>
                  </a:lnTo>
                  <a:lnTo>
                    <a:pt x="237" y="368"/>
                  </a:lnTo>
                  <a:lnTo>
                    <a:pt x="237" y="363"/>
                  </a:lnTo>
                  <a:lnTo>
                    <a:pt x="247" y="355"/>
                  </a:lnTo>
                  <a:lnTo>
                    <a:pt x="195" y="313"/>
                  </a:lnTo>
                  <a:lnTo>
                    <a:pt x="172" y="310"/>
                  </a:lnTo>
                  <a:lnTo>
                    <a:pt x="157" y="290"/>
                  </a:lnTo>
                  <a:lnTo>
                    <a:pt x="168" y="285"/>
                  </a:lnTo>
                  <a:lnTo>
                    <a:pt x="172" y="264"/>
                  </a:lnTo>
                  <a:lnTo>
                    <a:pt x="160" y="262"/>
                  </a:lnTo>
                  <a:lnTo>
                    <a:pt x="117" y="269"/>
                  </a:lnTo>
                  <a:lnTo>
                    <a:pt x="113" y="265"/>
                  </a:lnTo>
                  <a:lnTo>
                    <a:pt x="98" y="265"/>
                  </a:lnTo>
                  <a:lnTo>
                    <a:pt x="92" y="280"/>
                  </a:lnTo>
                  <a:lnTo>
                    <a:pt x="77" y="277"/>
                  </a:lnTo>
                  <a:lnTo>
                    <a:pt x="58" y="267"/>
                  </a:lnTo>
                  <a:lnTo>
                    <a:pt x="62" y="249"/>
                  </a:lnTo>
                  <a:lnTo>
                    <a:pt x="53" y="242"/>
                  </a:lnTo>
                  <a:lnTo>
                    <a:pt x="33" y="249"/>
                  </a:lnTo>
                  <a:lnTo>
                    <a:pt x="23" y="232"/>
                  </a:lnTo>
                  <a:lnTo>
                    <a:pt x="5" y="244"/>
                  </a:lnTo>
                  <a:lnTo>
                    <a:pt x="0" y="214"/>
                  </a:lnTo>
                  <a:lnTo>
                    <a:pt x="13" y="187"/>
                  </a:lnTo>
                  <a:lnTo>
                    <a:pt x="17" y="174"/>
                  </a:lnTo>
                  <a:lnTo>
                    <a:pt x="72" y="144"/>
                  </a:lnTo>
                  <a:lnTo>
                    <a:pt x="97" y="89"/>
                  </a:lnTo>
                  <a:lnTo>
                    <a:pt x="85" y="77"/>
                  </a:lnTo>
                  <a:lnTo>
                    <a:pt x="87" y="65"/>
                  </a:lnTo>
                  <a:lnTo>
                    <a:pt x="103" y="54"/>
                  </a:lnTo>
                  <a:lnTo>
                    <a:pt x="97" y="50"/>
                  </a:lnTo>
                  <a:lnTo>
                    <a:pt x="92" y="49"/>
                  </a:lnTo>
                  <a:lnTo>
                    <a:pt x="95" y="40"/>
                  </a:lnTo>
                  <a:lnTo>
                    <a:pt x="102" y="42"/>
                  </a:lnTo>
                  <a:lnTo>
                    <a:pt x="117" y="52"/>
                  </a:lnTo>
                  <a:lnTo>
                    <a:pt x="128" y="50"/>
                  </a:lnTo>
                  <a:lnTo>
                    <a:pt x="138" y="65"/>
                  </a:lnTo>
                  <a:lnTo>
                    <a:pt x="177" y="72"/>
                  </a:lnTo>
                  <a:lnTo>
                    <a:pt x="210" y="49"/>
                  </a:lnTo>
                  <a:lnTo>
                    <a:pt x="185" y="15"/>
                  </a:lnTo>
                  <a:lnTo>
                    <a:pt x="194" y="10"/>
                  </a:lnTo>
                  <a:lnTo>
                    <a:pt x="227" y="30"/>
                  </a:lnTo>
                  <a:lnTo>
                    <a:pt x="235" y="24"/>
                  </a:lnTo>
                  <a:lnTo>
                    <a:pt x="260" y="29"/>
                  </a:lnTo>
                  <a:lnTo>
                    <a:pt x="270" y="7"/>
                  </a:lnTo>
                  <a:lnTo>
                    <a:pt x="269" y="0"/>
                  </a:lnTo>
                  <a:lnTo>
                    <a:pt x="285" y="9"/>
                  </a:lnTo>
                  <a:lnTo>
                    <a:pt x="284" y="17"/>
                  </a:lnTo>
                  <a:lnTo>
                    <a:pt x="290" y="24"/>
                  </a:lnTo>
                  <a:lnTo>
                    <a:pt x="290" y="70"/>
                  </a:lnTo>
                  <a:lnTo>
                    <a:pt x="295" y="82"/>
                  </a:lnTo>
                  <a:lnTo>
                    <a:pt x="349" y="74"/>
                  </a:lnTo>
                  <a:lnTo>
                    <a:pt x="362" y="64"/>
                  </a:lnTo>
                  <a:lnTo>
                    <a:pt x="377" y="74"/>
                  </a:lnTo>
                  <a:lnTo>
                    <a:pt x="395" y="72"/>
                  </a:lnTo>
                  <a:lnTo>
                    <a:pt x="405" y="80"/>
                  </a:lnTo>
                  <a:lnTo>
                    <a:pt x="415" y="80"/>
                  </a:lnTo>
                  <a:lnTo>
                    <a:pt x="440" y="4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Freeform 105"/>
            <p:cNvSpPr>
              <a:spLocks/>
            </p:cNvSpPr>
            <p:nvPr/>
          </p:nvSpPr>
          <p:spPr bwMode="auto">
            <a:xfrm>
              <a:off x="1417" y="2356"/>
              <a:ext cx="151" cy="68"/>
            </a:xfrm>
            <a:custGeom>
              <a:avLst/>
              <a:gdLst>
                <a:gd name="T0" fmla="*/ 0 w 238"/>
                <a:gd name="T1" fmla="*/ 3 h 102"/>
                <a:gd name="T2" fmla="*/ 1 w 238"/>
                <a:gd name="T3" fmla="*/ 1 h 102"/>
                <a:gd name="T4" fmla="*/ 6 w 238"/>
                <a:gd name="T5" fmla="*/ 0 h 102"/>
                <a:gd name="T6" fmla="*/ 15 w 238"/>
                <a:gd name="T7" fmla="*/ 4 h 102"/>
                <a:gd name="T8" fmla="*/ 17 w 238"/>
                <a:gd name="T9" fmla="*/ 7 h 102"/>
                <a:gd name="T10" fmla="*/ 23 w 238"/>
                <a:gd name="T11" fmla="*/ 9 h 102"/>
                <a:gd name="T12" fmla="*/ 23 w 238"/>
                <a:gd name="T13" fmla="*/ 10 h 102"/>
                <a:gd name="T14" fmla="*/ 25 w 238"/>
                <a:gd name="T15" fmla="*/ 12 h 102"/>
                <a:gd name="T16" fmla="*/ 23 w 238"/>
                <a:gd name="T17" fmla="*/ 13 h 102"/>
                <a:gd name="T18" fmla="*/ 16 w 238"/>
                <a:gd name="T19" fmla="*/ 13 h 102"/>
                <a:gd name="T20" fmla="*/ 16 w 238"/>
                <a:gd name="T21" fmla="*/ 10 h 102"/>
                <a:gd name="T22" fmla="*/ 13 w 238"/>
                <a:gd name="T23" fmla="*/ 7 h 102"/>
                <a:gd name="T24" fmla="*/ 11 w 238"/>
                <a:gd name="T25" fmla="*/ 7 h 102"/>
                <a:gd name="T26" fmla="*/ 6 w 238"/>
                <a:gd name="T27" fmla="*/ 3 h 102"/>
                <a:gd name="T28" fmla="*/ 6 w 238"/>
                <a:gd name="T29" fmla="*/ 2 h 102"/>
                <a:gd name="T30" fmla="*/ 3 w 238"/>
                <a:gd name="T31" fmla="*/ 4 h 102"/>
                <a:gd name="T32" fmla="*/ 0 w 238"/>
                <a:gd name="T33" fmla="*/ 3 h 102"/>
                <a:gd name="T34" fmla="*/ 0 w 238"/>
                <a:gd name="T35" fmla="*/ 3 h 10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8" h="102">
                  <a:moveTo>
                    <a:pt x="0" y="25"/>
                  </a:moveTo>
                  <a:lnTo>
                    <a:pt x="10" y="12"/>
                  </a:lnTo>
                  <a:lnTo>
                    <a:pt x="65" y="0"/>
                  </a:lnTo>
                  <a:lnTo>
                    <a:pt x="138" y="28"/>
                  </a:lnTo>
                  <a:lnTo>
                    <a:pt x="165" y="52"/>
                  </a:lnTo>
                  <a:lnTo>
                    <a:pt x="217" y="65"/>
                  </a:lnTo>
                  <a:lnTo>
                    <a:pt x="217" y="75"/>
                  </a:lnTo>
                  <a:lnTo>
                    <a:pt x="238" y="90"/>
                  </a:lnTo>
                  <a:lnTo>
                    <a:pt x="225" y="102"/>
                  </a:lnTo>
                  <a:lnTo>
                    <a:pt x="153" y="97"/>
                  </a:lnTo>
                  <a:lnTo>
                    <a:pt x="155" y="75"/>
                  </a:lnTo>
                  <a:lnTo>
                    <a:pt x="130" y="50"/>
                  </a:lnTo>
                  <a:lnTo>
                    <a:pt x="115" y="50"/>
                  </a:lnTo>
                  <a:lnTo>
                    <a:pt x="62" y="25"/>
                  </a:lnTo>
                  <a:lnTo>
                    <a:pt x="53" y="15"/>
                  </a:lnTo>
                  <a:lnTo>
                    <a:pt x="22" y="28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106"/>
            <p:cNvSpPr>
              <a:spLocks/>
            </p:cNvSpPr>
            <p:nvPr/>
          </p:nvSpPr>
          <p:spPr bwMode="auto">
            <a:xfrm>
              <a:off x="1417" y="2356"/>
              <a:ext cx="151" cy="68"/>
            </a:xfrm>
            <a:custGeom>
              <a:avLst/>
              <a:gdLst>
                <a:gd name="T0" fmla="*/ 0 w 238"/>
                <a:gd name="T1" fmla="*/ 3 h 102"/>
                <a:gd name="T2" fmla="*/ 1 w 238"/>
                <a:gd name="T3" fmla="*/ 1 h 102"/>
                <a:gd name="T4" fmla="*/ 6 w 238"/>
                <a:gd name="T5" fmla="*/ 0 h 102"/>
                <a:gd name="T6" fmla="*/ 15 w 238"/>
                <a:gd name="T7" fmla="*/ 4 h 102"/>
                <a:gd name="T8" fmla="*/ 17 w 238"/>
                <a:gd name="T9" fmla="*/ 7 h 102"/>
                <a:gd name="T10" fmla="*/ 23 w 238"/>
                <a:gd name="T11" fmla="*/ 9 h 102"/>
                <a:gd name="T12" fmla="*/ 23 w 238"/>
                <a:gd name="T13" fmla="*/ 10 h 102"/>
                <a:gd name="T14" fmla="*/ 25 w 238"/>
                <a:gd name="T15" fmla="*/ 12 h 102"/>
                <a:gd name="T16" fmla="*/ 23 w 238"/>
                <a:gd name="T17" fmla="*/ 13 h 102"/>
                <a:gd name="T18" fmla="*/ 16 w 238"/>
                <a:gd name="T19" fmla="*/ 13 h 102"/>
                <a:gd name="T20" fmla="*/ 16 w 238"/>
                <a:gd name="T21" fmla="*/ 10 h 102"/>
                <a:gd name="T22" fmla="*/ 13 w 238"/>
                <a:gd name="T23" fmla="*/ 7 h 102"/>
                <a:gd name="T24" fmla="*/ 11 w 238"/>
                <a:gd name="T25" fmla="*/ 7 h 102"/>
                <a:gd name="T26" fmla="*/ 6 w 238"/>
                <a:gd name="T27" fmla="*/ 3 h 102"/>
                <a:gd name="T28" fmla="*/ 6 w 238"/>
                <a:gd name="T29" fmla="*/ 2 h 102"/>
                <a:gd name="T30" fmla="*/ 3 w 238"/>
                <a:gd name="T31" fmla="*/ 4 h 102"/>
                <a:gd name="T32" fmla="*/ 0 w 238"/>
                <a:gd name="T33" fmla="*/ 3 h 102"/>
                <a:gd name="T34" fmla="*/ 0 w 238"/>
                <a:gd name="T35" fmla="*/ 3 h 10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8" h="102">
                  <a:moveTo>
                    <a:pt x="0" y="25"/>
                  </a:moveTo>
                  <a:lnTo>
                    <a:pt x="10" y="12"/>
                  </a:lnTo>
                  <a:lnTo>
                    <a:pt x="65" y="0"/>
                  </a:lnTo>
                  <a:lnTo>
                    <a:pt x="138" y="28"/>
                  </a:lnTo>
                  <a:lnTo>
                    <a:pt x="165" y="52"/>
                  </a:lnTo>
                  <a:lnTo>
                    <a:pt x="217" y="65"/>
                  </a:lnTo>
                  <a:lnTo>
                    <a:pt x="217" y="75"/>
                  </a:lnTo>
                  <a:lnTo>
                    <a:pt x="238" y="90"/>
                  </a:lnTo>
                  <a:lnTo>
                    <a:pt x="225" y="102"/>
                  </a:lnTo>
                  <a:lnTo>
                    <a:pt x="153" y="97"/>
                  </a:lnTo>
                  <a:lnTo>
                    <a:pt x="155" y="75"/>
                  </a:lnTo>
                  <a:lnTo>
                    <a:pt x="130" y="50"/>
                  </a:lnTo>
                  <a:lnTo>
                    <a:pt x="115" y="50"/>
                  </a:lnTo>
                  <a:lnTo>
                    <a:pt x="62" y="25"/>
                  </a:lnTo>
                  <a:lnTo>
                    <a:pt x="53" y="15"/>
                  </a:lnTo>
                  <a:lnTo>
                    <a:pt x="22" y="28"/>
                  </a:lnTo>
                  <a:lnTo>
                    <a:pt x="0" y="2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107"/>
            <p:cNvSpPr>
              <a:spLocks/>
            </p:cNvSpPr>
            <p:nvPr/>
          </p:nvSpPr>
          <p:spPr bwMode="auto">
            <a:xfrm>
              <a:off x="1660" y="2457"/>
              <a:ext cx="31" cy="11"/>
            </a:xfrm>
            <a:custGeom>
              <a:avLst/>
              <a:gdLst>
                <a:gd name="T0" fmla="*/ 0 w 47"/>
                <a:gd name="T1" fmla="*/ 2 h 16"/>
                <a:gd name="T2" fmla="*/ 1 w 47"/>
                <a:gd name="T3" fmla="*/ 1 h 16"/>
                <a:gd name="T4" fmla="*/ 5 w 47"/>
                <a:gd name="T5" fmla="*/ 1 h 16"/>
                <a:gd name="T6" fmla="*/ 6 w 47"/>
                <a:gd name="T7" fmla="*/ 0 h 16"/>
                <a:gd name="T8" fmla="*/ 6 w 47"/>
                <a:gd name="T9" fmla="*/ 1 h 16"/>
                <a:gd name="T10" fmla="*/ 3 w 47"/>
                <a:gd name="T11" fmla="*/ 3 h 16"/>
                <a:gd name="T12" fmla="*/ 3 w 47"/>
                <a:gd name="T13" fmla="*/ 2 h 16"/>
                <a:gd name="T14" fmla="*/ 0 w 47"/>
                <a:gd name="T15" fmla="*/ 2 h 16"/>
                <a:gd name="T16" fmla="*/ 0 w 47"/>
                <a:gd name="T17" fmla="*/ 2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" h="16">
                  <a:moveTo>
                    <a:pt x="0" y="11"/>
                  </a:moveTo>
                  <a:lnTo>
                    <a:pt x="4" y="3"/>
                  </a:lnTo>
                  <a:lnTo>
                    <a:pt x="34" y="1"/>
                  </a:lnTo>
                  <a:lnTo>
                    <a:pt x="45" y="0"/>
                  </a:lnTo>
                  <a:lnTo>
                    <a:pt x="47" y="6"/>
                  </a:lnTo>
                  <a:lnTo>
                    <a:pt x="27" y="16"/>
                  </a:lnTo>
                  <a:lnTo>
                    <a:pt x="19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108"/>
            <p:cNvSpPr>
              <a:spLocks/>
            </p:cNvSpPr>
            <p:nvPr/>
          </p:nvSpPr>
          <p:spPr bwMode="auto">
            <a:xfrm>
              <a:off x="1660" y="2457"/>
              <a:ext cx="31" cy="11"/>
            </a:xfrm>
            <a:custGeom>
              <a:avLst/>
              <a:gdLst>
                <a:gd name="T0" fmla="*/ 0 w 47"/>
                <a:gd name="T1" fmla="*/ 2 h 16"/>
                <a:gd name="T2" fmla="*/ 1 w 47"/>
                <a:gd name="T3" fmla="*/ 1 h 16"/>
                <a:gd name="T4" fmla="*/ 5 w 47"/>
                <a:gd name="T5" fmla="*/ 1 h 16"/>
                <a:gd name="T6" fmla="*/ 6 w 47"/>
                <a:gd name="T7" fmla="*/ 0 h 16"/>
                <a:gd name="T8" fmla="*/ 6 w 47"/>
                <a:gd name="T9" fmla="*/ 1 h 16"/>
                <a:gd name="T10" fmla="*/ 3 w 47"/>
                <a:gd name="T11" fmla="*/ 3 h 16"/>
                <a:gd name="T12" fmla="*/ 3 w 47"/>
                <a:gd name="T13" fmla="*/ 2 h 16"/>
                <a:gd name="T14" fmla="*/ 0 w 47"/>
                <a:gd name="T15" fmla="*/ 2 h 16"/>
                <a:gd name="T16" fmla="*/ 0 w 47"/>
                <a:gd name="T17" fmla="*/ 2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" h="16">
                  <a:moveTo>
                    <a:pt x="0" y="11"/>
                  </a:moveTo>
                  <a:lnTo>
                    <a:pt x="4" y="3"/>
                  </a:lnTo>
                  <a:lnTo>
                    <a:pt x="34" y="1"/>
                  </a:lnTo>
                  <a:lnTo>
                    <a:pt x="45" y="0"/>
                  </a:lnTo>
                  <a:lnTo>
                    <a:pt x="47" y="6"/>
                  </a:lnTo>
                  <a:lnTo>
                    <a:pt x="27" y="16"/>
                  </a:lnTo>
                  <a:lnTo>
                    <a:pt x="19" y="11"/>
                  </a:lnTo>
                  <a:lnTo>
                    <a:pt x="0" y="1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Freeform 109"/>
            <p:cNvSpPr>
              <a:spLocks/>
            </p:cNvSpPr>
            <p:nvPr/>
          </p:nvSpPr>
          <p:spPr bwMode="auto">
            <a:xfrm>
              <a:off x="1497" y="2439"/>
              <a:ext cx="37" cy="18"/>
            </a:xfrm>
            <a:custGeom>
              <a:avLst/>
              <a:gdLst>
                <a:gd name="T0" fmla="*/ 0 w 56"/>
                <a:gd name="T1" fmla="*/ 0 h 27"/>
                <a:gd name="T2" fmla="*/ 3 w 56"/>
                <a:gd name="T3" fmla="*/ 3 h 27"/>
                <a:gd name="T4" fmla="*/ 5 w 56"/>
                <a:gd name="T5" fmla="*/ 3 h 27"/>
                <a:gd name="T6" fmla="*/ 7 w 56"/>
                <a:gd name="T7" fmla="*/ 3 h 27"/>
                <a:gd name="T8" fmla="*/ 7 w 56"/>
                <a:gd name="T9" fmla="*/ 2 h 27"/>
                <a:gd name="T10" fmla="*/ 5 w 56"/>
                <a:gd name="T11" fmla="*/ 2 h 27"/>
                <a:gd name="T12" fmla="*/ 3 w 56"/>
                <a:gd name="T13" fmla="*/ 1 h 27"/>
                <a:gd name="T14" fmla="*/ 2 w 56"/>
                <a:gd name="T15" fmla="*/ 1 h 27"/>
                <a:gd name="T16" fmla="*/ 0 w 56"/>
                <a:gd name="T17" fmla="*/ 0 h 27"/>
                <a:gd name="T18" fmla="*/ 0 w 56"/>
                <a:gd name="T19" fmla="*/ 0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6" h="27">
                  <a:moveTo>
                    <a:pt x="0" y="0"/>
                  </a:moveTo>
                  <a:lnTo>
                    <a:pt x="23" y="23"/>
                  </a:lnTo>
                  <a:lnTo>
                    <a:pt x="33" y="27"/>
                  </a:lnTo>
                  <a:lnTo>
                    <a:pt x="55" y="23"/>
                  </a:lnTo>
                  <a:lnTo>
                    <a:pt x="56" y="15"/>
                  </a:lnTo>
                  <a:lnTo>
                    <a:pt x="35" y="13"/>
                  </a:lnTo>
                  <a:lnTo>
                    <a:pt x="25" y="10"/>
                  </a:lnTo>
                  <a:lnTo>
                    <a:pt x="16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4" name="Freeform 110"/>
            <p:cNvSpPr>
              <a:spLocks/>
            </p:cNvSpPr>
            <p:nvPr/>
          </p:nvSpPr>
          <p:spPr bwMode="auto">
            <a:xfrm>
              <a:off x="1497" y="2439"/>
              <a:ext cx="37" cy="18"/>
            </a:xfrm>
            <a:custGeom>
              <a:avLst/>
              <a:gdLst>
                <a:gd name="T0" fmla="*/ 0 w 56"/>
                <a:gd name="T1" fmla="*/ 0 h 27"/>
                <a:gd name="T2" fmla="*/ 3 w 56"/>
                <a:gd name="T3" fmla="*/ 3 h 27"/>
                <a:gd name="T4" fmla="*/ 5 w 56"/>
                <a:gd name="T5" fmla="*/ 3 h 27"/>
                <a:gd name="T6" fmla="*/ 7 w 56"/>
                <a:gd name="T7" fmla="*/ 3 h 27"/>
                <a:gd name="T8" fmla="*/ 7 w 56"/>
                <a:gd name="T9" fmla="*/ 2 h 27"/>
                <a:gd name="T10" fmla="*/ 5 w 56"/>
                <a:gd name="T11" fmla="*/ 2 h 27"/>
                <a:gd name="T12" fmla="*/ 3 w 56"/>
                <a:gd name="T13" fmla="*/ 1 h 27"/>
                <a:gd name="T14" fmla="*/ 2 w 56"/>
                <a:gd name="T15" fmla="*/ 1 h 27"/>
                <a:gd name="T16" fmla="*/ 0 w 56"/>
                <a:gd name="T17" fmla="*/ 0 h 27"/>
                <a:gd name="T18" fmla="*/ 0 w 56"/>
                <a:gd name="T19" fmla="*/ 0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6" h="27">
                  <a:moveTo>
                    <a:pt x="0" y="0"/>
                  </a:moveTo>
                  <a:lnTo>
                    <a:pt x="23" y="23"/>
                  </a:lnTo>
                  <a:lnTo>
                    <a:pt x="33" y="27"/>
                  </a:lnTo>
                  <a:lnTo>
                    <a:pt x="55" y="23"/>
                  </a:lnTo>
                  <a:lnTo>
                    <a:pt x="56" y="15"/>
                  </a:lnTo>
                  <a:lnTo>
                    <a:pt x="35" y="13"/>
                  </a:lnTo>
                  <a:lnTo>
                    <a:pt x="25" y="10"/>
                  </a:lnTo>
                  <a:lnTo>
                    <a:pt x="16" y="2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111"/>
            <p:cNvSpPr>
              <a:spLocks/>
            </p:cNvSpPr>
            <p:nvPr/>
          </p:nvSpPr>
          <p:spPr bwMode="auto">
            <a:xfrm>
              <a:off x="1431" y="2379"/>
              <a:ext cx="12" cy="7"/>
            </a:xfrm>
            <a:custGeom>
              <a:avLst/>
              <a:gdLst>
                <a:gd name="T0" fmla="*/ 2 w 18"/>
                <a:gd name="T1" fmla="*/ 0 h 10"/>
                <a:gd name="T2" fmla="*/ 1 w 18"/>
                <a:gd name="T3" fmla="*/ 0 h 10"/>
                <a:gd name="T4" fmla="*/ 1 w 18"/>
                <a:gd name="T5" fmla="*/ 1 h 10"/>
                <a:gd name="T6" fmla="*/ 0 w 18"/>
                <a:gd name="T7" fmla="*/ 2 h 10"/>
                <a:gd name="T8" fmla="*/ 2 w 18"/>
                <a:gd name="T9" fmla="*/ 1 h 10"/>
                <a:gd name="T10" fmla="*/ 2 w 18"/>
                <a:gd name="T11" fmla="*/ 0 h 10"/>
                <a:gd name="T12" fmla="*/ 2 w 1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10">
                  <a:moveTo>
                    <a:pt x="15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18" y="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Freeform 112"/>
            <p:cNvSpPr>
              <a:spLocks/>
            </p:cNvSpPr>
            <p:nvPr/>
          </p:nvSpPr>
          <p:spPr bwMode="auto">
            <a:xfrm>
              <a:off x="1431" y="2379"/>
              <a:ext cx="12" cy="7"/>
            </a:xfrm>
            <a:custGeom>
              <a:avLst/>
              <a:gdLst>
                <a:gd name="T0" fmla="*/ 2 w 18"/>
                <a:gd name="T1" fmla="*/ 0 h 10"/>
                <a:gd name="T2" fmla="*/ 1 w 18"/>
                <a:gd name="T3" fmla="*/ 0 h 10"/>
                <a:gd name="T4" fmla="*/ 1 w 18"/>
                <a:gd name="T5" fmla="*/ 1 h 10"/>
                <a:gd name="T6" fmla="*/ 0 w 18"/>
                <a:gd name="T7" fmla="*/ 2 h 10"/>
                <a:gd name="T8" fmla="*/ 2 w 18"/>
                <a:gd name="T9" fmla="*/ 1 h 10"/>
                <a:gd name="T10" fmla="*/ 2 w 18"/>
                <a:gd name="T11" fmla="*/ 0 h 10"/>
                <a:gd name="T12" fmla="*/ 2 w 1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10">
                  <a:moveTo>
                    <a:pt x="15" y="0"/>
                  </a:moveTo>
                  <a:lnTo>
                    <a:pt x="8" y="0"/>
                  </a:lnTo>
                  <a:lnTo>
                    <a:pt x="2" y="3"/>
                  </a:lnTo>
                  <a:lnTo>
                    <a:pt x="0" y="10"/>
                  </a:lnTo>
                  <a:lnTo>
                    <a:pt x="18" y="7"/>
                  </a:lnTo>
                  <a:lnTo>
                    <a:pt x="1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7" name="Freeform 113"/>
            <p:cNvSpPr>
              <a:spLocks/>
            </p:cNvSpPr>
            <p:nvPr/>
          </p:nvSpPr>
          <p:spPr bwMode="auto">
            <a:xfrm>
              <a:off x="1515" y="2323"/>
              <a:ext cx="7" cy="12"/>
            </a:xfrm>
            <a:custGeom>
              <a:avLst/>
              <a:gdLst>
                <a:gd name="T0" fmla="*/ 1 w 12"/>
                <a:gd name="T1" fmla="*/ 0 h 15"/>
                <a:gd name="T2" fmla="*/ 0 w 12"/>
                <a:gd name="T3" fmla="*/ 0 h 15"/>
                <a:gd name="T4" fmla="*/ 1 w 12"/>
                <a:gd name="T5" fmla="*/ 5 h 15"/>
                <a:gd name="T6" fmla="*/ 1 w 12"/>
                <a:gd name="T7" fmla="*/ 2 h 15"/>
                <a:gd name="T8" fmla="*/ 1 w 12"/>
                <a:gd name="T9" fmla="*/ 2 h 15"/>
                <a:gd name="T10" fmla="*/ 1 w 12"/>
                <a:gd name="T11" fmla="*/ 0 h 15"/>
                <a:gd name="T12" fmla="*/ 1 w 12"/>
                <a:gd name="T13" fmla="*/ 0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5">
                  <a:moveTo>
                    <a:pt x="10" y="0"/>
                  </a:moveTo>
                  <a:lnTo>
                    <a:pt x="0" y="0"/>
                  </a:lnTo>
                  <a:lnTo>
                    <a:pt x="2" y="15"/>
                  </a:lnTo>
                  <a:lnTo>
                    <a:pt x="12" y="8"/>
                  </a:lnTo>
                  <a:lnTo>
                    <a:pt x="10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Freeform 114"/>
            <p:cNvSpPr>
              <a:spLocks/>
            </p:cNvSpPr>
            <p:nvPr/>
          </p:nvSpPr>
          <p:spPr bwMode="auto">
            <a:xfrm>
              <a:off x="1515" y="2323"/>
              <a:ext cx="7" cy="12"/>
            </a:xfrm>
            <a:custGeom>
              <a:avLst/>
              <a:gdLst>
                <a:gd name="T0" fmla="*/ 1 w 12"/>
                <a:gd name="T1" fmla="*/ 0 h 15"/>
                <a:gd name="T2" fmla="*/ 0 w 12"/>
                <a:gd name="T3" fmla="*/ 0 h 15"/>
                <a:gd name="T4" fmla="*/ 1 w 12"/>
                <a:gd name="T5" fmla="*/ 5 h 15"/>
                <a:gd name="T6" fmla="*/ 1 w 12"/>
                <a:gd name="T7" fmla="*/ 2 h 15"/>
                <a:gd name="T8" fmla="*/ 1 w 12"/>
                <a:gd name="T9" fmla="*/ 2 h 15"/>
                <a:gd name="T10" fmla="*/ 1 w 12"/>
                <a:gd name="T11" fmla="*/ 0 h 15"/>
                <a:gd name="T12" fmla="*/ 1 w 12"/>
                <a:gd name="T13" fmla="*/ 0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5">
                  <a:moveTo>
                    <a:pt x="10" y="0"/>
                  </a:moveTo>
                  <a:lnTo>
                    <a:pt x="0" y="0"/>
                  </a:lnTo>
                  <a:lnTo>
                    <a:pt x="2" y="15"/>
                  </a:lnTo>
                  <a:lnTo>
                    <a:pt x="12" y="8"/>
                  </a:lnTo>
                  <a:lnTo>
                    <a:pt x="10" y="5"/>
                  </a:lnTo>
                  <a:lnTo>
                    <a:pt x="1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Freeform 115"/>
            <p:cNvSpPr>
              <a:spLocks/>
            </p:cNvSpPr>
            <p:nvPr/>
          </p:nvSpPr>
          <p:spPr bwMode="auto">
            <a:xfrm>
              <a:off x="1520" y="2336"/>
              <a:ext cx="2" cy="7"/>
            </a:xfrm>
            <a:custGeom>
              <a:avLst/>
              <a:gdLst>
                <a:gd name="T0" fmla="*/ 0 w 5"/>
                <a:gd name="T1" fmla="*/ 0 h 10"/>
                <a:gd name="T2" fmla="*/ 0 w 5"/>
                <a:gd name="T3" fmla="*/ 1 h 10"/>
                <a:gd name="T4" fmla="*/ 0 w 5"/>
                <a:gd name="T5" fmla="*/ 2 h 10"/>
                <a:gd name="T6" fmla="*/ 0 w 5"/>
                <a:gd name="T7" fmla="*/ 1 h 10"/>
                <a:gd name="T8" fmla="*/ 0 w 5"/>
                <a:gd name="T9" fmla="*/ 0 h 10"/>
                <a:gd name="T10" fmla="*/ 0 w 5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" h="10">
                  <a:moveTo>
                    <a:pt x="5" y="0"/>
                  </a:moveTo>
                  <a:lnTo>
                    <a:pt x="3" y="3"/>
                  </a:lnTo>
                  <a:lnTo>
                    <a:pt x="0" y="10"/>
                  </a:lnTo>
                  <a:lnTo>
                    <a:pt x="5" y="7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Freeform 116"/>
            <p:cNvSpPr>
              <a:spLocks/>
            </p:cNvSpPr>
            <p:nvPr/>
          </p:nvSpPr>
          <p:spPr bwMode="auto">
            <a:xfrm>
              <a:off x="1013" y="1413"/>
              <a:ext cx="19" cy="9"/>
            </a:xfrm>
            <a:custGeom>
              <a:avLst/>
              <a:gdLst>
                <a:gd name="T0" fmla="*/ 3 w 27"/>
                <a:gd name="T1" fmla="*/ 2 h 12"/>
                <a:gd name="T2" fmla="*/ 1 w 27"/>
                <a:gd name="T3" fmla="*/ 0 h 12"/>
                <a:gd name="T4" fmla="*/ 0 w 27"/>
                <a:gd name="T5" fmla="*/ 2 h 12"/>
                <a:gd name="T6" fmla="*/ 1 w 27"/>
                <a:gd name="T7" fmla="*/ 3 h 12"/>
                <a:gd name="T8" fmla="*/ 3 w 27"/>
                <a:gd name="T9" fmla="*/ 3 h 12"/>
                <a:gd name="T10" fmla="*/ 4 w 27"/>
                <a:gd name="T11" fmla="*/ 2 h 12"/>
                <a:gd name="T12" fmla="*/ 3 w 27"/>
                <a:gd name="T13" fmla="*/ 2 h 12"/>
                <a:gd name="T14" fmla="*/ 3 w 27"/>
                <a:gd name="T15" fmla="*/ 2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" h="12">
                  <a:moveTo>
                    <a:pt x="17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10"/>
                  </a:lnTo>
                  <a:lnTo>
                    <a:pt x="17" y="12"/>
                  </a:lnTo>
                  <a:lnTo>
                    <a:pt x="27" y="5"/>
                  </a:lnTo>
                  <a:lnTo>
                    <a:pt x="17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117"/>
            <p:cNvSpPr>
              <a:spLocks/>
            </p:cNvSpPr>
            <p:nvPr/>
          </p:nvSpPr>
          <p:spPr bwMode="auto">
            <a:xfrm>
              <a:off x="1013" y="1413"/>
              <a:ext cx="19" cy="9"/>
            </a:xfrm>
            <a:custGeom>
              <a:avLst/>
              <a:gdLst>
                <a:gd name="T0" fmla="*/ 3 w 27"/>
                <a:gd name="T1" fmla="*/ 2 h 12"/>
                <a:gd name="T2" fmla="*/ 1 w 27"/>
                <a:gd name="T3" fmla="*/ 0 h 12"/>
                <a:gd name="T4" fmla="*/ 0 w 27"/>
                <a:gd name="T5" fmla="*/ 2 h 12"/>
                <a:gd name="T6" fmla="*/ 1 w 27"/>
                <a:gd name="T7" fmla="*/ 3 h 12"/>
                <a:gd name="T8" fmla="*/ 3 w 27"/>
                <a:gd name="T9" fmla="*/ 3 h 12"/>
                <a:gd name="T10" fmla="*/ 4 w 27"/>
                <a:gd name="T11" fmla="*/ 2 h 12"/>
                <a:gd name="T12" fmla="*/ 3 w 27"/>
                <a:gd name="T13" fmla="*/ 2 h 12"/>
                <a:gd name="T14" fmla="*/ 3 w 27"/>
                <a:gd name="T15" fmla="*/ 2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" h="12">
                  <a:moveTo>
                    <a:pt x="17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10"/>
                  </a:lnTo>
                  <a:lnTo>
                    <a:pt x="17" y="12"/>
                  </a:lnTo>
                  <a:lnTo>
                    <a:pt x="27" y="5"/>
                  </a:lnTo>
                  <a:lnTo>
                    <a:pt x="17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2" name="Freeform 118"/>
            <p:cNvSpPr>
              <a:spLocks/>
            </p:cNvSpPr>
            <p:nvPr/>
          </p:nvSpPr>
          <p:spPr bwMode="auto">
            <a:xfrm>
              <a:off x="969" y="1481"/>
              <a:ext cx="18" cy="9"/>
            </a:xfrm>
            <a:custGeom>
              <a:avLst/>
              <a:gdLst>
                <a:gd name="T0" fmla="*/ 2 w 28"/>
                <a:gd name="T1" fmla="*/ 0 h 13"/>
                <a:gd name="T2" fmla="*/ 0 w 28"/>
                <a:gd name="T3" fmla="*/ 1 h 13"/>
                <a:gd name="T4" fmla="*/ 1 w 28"/>
                <a:gd name="T5" fmla="*/ 2 h 13"/>
                <a:gd name="T6" fmla="*/ 3 w 28"/>
                <a:gd name="T7" fmla="*/ 2 h 13"/>
                <a:gd name="T8" fmla="*/ 3 w 28"/>
                <a:gd name="T9" fmla="*/ 1 h 13"/>
                <a:gd name="T10" fmla="*/ 2 w 28"/>
                <a:gd name="T11" fmla="*/ 0 h 13"/>
                <a:gd name="T12" fmla="*/ 2 w 28"/>
                <a:gd name="T13" fmla="*/ 0 h 13"/>
                <a:gd name="T14" fmla="*/ 2 w 28"/>
                <a:gd name="T15" fmla="*/ 0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8" h="13">
                  <a:moveTo>
                    <a:pt x="15" y="0"/>
                  </a:moveTo>
                  <a:lnTo>
                    <a:pt x="0" y="6"/>
                  </a:lnTo>
                  <a:lnTo>
                    <a:pt x="7" y="11"/>
                  </a:lnTo>
                  <a:lnTo>
                    <a:pt x="28" y="13"/>
                  </a:lnTo>
                  <a:lnTo>
                    <a:pt x="28" y="3"/>
                  </a:lnTo>
                  <a:lnTo>
                    <a:pt x="20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Freeform 119"/>
            <p:cNvSpPr>
              <a:spLocks/>
            </p:cNvSpPr>
            <p:nvPr/>
          </p:nvSpPr>
          <p:spPr bwMode="auto">
            <a:xfrm>
              <a:off x="969" y="1481"/>
              <a:ext cx="18" cy="9"/>
            </a:xfrm>
            <a:custGeom>
              <a:avLst/>
              <a:gdLst>
                <a:gd name="T0" fmla="*/ 2 w 28"/>
                <a:gd name="T1" fmla="*/ 0 h 13"/>
                <a:gd name="T2" fmla="*/ 0 w 28"/>
                <a:gd name="T3" fmla="*/ 1 h 13"/>
                <a:gd name="T4" fmla="*/ 1 w 28"/>
                <a:gd name="T5" fmla="*/ 2 h 13"/>
                <a:gd name="T6" fmla="*/ 3 w 28"/>
                <a:gd name="T7" fmla="*/ 2 h 13"/>
                <a:gd name="T8" fmla="*/ 3 w 28"/>
                <a:gd name="T9" fmla="*/ 1 h 13"/>
                <a:gd name="T10" fmla="*/ 2 w 28"/>
                <a:gd name="T11" fmla="*/ 0 h 13"/>
                <a:gd name="T12" fmla="*/ 2 w 28"/>
                <a:gd name="T13" fmla="*/ 0 h 13"/>
                <a:gd name="T14" fmla="*/ 2 w 28"/>
                <a:gd name="T15" fmla="*/ 0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8" h="13">
                  <a:moveTo>
                    <a:pt x="15" y="0"/>
                  </a:moveTo>
                  <a:lnTo>
                    <a:pt x="0" y="6"/>
                  </a:lnTo>
                  <a:lnTo>
                    <a:pt x="7" y="11"/>
                  </a:lnTo>
                  <a:lnTo>
                    <a:pt x="28" y="13"/>
                  </a:lnTo>
                  <a:lnTo>
                    <a:pt x="28" y="3"/>
                  </a:lnTo>
                  <a:lnTo>
                    <a:pt x="20" y="0"/>
                  </a:lnTo>
                  <a:lnTo>
                    <a:pt x="1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Freeform 120"/>
            <p:cNvSpPr>
              <a:spLocks/>
            </p:cNvSpPr>
            <p:nvPr/>
          </p:nvSpPr>
          <p:spPr bwMode="auto">
            <a:xfrm>
              <a:off x="1734" y="1918"/>
              <a:ext cx="73" cy="77"/>
            </a:xfrm>
            <a:custGeom>
              <a:avLst/>
              <a:gdLst>
                <a:gd name="T0" fmla="*/ 5 w 116"/>
                <a:gd name="T1" fmla="*/ 0 h 115"/>
                <a:gd name="T2" fmla="*/ 3 w 116"/>
                <a:gd name="T3" fmla="*/ 7 h 115"/>
                <a:gd name="T4" fmla="*/ 0 w 116"/>
                <a:gd name="T5" fmla="*/ 9 h 115"/>
                <a:gd name="T6" fmla="*/ 2 w 116"/>
                <a:gd name="T7" fmla="*/ 9 h 115"/>
                <a:gd name="T8" fmla="*/ 2 w 116"/>
                <a:gd name="T9" fmla="*/ 13 h 115"/>
                <a:gd name="T10" fmla="*/ 4 w 116"/>
                <a:gd name="T11" fmla="*/ 14 h 115"/>
                <a:gd name="T12" fmla="*/ 7 w 116"/>
                <a:gd name="T13" fmla="*/ 13 h 115"/>
                <a:gd name="T14" fmla="*/ 8 w 116"/>
                <a:gd name="T15" fmla="*/ 13 h 115"/>
                <a:gd name="T16" fmla="*/ 9 w 116"/>
                <a:gd name="T17" fmla="*/ 14 h 115"/>
                <a:gd name="T18" fmla="*/ 10 w 116"/>
                <a:gd name="T19" fmla="*/ 14 h 115"/>
                <a:gd name="T20" fmla="*/ 11 w 116"/>
                <a:gd name="T21" fmla="*/ 15 h 115"/>
                <a:gd name="T22" fmla="*/ 11 w 116"/>
                <a:gd name="T23" fmla="*/ 9 h 115"/>
                <a:gd name="T24" fmla="*/ 10 w 116"/>
                <a:gd name="T25" fmla="*/ 10 h 115"/>
                <a:gd name="T26" fmla="*/ 11 w 116"/>
                <a:gd name="T27" fmla="*/ 7 h 115"/>
                <a:gd name="T28" fmla="*/ 10 w 116"/>
                <a:gd name="T29" fmla="*/ 6 h 115"/>
                <a:gd name="T30" fmla="*/ 10 w 116"/>
                <a:gd name="T31" fmla="*/ 5 h 115"/>
                <a:gd name="T32" fmla="*/ 7 w 116"/>
                <a:gd name="T33" fmla="*/ 5 h 115"/>
                <a:gd name="T34" fmla="*/ 5 w 116"/>
                <a:gd name="T35" fmla="*/ 5 h 115"/>
                <a:gd name="T36" fmla="*/ 6 w 116"/>
                <a:gd name="T37" fmla="*/ 1 h 115"/>
                <a:gd name="T38" fmla="*/ 5 w 116"/>
                <a:gd name="T39" fmla="*/ 0 h 115"/>
                <a:gd name="T40" fmla="*/ 5 w 116"/>
                <a:gd name="T41" fmla="*/ 0 h 1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6" h="115">
                  <a:moveTo>
                    <a:pt x="48" y="0"/>
                  </a:moveTo>
                  <a:lnTo>
                    <a:pt x="28" y="53"/>
                  </a:lnTo>
                  <a:lnTo>
                    <a:pt x="0" y="68"/>
                  </a:lnTo>
                  <a:lnTo>
                    <a:pt x="21" y="70"/>
                  </a:lnTo>
                  <a:lnTo>
                    <a:pt x="21" y="98"/>
                  </a:lnTo>
                  <a:lnTo>
                    <a:pt x="43" y="105"/>
                  </a:lnTo>
                  <a:lnTo>
                    <a:pt x="68" y="93"/>
                  </a:lnTo>
                  <a:lnTo>
                    <a:pt x="75" y="95"/>
                  </a:lnTo>
                  <a:lnTo>
                    <a:pt x="91" y="108"/>
                  </a:lnTo>
                  <a:lnTo>
                    <a:pt x="106" y="101"/>
                  </a:lnTo>
                  <a:lnTo>
                    <a:pt x="111" y="115"/>
                  </a:lnTo>
                  <a:lnTo>
                    <a:pt x="116" y="68"/>
                  </a:lnTo>
                  <a:lnTo>
                    <a:pt x="103" y="75"/>
                  </a:lnTo>
                  <a:lnTo>
                    <a:pt x="111" y="55"/>
                  </a:lnTo>
                  <a:lnTo>
                    <a:pt x="98" y="45"/>
                  </a:lnTo>
                  <a:lnTo>
                    <a:pt x="98" y="40"/>
                  </a:lnTo>
                  <a:lnTo>
                    <a:pt x="68" y="33"/>
                  </a:lnTo>
                  <a:lnTo>
                    <a:pt x="53" y="40"/>
                  </a:lnTo>
                  <a:lnTo>
                    <a:pt x="61" y="1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Freeform 121"/>
            <p:cNvSpPr>
              <a:spLocks/>
            </p:cNvSpPr>
            <p:nvPr/>
          </p:nvSpPr>
          <p:spPr bwMode="auto">
            <a:xfrm>
              <a:off x="1734" y="1918"/>
              <a:ext cx="73" cy="77"/>
            </a:xfrm>
            <a:custGeom>
              <a:avLst/>
              <a:gdLst>
                <a:gd name="T0" fmla="*/ 5 w 116"/>
                <a:gd name="T1" fmla="*/ 0 h 115"/>
                <a:gd name="T2" fmla="*/ 3 w 116"/>
                <a:gd name="T3" fmla="*/ 7 h 115"/>
                <a:gd name="T4" fmla="*/ 0 w 116"/>
                <a:gd name="T5" fmla="*/ 9 h 115"/>
                <a:gd name="T6" fmla="*/ 2 w 116"/>
                <a:gd name="T7" fmla="*/ 9 h 115"/>
                <a:gd name="T8" fmla="*/ 2 w 116"/>
                <a:gd name="T9" fmla="*/ 13 h 115"/>
                <a:gd name="T10" fmla="*/ 4 w 116"/>
                <a:gd name="T11" fmla="*/ 14 h 115"/>
                <a:gd name="T12" fmla="*/ 7 w 116"/>
                <a:gd name="T13" fmla="*/ 13 h 115"/>
                <a:gd name="T14" fmla="*/ 8 w 116"/>
                <a:gd name="T15" fmla="*/ 13 h 115"/>
                <a:gd name="T16" fmla="*/ 9 w 116"/>
                <a:gd name="T17" fmla="*/ 14 h 115"/>
                <a:gd name="T18" fmla="*/ 10 w 116"/>
                <a:gd name="T19" fmla="*/ 14 h 115"/>
                <a:gd name="T20" fmla="*/ 11 w 116"/>
                <a:gd name="T21" fmla="*/ 15 h 115"/>
                <a:gd name="T22" fmla="*/ 11 w 116"/>
                <a:gd name="T23" fmla="*/ 9 h 115"/>
                <a:gd name="T24" fmla="*/ 10 w 116"/>
                <a:gd name="T25" fmla="*/ 10 h 115"/>
                <a:gd name="T26" fmla="*/ 11 w 116"/>
                <a:gd name="T27" fmla="*/ 7 h 115"/>
                <a:gd name="T28" fmla="*/ 10 w 116"/>
                <a:gd name="T29" fmla="*/ 6 h 115"/>
                <a:gd name="T30" fmla="*/ 10 w 116"/>
                <a:gd name="T31" fmla="*/ 5 h 115"/>
                <a:gd name="T32" fmla="*/ 7 w 116"/>
                <a:gd name="T33" fmla="*/ 5 h 115"/>
                <a:gd name="T34" fmla="*/ 5 w 116"/>
                <a:gd name="T35" fmla="*/ 5 h 115"/>
                <a:gd name="T36" fmla="*/ 6 w 116"/>
                <a:gd name="T37" fmla="*/ 1 h 115"/>
                <a:gd name="T38" fmla="*/ 5 w 116"/>
                <a:gd name="T39" fmla="*/ 0 h 115"/>
                <a:gd name="T40" fmla="*/ 5 w 116"/>
                <a:gd name="T41" fmla="*/ 0 h 1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6" h="115">
                  <a:moveTo>
                    <a:pt x="48" y="0"/>
                  </a:moveTo>
                  <a:lnTo>
                    <a:pt x="28" y="53"/>
                  </a:lnTo>
                  <a:lnTo>
                    <a:pt x="0" y="68"/>
                  </a:lnTo>
                  <a:lnTo>
                    <a:pt x="21" y="70"/>
                  </a:lnTo>
                  <a:lnTo>
                    <a:pt x="21" y="98"/>
                  </a:lnTo>
                  <a:lnTo>
                    <a:pt x="43" y="105"/>
                  </a:lnTo>
                  <a:lnTo>
                    <a:pt x="68" y="93"/>
                  </a:lnTo>
                  <a:lnTo>
                    <a:pt x="75" y="95"/>
                  </a:lnTo>
                  <a:lnTo>
                    <a:pt x="91" y="108"/>
                  </a:lnTo>
                  <a:lnTo>
                    <a:pt x="106" y="101"/>
                  </a:lnTo>
                  <a:lnTo>
                    <a:pt x="111" y="115"/>
                  </a:lnTo>
                  <a:lnTo>
                    <a:pt x="116" y="68"/>
                  </a:lnTo>
                  <a:lnTo>
                    <a:pt x="103" y="75"/>
                  </a:lnTo>
                  <a:lnTo>
                    <a:pt x="111" y="55"/>
                  </a:lnTo>
                  <a:lnTo>
                    <a:pt x="98" y="45"/>
                  </a:lnTo>
                  <a:lnTo>
                    <a:pt x="98" y="40"/>
                  </a:lnTo>
                  <a:lnTo>
                    <a:pt x="68" y="33"/>
                  </a:lnTo>
                  <a:lnTo>
                    <a:pt x="53" y="40"/>
                  </a:lnTo>
                  <a:lnTo>
                    <a:pt x="61" y="10"/>
                  </a:lnTo>
                  <a:lnTo>
                    <a:pt x="4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6" name="Freeform 122"/>
            <p:cNvSpPr>
              <a:spLocks/>
            </p:cNvSpPr>
            <p:nvPr/>
          </p:nvSpPr>
          <p:spPr bwMode="auto">
            <a:xfrm>
              <a:off x="1694" y="1958"/>
              <a:ext cx="21" cy="10"/>
            </a:xfrm>
            <a:custGeom>
              <a:avLst/>
              <a:gdLst>
                <a:gd name="T0" fmla="*/ 2 w 35"/>
                <a:gd name="T1" fmla="*/ 0 h 15"/>
                <a:gd name="T2" fmla="*/ 1 w 35"/>
                <a:gd name="T3" fmla="*/ 1 h 15"/>
                <a:gd name="T4" fmla="*/ 1 w 35"/>
                <a:gd name="T5" fmla="*/ 1 h 15"/>
                <a:gd name="T6" fmla="*/ 0 w 35"/>
                <a:gd name="T7" fmla="*/ 1 h 15"/>
                <a:gd name="T8" fmla="*/ 2 w 35"/>
                <a:gd name="T9" fmla="*/ 1 h 15"/>
                <a:gd name="T10" fmla="*/ 2 w 35"/>
                <a:gd name="T11" fmla="*/ 2 h 15"/>
                <a:gd name="T12" fmla="*/ 3 w 35"/>
                <a:gd name="T13" fmla="*/ 1 h 15"/>
                <a:gd name="T14" fmla="*/ 2 w 35"/>
                <a:gd name="T15" fmla="*/ 0 h 15"/>
                <a:gd name="T16" fmla="*/ 2 w 35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" h="15">
                  <a:moveTo>
                    <a:pt x="25" y="0"/>
                  </a:moveTo>
                  <a:lnTo>
                    <a:pt x="10" y="1"/>
                  </a:lnTo>
                  <a:lnTo>
                    <a:pt x="2" y="1"/>
                  </a:lnTo>
                  <a:lnTo>
                    <a:pt x="0" y="6"/>
                  </a:lnTo>
                  <a:lnTo>
                    <a:pt x="23" y="10"/>
                  </a:lnTo>
                  <a:lnTo>
                    <a:pt x="27" y="15"/>
                  </a:lnTo>
                  <a:lnTo>
                    <a:pt x="35" y="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7" name="Freeform 123"/>
            <p:cNvSpPr>
              <a:spLocks/>
            </p:cNvSpPr>
            <p:nvPr/>
          </p:nvSpPr>
          <p:spPr bwMode="auto">
            <a:xfrm>
              <a:off x="1694" y="1958"/>
              <a:ext cx="21" cy="10"/>
            </a:xfrm>
            <a:custGeom>
              <a:avLst/>
              <a:gdLst>
                <a:gd name="T0" fmla="*/ 2 w 35"/>
                <a:gd name="T1" fmla="*/ 0 h 15"/>
                <a:gd name="T2" fmla="*/ 1 w 35"/>
                <a:gd name="T3" fmla="*/ 1 h 15"/>
                <a:gd name="T4" fmla="*/ 1 w 35"/>
                <a:gd name="T5" fmla="*/ 1 h 15"/>
                <a:gd name="T6" fmla="*/ 0 w 35"/>
                <a:gd name="T7" fmla="*/ 1 h 15"/>
                <a:gd name="T8" fmla="*/ 2 w 35"/>
                <a:gd name="T9" fmla="*/ 1 h 15"/>
                <a:gd name="T10" fmla="*/ 2 w 35"/>
                <a:gd name="T11" fmla="*/ 2 h 15"/>
                <a:gd name="T12" fmla="*/ 3 w 35"/>
                <a:gd name="T13" fmla="*/ 1 h 15"/>
                <a:gd name="T14" fmla="*/ 2 w 35"/>
                <a:gd name="T15" fmla="*/ 0 h 15"/>
                <a:gd name="T16" fmla="*/ 2 w 35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" h="15">
                  <a:moveTo>
                    <a:pt x="25" y="0"/>
                  </a:moveTo>
                  <a:lnTo>
                    <a:pt x="10" y="1"/>
                  </a:lnTo>
                  <a:lnTo>
                    <a:pt x="2" y="1"/>
                  </a:lnTo>
                  <a:lnTo>
                    <a:pt x="0" y="6"/>
                  </a:lnTo>
                  <a:lnTo>
                    <a:pt x="23" y="10"/>
                  </a:lnTo>
                  <a:lnTo>
                    <a:pt x="27" y="15"/>
                  </a:lnTo>
                  <a:lnTo>
                    <a:pt x="35" y="6"/>
                  </a:lnTo>
                  <a:lnTo>
                    <a:pt x="2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Freeform 124"/>
            <p:cNvSpPr>
              <a:spLocks/>
            </p:cNvSpPr>
            <p:nvPr/>
          </p:nvSpPr>
          <p:spPr bwMode="auto">
            <a:xfrm>
              <a:off x="1699" y="2002"/>
              <a:ext cx="12" cy="8"/>
            </a:xfrm>
            <a:custGeom>
              <a:avLst/>
              <a:gdLst>
                <a:gd name="T0" fmla="*/ 1 w 22"/>
                <a:gd name="T1" fmla="*/ 0 h 13"/>
                <a:gd name="T2" fmla="*/ 0 w 22"/>
                <a:gd name="T3" fmla="*/ 1 h 13"/>
                <a:gd name="T4" fmla="*/ 1 w 22"/>
                <a:gd name="T5" fmla="*/ 1 h 13"/>
                <a:gd name="T6" fmla="*/ 1 w 22"/>
                <a:gd name="T7" fmla="*/ 1 h 13"/>
                <a:gd name="T8" fmla="*/ 1 w 22"/>
                <a:gd name="T9" fmla="*/ 1 h 13"/>
                <a:gd name="T10" fmla="*/ 1 w 22"/>
                <a:gd name="T11" fmla="*/ 0 h 13"/>
                <a:gd name="T12" fmla="*/ 1 w 22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13">
                  <a:moveTo>
                    <a:pt x="12" y="0"/>
                  </a:moveTo>
                  <a:lnTo>
                    <a:pt x="0" y="6"/>
                  </a:lnTo>
                  <a:lnTo>
                    <a:pt x="5" y="11"/>
                  </a:lnTo>
                  <a:lnTo>
                    <a:pt x="22" y="13"/>
                  </a:lnTo>
                  <a:lnTo>
                    <a:pt x="20" y="5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9" name="Freeform 125"/>
            <p:cNvSpPr>
              <a:spLocks/>
            </p:cNvSpPr>
            <p:nvPr/>
          </p:nvSpPr>
          <p:spPr bwMode="auto">
            <a:xfrm>
              <a:off x="1699" y="2002"/>
              <a:ext cx="12" cy="8"/>
            </a:xfrm>
            <a:custGeom>
              <a:avLst/>
              <a:gdLst>
                <a:gd name="T0" fmla="*/ 1 w 22"/>
                <a:gd name="T1" fmla="*/ 0 h 13"/>
                <a:gd name="T2" fmla="*/ 0 w 22"/>
                <a:gd name="T3" fmla="*/ 1 h 13"/>
                <a:gd name="T4" fmla="*/ 1 w 22"/>
                <a:gd name="T5" fmla="*/ 1 h 13"/>
                <a:gd name="T6" fmla="*/ 1 w 22"/>
                <a:gd name="T7" fmla="*/ 1 h 13"/>
                <a:gd name="T8" fmla="*/ 1 w 22"/>
                <a:gd name="T9" fmla="*/ 1 h 13"/>
                <a:gd name="T10" fmla="*/ 1 w 22"/>
                <a:gd name="T11" fmla="*/ 0 h 13"/>
                <a:gd name="T12" fmla="*/ 1 w 22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13">
                  <a:moveTo>
                    <a:pt x="12" y="0"/>
                  </a:moveTo>
                  <a:lnTo>
                    <a:pt x="0" y="6"/>
                  </a:lnTo>
                  <a:lnTo>
                    <a:pt x="5" y="11"/>
                  </a:lnTo>
                  <a:lnTo>
                    <a:pt x="22" y="13"/>
                  </a:lnTo>
                  <a:lnTo>
                    <a:pt x="20" y="5"/>
                  </a:lnTo>
                  <a:lnTo>
                    <a:pt x="1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0" name="Freeform 126"/>
            <p:cNvSpPr>
              <a:spLocks/>
            </p:cNvSpPr>
            <p:nvPr/>
          </p:nvSpPr>
          <p:spPr bwMode="auto">
            <a:xfrm>
              <a:off x="1727" y="2002"/>
              <a:ext cx="13" cy="18"/>
            </a:xfrm>
            <a:custGeom>
              <a:avLst/>
              <a:gdLst>
                <a:gd name="T0" fmla="*/ 1 w 22"/>
                <a:gd name="T1" fmla="*/ 3 h 28"/>
                <a:gd name="T2" fmla="*/ 0 w 22"/>
                <a:gd name="T3" fmla="*/ 2 h 28"/>
                <a:gd name="T4" fmla="*/ 1 w 22"/>
                <a:gd name="T5" fmla="*/ 0 h 28"/>
                <a:gd name="T6" fmla="*/ 1 w 22"/>
                <a:gd name="T7" fmla="*/ 1 h 28"/>
                <a:gd name="T8" fmla="*/ 1 w 22"/>
                <a:gd name="T9" fmla="*/ 1 h 28"/>
                <a:gd name="T10" fmla="*/ 2 w 22"/>
                <a:gd name="T11" fmla="*/ 2 h 28"/>
                <a:gd name="T12" fmla="*/ 1 w 22"/>
                <a:gd name="T13" fmla="*/ 3 h 28"/>
                <a:gd name="T14" fmla="*/ 1 w 22"/>
                <a:gd name="T15" fmla="*/ 3 h 28"/>
                <a:gd name="T16" fmla="*/ 1 w 22"/>
                <a:gd name="T17" fmla="*/ 3 h 28"/>
                <a:gd name="T18" fmla="*/ 1 w 22"/>
                <a:gd name="T19" fmla="*/ 3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" h="28">
                  <a:moveTo>
                    <a:pt x="4" y="26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14" y="5"/>
                  </a:lnTo>
                  <a:lnTo>
                    <a:pt x="10" y="13"/>
                  </a:lnTo>
                  <a:lnTo>
                    <a:pt x="22" y="20"/>
                  </a:lnTo>
                  <a:lnTo>
                    <a:pt x="20" y="28"/>
                  </a:lnTo>
                  <a:lnTo>
                    <a:pt x="7" y="28"/>
                  </a:lnTo>
                  <a:lnTo>
                    <a:pt x="4" y="2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1" name="Freeform 127"/>
            <p:cNvSpPr>
              <a:spLocks/>
            </p:cNvSpPr>
            <p:nvPr/>
          </p:nvSpPr>
          <p:spPr bwMode="auto">
            <a:xfrm>
              <a:off x="1727" y="2002"/>
              <a:ext cx="13" cy="18"/>
            </a:xfrm>
            <a:custGeom>
              <a:avLst/>
              <a:gdLst>
                <a:gd name="T0" fmla="*/ 1 w 22"/>
                <a:gd name="T1" fmla="*/ 3 h 28"/>
                <a:gd name="T2" fmla="*/ 0 w 22"/>
                <a:gd name="T3" fmla="*/ 2 h 28"/>
                <a:gd name="T4" fmla="*/ 1 w 22"/>
                <a:gd name="T5" fmla="*/ 0 h 28"/>
                <a:gd name="T6" fmla="*/ 1 w 22"/>
                <a:gd name="T7" fmla="*/ 1 h 28"/>
                <a:gd name="T8" fmla="*/ 1 w 22"/>
                <a:gd name="T9" fmla="*/ 1 h 28"/>
                <a:gd name="T10" fmla="*/ 2 w 22"/>
                <a:gd name="T11" fmla="*/ 2 h 28"/>
                <a:gd name="T12" fmla="*/ 1 w 22"/>
                <a:gd name="T13" fmla="*/ 3 h 28"/>
                <a:gd name="T14" fmla="*/ 1 w 22"/>
                <a:gd name="T15" fmla="*/ 3 h 28"/>
                <a:gd name="T16" fmla="*/ 1 w 22"/>
                <a:gd name="T17" fmla="*/ 3 h 28"/>
                <a:gd name="T18" fmla="*/ 1 w 22"/>
                <a:gd name="T19" fmla="*/ 3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2" h="28">
                  <a:moveTo>
                    <a:pt x="4" y="26"/>
                  </a:moveTo>
                  <a:lnTo>
                    <a:pt x="0" y="15"/>
                  </a:lnTo>
                  <a:lnTo>
                    <a:pt x="7" y="0"/>
                  </a:lnTo>
                  <a:lnTo>
                    <a:pt x="14" y="5"/>
                  </a:lnTo>
                  <a:lnTo>
                    <a:pt x="10" y="13"/>
                  </a:lnTo>
                  <a:lnTo>
                    <a:pt x="22" y="20"/>
                  </a:lnTo>
                  <a:lnTo>
                    <a:pt x="20" y="28"/>
                  </a:lnTo>
                  <a:lnTo>
                    <a:pt x="7" y="28"/>
                  </a:lnTo>
                  <a:lnTo>
                    <a:pt x="4" y="2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2" name="Freeform 128"/>
            <p:cNvSpPr>
              <a:spLocks/>
            </p:cNvSpPr>
            <p:nvPr/>
          </p:nvSpPr>
          <p:spPr bwMode="auto">
            <a:xfrm>
              <a:off x="1083" y="1758"/>
              <a:ext cx="13" cy="43"/>
            </a:xfrm>
            <a:custGeom>
              <a:avLst/>
              <a:gdLst>
                <a:gd name="T0" fmla="*/ 2 w 20"/>
                <a:gd name="T1" fmla="*/ 8 h 64"/>
                <a:gd name="T2" fmla="*/ 2 w 20"/>
                <a:gd name="T3" fmla="*/ 6 h 64"/>
                <a:gd name="T4" fmla="*/ 2 w 20"/>
                <a:gd name="T5" fmla="*/ 2 h 64"/>
                <a:gd name="T6" fmla="*/ 2 w 20"/>
                <a:gd name="T7" fmla="*/ 0 h 64"/>
                <a:gd name="T8" fmla="*/ 0 w 20"/>
                <a:gd name="T9" fmla="*/ 1 h 64"/>
                <a:gd name="T10" fmla="*/ 1 w 20"/>
                <a:gd name="T11" fmla="*/ 2 h 64"/>
                <a:gd name="T12" fmla="*/ 0 w 20"/>
                <a:gd name="T13" fmla="*/ 5 h 64"/>
                <a:gd name="T14" fmla="*/ 1 w 20"/>
                <a:gd name="T15" fmla="*/ 7 h 64"/>
                <a:gd name="T16" fmla="*/ 1 w 20"/>
                <a:gd name="T17" fmla="*/ 8 h 64"/>
                <a:gd name="T18" fmla="*/ 2 w 20"/>
                <a:gd name="T19" fmla="*/ 9 h 64"/>
                <a:gd name="T20" fmla="*/ 2 w 20"/>
                <a:gd name="T21" fmla="*/ 8 h 64"/>
                <a:gd name="T22" fmla="*/ 2 w 20"/>
                <a:gd name="T23" fmla="*/ 8 h 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0" h="64">
                  <a:moveTo>
                    <a:pt x="19" y="59"/>
                  </a:moveTo>
                  <a:lnTo>
                    <a:pt x="15" y="44"/>
                  </a:lnTo>
                  <a:lnTo>
                    <a:pt x="20" y="17"/>
                  </a:lnTo>
                  <a:lnTo>
                    <a:pt x="15" y="0"/>
                  </a:lnTo>
                  <a:lnTo>
                    <a:pt x="0" y="2"/>
                  </a:lnTo>
                  <a:lnTo>
                    <a:pt x="12" y="14"/>
                  </a:lnTo>
                  <a:lnTo>
                    <a:pt x="0" y="35"/>
                  </a:lnTo>
                  <a:lnTo>
                    <a:pt x="9" y="49"/>
                  </a:lnTo>
                  <a:lnTo>
                    <a:pt x="10" y="60"/>
                  </a:lnTo>
                  <a:lnTo>
                    <a:pt x="17" y="64"/>
                  </a:lnTo>
                  <a:lnTo>
                    <a:pt x="19" y="59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3" name="Freeform 129"/>
            <p:cNvSpPr>
              <a:spLocks/>
            </p:cNvSpPr>
            <p:nvPr/>
          </p:nvSpPr>
          <p:spPr bwMode="auto">
            <a:xfrm>
              <a:off x="1083" y="1758"/>
              <a:ext cx="13" cy="43"/>
            </a:xfrm>
            <a:custGeom>
              <a:avLst/>
              <a:gdLst>
                <a:gd name="T0" fmla="*/ 2 w 20"/>
                <a:gd name="T1" fmla="*/ 8 h 64"/>
                <a:gd name="T2" fmla="*/ 2 w 20"/>
                <a:gd name="T3" fmla="*/ 6 h 64"/>
                <a:gd name="T4" fmla="*/ 2 w 20"/>
                <a:gd name="T5" fmla="*/ 2 h 64"/>
                <a:gd name="T6" fmla="*/ 2 w 20"/>
                <a:gd name="T7" fmla="*/ 0 h 64"/>
                <a:gd name="T8" fmla="*/ 0 w 20"/>
                <a:gd name="T9" fmla="*/ 1 h 64"/>
                <a:gd name="T10" fmla="*/ 1 w 20"/>
                <a:gd name="T11" fmla="*/ 2 h 64"/>
                <a:gd name="T12" fmla="*/ 0 w 20"/>
                <a:gd name="T13" fmla="*/ 5 h 64"/>
                <a:gd name="T14" fmla="*/ 1 w 20"/>
                <a:gd name="T15" fmla="*/ 7 h 64"/>
                <a:gd name="T16" fmla="*/ 1 w 20"/>
                <a:gd name="T17" fmla="*/ 8 h 64"/>
                <a:gd name="T18" fmla="*/ 2 w 20"/>
                <a:gd name="T19" fmla="*/ 9 h 64"/>
                <a:gd name="T20" fmla="*/ 2 w 20"/>
                <a:gd name="T21" fmla="*/ 8 h 64"/>
                <a:gd name="T22" fmla="*/ 2 w 20"/>
                <a:gd name="T23" fmla="*/ 8 h 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0" h="64">
                  <a:moveTo>
                    <a:pt x="19" y="59"/>
                  </a:moveTo>
                  <a:lnTo>
                    <a:pt x="15" y="44"/>
                  </a:lnTo>
                  <a:lnTo>
                    <a:pt x="20" y="17"/>
                  </a:lnTo>
                  <a:lnTo>
                    <a:pt x="15" y="0"/>
                  </a:lnTo>
                  <a:lnTo>
                    <a:pt x="0" y="2"/>
                  </a:lnTo>
                  <a:lnTo>
                    <a:pt x="12" y="14"/>
                  </a:lnTo>
                  <a:lnTo>
                    <a:pt x="0" y="35"/>
                  </a:lnTo>
                  <a:lnTo>
                    <a:pt x="9" y="49"/>
                  </a:lnTo>
                  <a:lnTo>
                    <a:pt x="10" y="60"/>
                  </a:lnTo>
                  <a:lnTo>
                    <a:pt x="17" y="64"/>
                  </a:lnTo>
                  <a:lnTo>
                    <a:pt x="19" y="59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Freeform 130"/>
            <p:cNvSpPr>
              <a:spLocks/>
            </p:cNvSpPr>
            <p:nvPr/>
          </p:nvSpPr>
          <p:spPr bwMode="auto">
            <a:xfrm>
              <a:off x="1497" y="1714"/>
              <a:ext cx="42" cy="32"/>
            </a:xfrm>
            <a:custGeom>
              <a:avLst/>
              <a:gdLst>
                <a:gd name="T0" fmla="*/ 1 w 68"/>
                <a:gd name="T1" fmla="*/ 0 h 50"/>
                <a:gd name="T2" fmla="*/ 1 w 68"/>
                <a:gd name="T3" fmla="*/ 1 h 50"/>
                <a:gd name="T4" fmla="*/ 0 w 68"/>
                <a:gd name="T5" fmla="*/ 3 h 50"/>
                <a:gd name="T6" fmla="*/ 1 w 68"/>
                <a:gd name="T7" fmla="*/ 5 h 50"/>
                <a:gd name="T8" fmla="*/ 2 w 68"/>
                <a:gd name="T9" fmla="*/ 5 h 50"/>
                <a:gd name="T10" fmla="*/ 2 w 68"/>
                <a:gd name="T11" fmla="*/ 3 h 50"/>
                <a:gd name="T12" fmla="*/ 4 w 68"/>
                <a:gd name="T13" fmla="*/ 5 h 50"/>
                <a:gd name="T14" fmla="*/ 6 w 68"/>
                <a:gd name="T15" fmla="*/ 5 h 50"/>
                <a:gd name="T16" fmla="*/ 6 w 68"/>
                <a:gd name="T17" fmla="*/ 5 h 50"/>
                <a:gd name="T18" fmla="*/ 6 w 68"/>
                <a:gd name="T19" fmla="*/ 3 h 50"/>
                <a:gd name="T20" fmla="*/ 4 w 68"/>
                <a:gd name="T21" fmla="*/ 3 h 50"/>
                <a:gd name="T22" fmla="*/ 4 w 68"/>
                <a:gd name="T23" fmla="*/ 1 h 50"/>
                <a:gd name="T24" fmla="*/ 2 w 68"/>
                <a:gd name="T25" fmla="*/ 0 h 50"/>
                <a:gd name="T26" fmla="*/ 1 w 68"/>
                <a:gd name="T27" fmla="*/ 0 h 50"/>
                <a:gd name="T28" fmla="*/ 1 w 68"/>
                <a:gd name="T29" fmla="*/ 0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8" h="50">
                  <a:moveTo>
                    <a:pt x="7" y="0"/>
                  </a:moveTo>
                  <a:lnTo>
                    <a:pt x="10" y="6"/>
                  </a:lnTo>
                  <a:lnTo>
                    <a:pt x="0" y="33"/>
                  </a:lnTo>
                  <a:lnTo>
                    <a:pt x="17" y="50"/>
                  </a:lnTo>
                  <a:lnTo>
                    <a:pt x="28" y="45"/>
                  </a:lnTo>
                  <a:lnTo>
                    <a:pt x="27" y="33"/>
                  </a:lnTo>
                  <a:lnTo>
                    <a:pt x="42" y="45"/>
                  </a:lnTo>
                  <a:lnTo>
                    <a:pt x="57" y="50"/>
                  </a:lnTo>
                  <a:lnTo>
                    <a:pt x="68" y="43"/>
                  </a:lnTo>
                  <a:lnTo>
                    <a:pt x="63" y="30"/>
                  </a:lnTo>
                  <a:lnTo>
                    <a:pt x="50" y="30"/>
                  </a:lnTo>
                  <a:lnTo>
                    <a:pt x="42" y="11"/>
                  </a:lnTo>
                  <a:lnTo>
                    <a:pt x="22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Freeform 131"/>
            <p:cNvSpPr>
              <a:spLocks/>
            </p:cNvSpPr>
            <p:nvPr/>
          </p:nvSpPr>
          <p:spPr bwMode="auto">
            <a:xfrm>
              <a:off x="1497" y="1714"/>
              <a:ext cx="42" cy="32"/>
            </a:xfrm>
            <a:custGeom>
              <a:avLst/>
              <a:gdLst>
                <a:gd name="T0" fmla="*/ 1 w 68"/>
                <a:gd name="T1" fmla="*/ 0 h 50"/>
                <a:gd name="T2" fmla="*/ 1 w 68"/>
                <a:gd name="T3" fmla="*/ 1 h 50"/>
                <a:gd name="T4" fmla="*/ 0 w 68"/>
                <a:gd name="T5" fmla="*/ 3 h 50"/>
                <a:gd name="T6" fmla="*/ 1 w 68"/>
                <a:gd name="T7" fmla="*/ 5 h 50"/>
                <a:gd name="T8" fmla="*/ 2 w 68"/>
                <a:gd name="T9" fmla="*/ 5 h 50"/>
                <a:gd name="T10" fmla="*/ 2 w 68"/>
                <a:gd name="T11" fmla="*/ 3 h 50"/>
                <a:gd name="T12" fmla="*/ 4 w 68"/>
                <a:gd name="T13" fmla="*/ 5 h 50"/>
                <a:gd name="T14" fmla="*/ 6 w 68"/>
                <a:gd name="T15" fmla="*/ 5 h 50"/>
                <a:gd name="T16" fmla="*/ 6 w 68"/>
                <a:gd name="T17" fmla="*/ 5 h 50"/>
                <a:gd name="T18" fmla="*/ 6 w 68"/>
                <a:gd name="T19" fmla="*/ 3 h 50"/>
                <a:gd name="T20" fmla="*/ 4 w 68"/>
                <a:gd name="T21" fmla="*/ 3 h 50"/>
                <a:gd name="T22" fmla="*/ 4 w 68"/>
                <a:gd name="T23" fmla="*/ 1 h 50"/>
                <a:gd name="T24" fmla="*/ 2 w 68"/>
                <a:gd name="T25" fmla="*/ 0 h 50"/>
                <a:gd name="T26" fmla="*/ 1 w 68"/>
                <a:gd name="T27" fmla="*/ 0 h 50"/>
                <a:gd name="T28" fmla="*/ 1 w 68"/>
                <a:gd name="T29" fmla="*/ 0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8" h="50">
                  <a:moveTo>
                    <a:pt x="7" y="0"/>
                  </a:moveTo>
                  <a:lnTo>
                    <a:pt x="10" y="6"/>
                  </a:lnTo>
                  <a:lnTo>
                    <a:pt x="0" y="33"/>
                  </a:lnTo>
                  <a:lnTo>
                    <a:pt x="17" y="50"/>
                  </a:lnTo>
                  <a:lnTo>
                    <a:pt x="28" y="45"/>
                  </a:lnTo>
                  <a:lnTo>
                    <a:pt x="27" y="33"/>
                  </a:lnTo>
                  <a:lnTo>
                    <a:pt x="42" y="45"/>
                  </a:lnTo>
                  <a:lnTo>
                    <a:pt x="57" y="50"/>
                  </a:lnTo>
                  <a:lnTo>
                    <a:pt x="68" y="43"/>
                  </a:lnTo>
                  <a:lnTo>
                    <a:pt x="63" y="30"/>
                  </a:lnTo>
                  <a:lnTo>
                    <a:pt x="50" y="30"/>
                  </a:lnTo>
                  <a:lnTo>
                    <a:pt x="42" y="11"/>
                  </a:lnTo>
                  <a:lnTo>
                    <a:pt x="22" y="0"/>
                  </a:lnTo>
                  <a:lnTo>
                    <a:pt x="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6" name="Freeform 132"/>
            <p:cNvSpPr>
              <a:spLocks/>
            </p:cNvSpPr>
            <p:nvPr/>
          </p:nvSpPr>
          <p:spPr bwMode="auto">
            <a:xfrm>
              <a:off x="1503" y="1754"/>
              <a:ext cx="11" cy="13"/>
            </a:xfrm>
            <a:custGeom>
              <a:avLst/>
              <a:gdLst>
                <a:gd name="T0" fmla="*/ 2 w 15"/>
                <a:gd name="T1" fmla="*/ 0 h 18"/>
                <a:gd name="T2" fmla="*/ 1 w 15"/>
                <a:gd name="T3" fmla="*/ 1 h 18"/>
                <a:gd name="T4" fmla="*/ 0 w 15"/>
                <a:gd name="T5" fmla="*/ 4 h 18"/>
                <a:gd name="T6" fmla="*/ 1 w 15"/>
                <a:gd name="T7" fmla="*/ 3 h 18"/>
                <a:gd name="T8" fmla="*/ 3 w 15"/>
                <a:gd name="T9" fmla="*/ 3 h 18"/>
                <a:gd name="T10" fmla="*/ 3 w 15"/>
                <a:gd name="T11" fmla="*/ 1 h 18"/>
                <a:gd name="T12" fmla="*/ 2 w 15"/>
                <a:gd name="T13" fmla="*/ 0 h 18"/>
                <a:gd name="T14" fmla="*/ 2 w 15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18">
                  <a:moveTo>
                    <a:pt x="11" y="0"/>
                  </a:moveTo>
                  <a:lnTo>
                    <a:pt x="1" y="3"/>
                  </a:lnTo>
                  <a:lnTo>
                    <a:pt x="0" y="18"/>
                  </a:lnTo>
                  <a:lnTo>
                    <a:pt x="6" y="15"/>
                  </a:lnTo>
                  <a:lnTo>
                    <a:pt x="13" y="13"/>
                  </a:lnTo>
                  <a:lnTo>
                    <a:pt x="15" y="8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7" name="Freeform 133"/>
            <p:cNvSpPr>
              <a:spLocks/>
            </p:cNvSpPr>
            <p:nvPr/>
          </p:nvSpPr>
          <p:spPr bwMode="auto">
            <a:xfrm>
              <a:off x="1503" y="1754"/>
              <a:ext cx="11" cy="13"/>
            </a:xfrm>
            <a:custGeom>
              <a:avLst/>
              <a:gdLst>
                <a:gd name="T0" fmla="*/ 2 w 15"/>
                <a:gd name="T1" fmla="*/ 0 h 18"/>
                <a:gd name="T2" fmla="*/ 1 w 15"/>
                <a:gd name="T3" fmla="*/ 1 h 18"/>
                <a:gd name="T4" fmla="*/ 0 w 15"/>
                <a:gd name="T5" fmla="*/ 4 h 18"/>
                <a:gd name="T6" fmla="*/ 1 w 15"/>
                <a:gd name="T7" fmla="*/ 3 h 18"/>
                <a:gd name="T8" fmla="*/ 3 w 15"/>
                <a:gd name="T9" fmla="*/ 3 h 18"/>
                <a:gd name="T10" fmla="*/ 3 w 15"/>
                <a:gd name="T11" fmla="*/ 1 h 18"/>
                <a:gd name="T12" fmla="*/ 2 w 15"/>
                <a:gd name="T13" fmla="*/ 0 h 18"/>
                <a:gd name="T14" fmla="*/ 2 w 15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18">
                  <a:moveTo>
                    <a:pt x="11" y="0"/>
                  </a:moveTo>
                  <a:lnTo>
                    <a:pt x="1" y="3"/>
                  </a:lnTo>
                  <a:lnTo>
                    <a:pt x="0" y="18"/>
                  </a:lnTo>
                  <a:lnTo>
                    <a:pt x="6" y="15"/>
                  </a:lnTo>
                  <a:lnTo>
                    <a:pt x="13" y="13"/>
                  </a:lnTo>
                  <a:lnTo>
                    <a:pt x="15" y="8"/>
                  </a:lnTo>
                  <a:lnTo>
                    <a:pt x="1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8" name="Freeform 134"/>
            <p:cNvSpPr>
              <a:spLocks/>
            </p:cNvSpPr>
            <p:nvPr/>
          </p:nvSpPr>
          <p:spPr bwMode="auto">
            <a:xfrm>
              <a:off x="1329" y="1509"/>
              <a:ext cx="51" cy="43"/>
            </a:xfrm>
            <a:custGeom>
              <a:avLst/>
              <a:gdLst>
                <a:gd name="T0" fmla="*/ 4 w 83"/>
                <a:gd name="T1" fmla="*/ 0 h 65"/>
                <a:gd name="T2" fmla="*/ 2 w 83"/>
                <a:gd name="T3" fmla="*/ 3 h 65"/>
                <a:gd name="T4" fmla="*/ 0 w 83"/>
                <a:gd name="T5" fmla="*/ 5 h 65"/>
                <a:gd name="T6" fmla="*/ 1 w 83"/>
                <a:gd name="T7" fmla="*/ 8 h 65"/>
                <a:gd name="T8" fmla="*/ 2 w 83"/>
                <a:gd name="T9" fmla="*/ 9 h 65"/>
                <a:gd name="T10" fmla="*/ 4 w 83"/>
                <a:gd name="T11" fmla="*/ 6 h 65"/>
                <a:gd name="T12" fmla="*/ 7 w 83"/>
                <a:gd name="T13" fmla="*/ 6 h 65"/>
                <a:gd name="T14" fmla="*/ 6 w 83"/>
                <a:gd name="T15" fmla="*/ 1 h 65"/>
                <a:gd name="T16" fmla="*/ 4 w 83"/>
                <a:gd name="T17" fmla="*/ 0 h 65"/>
                <a:gd name="T18" fmla="*/ 4 w 83"/>
                <a:gd name="T19" fmla="*/ 0 h 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3" h="65">
                  <a:moveTo>
                    <a:pt x="50" y="0"/>
                  </a:moveTo>
                  <a:lnTo>
                    <a:pt x="25" y="27"/>
                  </a:lnTo>
                  <a:lnTo>
                    <a:pt x="0" y="34"/>
                  </a:lnTo>
                  <a:lnTo>
                    <a:pt x="5" y="62"/>
                  </a:lnTo>
                  <a:lnTo>
                    <a:pt x="26" y="65"/>
                  </a:lnTo>
                  <a:lnTo>
                    <a:pt x="40" y="47"/>
                  </a:lnTo>
                  <a:lnTo>
                    <a:pt x="83" y="49"/>
                  </a:lnTo>
                  <a:lnTo>
                    <a:pt x="66" y="5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Freeform 135"/>
            <p:cNvSpPr>
              <a:spLocks/>
            </p:cNvSpPr>
            <p:nvPr/>
          </p:nvSpPr>
          <p:spPr bwMode="auto">
            <a:xfrm>
              <a:off x="1329" y="1509"/>
              <a:ext cx="51" cy="43"/>
            </a:xfrm>
            <a:custGeom>
              <a:avLst/>
              <a:gdLst>
                <a:gd name="T0" fmla="*/ 4 w 83"/>
                <a:gd name="T1" fmla="*/ 0 h 65"/>
                <a:gd name="T2" fmla="*/ 2 w 83"/>
                <a:gd name="T3" fmla="*/ 3 h 65"/>
                <a:gd name="T4" fmla="*/ 0 w 83"/>
                <a:gd name="T5" fmla="*/ 5 h 65"/>
                <a:gd name="T6" fmla="*/ 1 w 83"/>
                <a:gd name="T7" fmla="*/ 8 h 65"/>
                <a:gd name="T8" fmla="*/ 2 w 83"/>
                <a:gd name="T9" fmla="*/ 9 h 65"/>
                <a:gd name="T10" fmla="*/ 4 w 83"/>
                <a:gd name="T11" fmla="*/ 6 h 65"/>
                <a:gd name="T12" fmla="*/ 7 w 83"/>
                <a:gd name="T13" fmla="*/ 6 h 65"/>
                <a:gd name="T14" fmla="*/ 6 w 83"/>
                <a:gd name="T15" fmla="*/ 1 h 65"/>
                <a:gd name="T16" fmla="*/ 4 w 83"/>
                <a:gd name="T17" fmla="*/ 0 h 65"/>
                <a:gd name="T18" fmla="*/ 4 w 83"/>
                <a:gd name="T19" fmla="*/ 0 h 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3" h="65">
                  <a:moveTo>
                    <a:pt x="50" y="0"/>
                  </a:moveTo>
                  <a:lnTo>
                    <a:pt x="25" y="27"/>
                  </a:lnTo>
                  <a:lnTo>
                    <a:pt x="0" y="34"/>
                  </a:lnTo>
                  <a:lnTo>
                    <a:pt x="5" y="62"/>
                  </a:lnTo>
                  <a:lnTo>
                    <a:pt x="26" y="65"/>
                  </a:lnTo>
                  <a:lnTo>
                    <a:pt x="40" y="47"/>
                  </a:lnTo>
                  <a:lnTo>
                    <a:pt x="83" y="49"/>
                  </a:lnTo>
                  <a:lnTo>
                    <a:pt x="66" y="5"/>
                  </a:lnTo>
                  <a:lnTo>
                    <a:pt x="5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0" name="Freeform 136"/>
            <p:cNvSpPr>
              <a:spLocks/>
            </p:cNvSpPr>
            <p:nvPr/>
          </p:nvSpPr>
          <p:spPr bwMode="auto">
            <a:xfrm>
              <a:off x="1348" y="1546"/>
              <a:ext cx="72" cy="86"/>
            </a:xfrm>
            <a:custGeom>
              <a:avLst/>
              <a:gdLst>
                <a:gd name="T0" fmla="*/ 5 w 115"/>
                <a:gd name="T1" fmla="*/ 1 h 130"/>
                <a:gd name="T2" fmla="*/ 2 w 115"/>
                <a:gd name="T3" fmla="*/ 0 h 130"/>
                <a:gd name="T4" fmla="*/ 2 w 115"/>
                <a:gd name="T5" fmla="*/ 1 h 130"/>
                <a:gd name="T6" fmla="*/ 2 w 115"/>
                <a:gd name="T7" fmla="*/ 3 h 130"/>
                <a:gd name="T8" fmla="*/ 2 w 115"/>
                <a:gd name="T9" fmla="*/ 5 h 130"/>
                <a:gd name="T10" fmla="*/ 3 w 115"/>
                <a:gd name="T11" fmla="*/ 7 h 130"/>
                <a:gd name="T12" fmla="*/ 0 w 115"/>
                <a:gd name="T13" fmla="*/ 7 h 130"/>
                <a:gd name="T14" fmla="*/ 3 w 115"/>
                <a:gd name="T15" fmla="*/ 10 h 130"/>
                <a:gd name="T16" fmla="*/ 3 w 115"/>
                <a:gd name="T17" fmla="*/ 13 h 130"/>
                <a:gd name="T18" fmla="*/ 6 w 115"/>
                <a:gd name="T19" fmla="*/ 14 h 130"/>
                <a:gd name="T20" fmla="*/ 9 w 115"/>
                <a:gd name="T21" fmla="*/ 17 h 130"/>
                <a:gd name="T22" fmla="*/ 11 w 115"/>
                <a:gd name="T23" fmla="*/ 15 h 130"/>
                <a:gd name="T24" fmla="*/ 10 w 115"/>
                <a:gd name="T25" fmla="*/ 14 h 130"/>
                <a:gd name="T26" fmla="*/ 11 w 115"/>
                <a:gd name="T27" fmla="*/ 14 h 130"/>
                <a:gd name="T28" fmla="*/ 9 w 115"/>
                <a:gd name="T29" fmla="*/ 9 h 130"/>
                <a:gd name="T30" fmla="*/ 11 w 115"/>
                <a:gd name="T31" fmla="*/ 4 h 130"/>
                <a:gd name="T32" fmla="*/ 10 w 115"/>
                <a:gd name="T33" fmla="*/ 3 h 130"/>
                <a:gd name="T34" fmla="*/ 9 w 115"/>
                <a:gd name="T35" fmla="*/ 6 h 130"/>
                <a:gd name="T36" fmla="*/ 9 w 115"/>
                <a:gd name="T37" fmla="*/ 6 h 130"/>
                <a:gd name="T38" fmla="*/ 8 w 115"/>
                <a:gd name="T39" fmla="*/ 3 h 130"/>
                <a:gd name="T40" fmla="*/ 6 w 115"/>
                <a:gd name="T41" fmla="*/ 2 h 130"/>
                <a:gd name="T42" fmla="*/ 5 w 115"/>
                <a:gd name="T43" fmla="*/ 1 h 130"/>
                <a:gd name="T44" fmla="*/ 5 w 115"/>
                <a:gd name="T45" fmla="*/ 1 h 1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15" h="130">
                  <a:moveTo>
                    <a:pt x="54" y="2"/>
                  </a:moveTo>
                  <a:lnTo>
                    <a:pt x="20" y="0"/>
                  </a:lnTo>
                  <a:lnTo>
                    <a:pt x="19" y="10"/>
                  </a:lnTo>
                  <a:lnTo>
                    <a:pt x="19" y="25"/>
                  </a:lnTo>
                  <a:lnTo>
                    <a:pt x="14" y="40"/>
                  </a:lnTo>
                  <a:lnTo>
                    <a:pt x="29" y="57"/>
                  </a:lnTo>
                  <a:lnTo>
                    <a:pt x="0" y="57"/>
                  </a:lnTo>
                  <a:lnTo>
                    <a:pt x="22" y="75"/>
                  </a:lnTo>
                  <a:lnTo>
                    <a:pt x="29" y="105"/>
                  </a:lnTo>
                  <a:lnTo>
                    <a:pt x="67" y="107"/>
                  </a:lnTo>
                  <a:lnTo>
                    <a:pt x="95" y="130"/>
                  </a:lnTo>
                  <a:lnTo>
                    <a:pt x="110" y="118"/>
                  </a:lnTo>
                  <a:lnTo>
                    <a:pt x="104" y="107"/>
                  </a:lnTo>
                  <a:lnTo>
                    <a:pt x="114" y="110"/>
                  </a:lnTo>
                  <a:lnTo>
                    <a:pt x="100" y="73"/>
                  </a:lnTo>
                  <a:lnTo>
                    <a:pt x="115" y="30"/>
                  </a:lnTo>
                  <a:lnTo>
                    <a:pt x="104" y="20"/>
                  </a:lnTo>
                  <a:lnTo>
                    <a:pt x="94" y="48"/>
                  </a:lnTo>
                  <a:lnTo>
                    <a:pt x="94" y="45"/>
                  </a:lnTo>
                  <a:lnTo>
                    <a:pt x="85" y="25"/>
                  </a:lnTo>
                  <a:lnTo>
                    <a:pt x="65" y="15"/>
                  </a:lnTo>
                  <a:lnTo>
                    <a:pt x="54" y="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1" name="Freeform 137"/>
            <p:cNvSpPr>
              <a:spLocks/>
            </p:cNvSpPr>
            <p:nvPr/>
          </p:nvSpPr>
          <p:spPr bwMode="auto">
            <a:xfrm>
              <a:off x="1348" y="1546"/>
              <a:ext cx="72" cy="86"/>
            </a:xfrm>
            <a:custGeom>
              <a:avLst/>
              <a:gdLst>
                <a:gd name="T0" fmla="*/ 5 w 115"/>
                <a:gd name="T1" fmla="*/ 1 h 130"/>
                <a:gd name="T2" fmla="*/ 2 w 115"/>
                <a:gd name="T3" fmla="*/ 0 h 130"/>
                <a:gd name="T4" fmla="*/ 2 w 115"/>
                <a:gd name="T5" fmla="*/ 1 h 130"/>
                <a:gd name="T6" fmla="*/ 2 w 115"/>
                <a:gd name="T7" fmla="*/ 3 h 130"/>
                <a:gd name="T8" fmla="*/ 2 w 115"/>
                <a:gd name="T9" fmla="*/ 5 h 130"/>
                <a:gd name="T10" fmla="*/ 3 w 115"/>
                <a:gd name="T11" fmla="*/ 7 h 130"/>
                <a:gd name="T12" fmla="*/ 0 w 115"/>
                <a:gd name="T13" fmla="*/ 7 h 130"/>
                <a:gd name="T14" fmla="*/ 3 w 115"/>
                <a:gd name="T15" fmla="*/ 10 h 130"/>
                <a:gd name="T16" fmla="*/ 3 w 115"/>
                <a:gd name="T17" fmla="*/ 13 h 130"/>
                <a:gd name="T18" fmla="*/ 6 w 115"/>
                <a:gd name="T19" fmla="*/ 14 h 130"/>
                <a:gd name="T20" fmla="*/ 9 w 115"/>
                <a:gd name="T21" fmla="*/ 17 h 130"/>
                <a:gd name="T22" fmla="*/ 11 w 115"/>
                <a:gd name="T23" fmla="*/ 15 h 130"/>
                <a:gd name="T24" fmla="*/ 10 w 115"/>
                <a:gd name="T25" fmla="*/ 14 h 130"/>
                <a:gd name="T26" fmla="*/ 11 w 115"/>
                <a:gd name="T27" fmla="*/ 14 h 130"/>
                <a:gd name="T28" fmla="*/ 9 w 115"/>
                <a:gd name="T29" fmla="*/ 9 h 130"/>
                <a:gd name="T30" fmla="*/ 11 w 115"/>
                <a:gd name="T31" fmla="*/ 4 h 130"/>
                <a:gd name="T32" fmla="*/ 10 w 115"/>
                <a:gd name="T33" fmla="*/ 3 h 130"/>
                <a:gd name="T34" fmla="*/ 9 w 115"/>
                <a:gd name="T35" fmla="*/ 6 h 130"/>
                <a:gd name="T36" fmla="*/ 9 w 115"/>
                <a:gd name="T37" fmla="*/ 6 h 130"/>
                <a:gd name="T38" fmla="*/ 8 w 115"/>
                <a:gd name="T39" fmla="*/ 3 h 130"/>
                <a:gd name="T40" fmla="*/ 6 w 115"/>
                <a:gd name="T41" fmla="*/ 2 h 130"/>
                <a:gd name="T42" fmla="*/ 5 w 115"/>
                <a:gd name="T43" fmla="*/ 1 h 130"/>
                <a:gd name="T44" fmla="*/ 5 w 115"/>
                <a:gd name="T45" fmla="*/ 1 h 1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15" h="130">
                  <a:moveTo>
                    <a:pt x="54" y="2"/>
                  </a:moveTo>
                  <a:lnTo>
                    <a:pt x="20" y="0"/>
                  </a:lnTo>
                  <a:lnTo>
                    <a:pt x="19" y="10"/>
                  </a:lnTo>
                  <a:lnTo>
                    <a:pt x="19" y="25"/>
                  </a:lnTo>
                  <a:lnTo>
                    <a:pt x="14" y="40"/>
                  </a:lnTo>
                  <a:lnTo>
                    <a:pt x="29" y="57"/>
                  </a:lnTo>
                  <a:lnTo>
                    <a:pt x="0" y="57"/>
                  </a:lnTo>
                  <a:lnTo>
                    <a:pt x="22" y="75"/>
                  </a:lnTo>
                  <a:lnTo>
                    <a:pt x="29" y="105"/>
                  </a:lnTo>
                  <a:lnTo>
                    <a:pt x="67" y="107"/>
                  </a:lnTo>
                  <a:lnTo>
                    <a:pt x="95" y="130"/>
                  </a:lnTo>
                  <a:lnTo>
                    <a:pt x="110" y="118"/>
                  </a:lnTo>
                  <a:lnTo>
                    <a:pt x="104" y="107"/>
                  </a:lnTo>
                  <a:lnTo>
                    <a:pt x="114" y="110"/>
                  </a:lnTo>
                  <a:lnTo>
                    <a:pt x="100" y="73"/>
                  </a:lnTo>
                  <a:lnTo>
                    <a:pt x="115" y="30"/>
                  </a:lnTo>
                  <a:lnTo>
                    <a:pt x="104" y="20"/>
                  </a:lnTo>
                  <a:lnTo>
                    <a:pt x="94" y="48"/>
                  </a:lnTo>
                  <a:lnTo>
                    <a:pt x="94" y="45"/>
                  </a:lnTo>
                  <a:lnTo>
                    <a:pt x="85" y="25"/>
                  </a:lnTo>
                  <a:lnTo>
                    <a:pt x="65" y="15"/>
                  </a:lnTo>
                  <a:lnTo>
                    <a:pt x="54" y="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2" name="Freeform 138"/>
            <p:cNvSpPr>
              <a:spLocks/>
            </p:cNvSpPr>
            <p:nvPr/>
          </p:nvSpPr>
          <p:spPr bwMode="auto">
            <a:xfrm>
              <a:off x="1431" y="1566"/>
              <a:ext cx="27" cy="40"/>
            </a:xfrm>
            <a:custGeom>
              <a:avLst/>
              <a:gdLst>
                <a:gd name="T0" fmla="*/ 0 w 44"/>
                <a:gd name="T1" fmla="*/ 3 h 62"/>
                <a:gd name="T2" fmla="*/ 1 w 44"/>
                <a:gd name="T3" fmla="*/ 5 h 62"/>
                <a:gd name="T4" fmla="*/ 1 w 44"/>
                <a:gd name="T5" fmla="*/ 7 h 62"/>
                <a:gd name="T6" fmla="*/ 1 w 44"/>
                <a:gd name="T7" fmla="*/ 7 h 62"/>
                <a:gd name="T8" fmla="*/ 4 w 44"/>
                <a:gd name="T9" fmla="*/ 6 h 62"/>
                <a:gd name="T10" fmla="*/ 4 w 44"/>
                <a:gd name="T11" fmla="*/ 4 h 62"/>
                <a:gd name="T12" fmla="*/ 4 w 44"/>
                <a:gd name="T13" fmla="*/ 1 h 62"/>
                <a:gd name="T14" fmla="*/ 2 w 44"/>
                <a:gd name="T15" fmla="*/ 0 h 62"/>
                <a:gd name="T16" fmla="*/ 1 w 44"/>
                <a:gd name="T17" fmla="*/ 2 h 62"/>
                <a:gd name="T18" fmla="*/ 1 w 44"/>
                <a:gd name="T19" fmla="*/ 2 h 62"/>
                <a:gd name="T20" fmla="*/ 0 w 44"/>
                <a:gd name="T21" fmla="*/ 3 h 62"/>
                <a:gd name="T22" fmla="*/ 0 w 44"/>
                <a:gd name="T23" fmla="*/ 3 h 6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" h="62">
                  <a:moveTo>
                    <a:pt x="0" y="22"/>
                  </a:moveTo>
                  <a:lnTo>
                    <a:pt x="14" y="44"/>
                  </a:lnTo>
                  <a:lnTo>
                    <a:pt x="9" y="62"/>
                  </a:lnTo>
                  <a:lnTo>
                    <a:pt x="19" y="62"/>
                  </a:lnTo>
                  <a:lnTo>
                    <a:pt x="40" y="49"/>
                  </a:lnTo>
                  <a:lnTo>
                    <a:pt x="44" y="39"/>
                  </a:lnTo>
                  <a:lnTo>
                    <a:pt x="39" y="5"/>
                  </a:lnTo>
                  <a:lnTo>
                    <a:pt x="25" y="0"/>
                  </a:lnTo>
                  <a:lnTo>
                    <a:pt x="19" y="19"/>
                  </a:lnTo>
                  <a:lnTo>
                    <a:pt x="9" y="15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3" name="Freeform 139"/>
            <p:cNvSpPr>
              <a:spLocks/>
            </p:cNvSpPr>
            <p:nvPr/>
          </p:nvSpPr>
          <p:spPr bwMode="auto">
            <a:xfrm>
              <a:off x="1431" y="1566"/>
              <a:ext cx="27" cy="40"/>
            </a:xfrm>
            <a:custGeom>
              <a:avLst/>
              <a:gdLst>
                <a:gd name="T0" fmla="*/ 0 w 44"/>
                <a:gd name="T1" fmla="*/ 3 h 62"/>
                <a:gd name="T2" fmla="*/ 1 w 44"/>
                <a:gd name="T3" fmla="*/ 5 h 62"/>
                <a:gd name="T4" fmla="*/ 1 w 44"/>
                <a:gd name="T5" fmla="*/ 7 h 62"/>
                <a:gd name="T6" fmla="*/ 1 w 44"/>
                <a:gd name="T7" fmla="*/ 7 h 62"/>
                <a:gd name="T8" fmla="*/ 4 w 44"/>
                <a:gd name="T9" fmla="*/ 6 h 62"/>
                <a:gd name="T10" fmla="*/ 4 w 44"/>
                <a:gd name="T11" fmla="*/ 4 h 62"/>
                <a:gd name="T12" fmla="*/ 4 w 44"/>
                <a:gd name="T13" fmla="*/ 1 h 62"/>
                <a:gd name="T14" fmla="*/ 2 w 44"/>
                <a:gd name="T15" fmla="*/ 0 h 62"/>
                <a:gd name="T16" fmla="*/ 1 w 44"/>
                <a:gd name="T17" fmla="*/ 2 h 62"/>
                <a:gd name="T18" fmla="*/ 1 w 44"/>
                <a:gd name="T19" fmla="*/ 2 h 62"/>
                <a:gd name="T20" fmla="*/ 0 w 44"/>
                <a:gd name="T21" fmla="*/ 3 h 62"/>
                <a:gd name="T22" fmla="*/ 0 w 44"/>
                <a:gd name="T23" fmla="*/ 3 h 6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" h="62">
                  <a:moveTo>
                    <a:pt x="0" y="22"/>
                  </a:moveTo>
                  <a:lnTo>
                    <a:pt x="14" y="44"/>
                  </a:lnTo>
                  <a:lnTo>
                    <a:pt x="9" y="62"/>
                  </a:lnTo>
                  <a:lnTo>
                    <a:pt x="19" y="62"/>
                  </a:lnTo>
                  <a:lnTo>
                    <a:pt x="40" y="49"/>
                  </a:lnTo>
                  <a:lnTo>
                    <a:pt x="44" y="39"/>
                  </a:lnTo>
                  <a:lnTo>
                    <a:pt x="39" y="5"/>
                  </a:lnTo>
                  <a:lnTo>
                    <a:pt x="25" y="0"/>
                  </a:lnTo>
                  <a:lnTo>
                    <a:pt x="19" y="19"/>
                  </a:lnTo>
                  <a:lnTo>
                    <a:pt x="9" y="15"/>
                  </a:lnTo>
                  <a:lnTo>
                    <a:pt x="0" y="2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4" name="Freeform 140"/>
            <p:cNvSpPr>
              <a:spLocks/>
            </p:cNvSpPr>
            <p:nvPr/>
          </p:nvSpPr>
          <p:spPr bwMode="auto">
            <a:xfrm>
              <a:off x="1465" y="1571"/>
              <a:ext cx="21" cy="27"/>
            </a:xfrm>
            <a:custGeom>
              <a:avLst/>
              <a:gdLst>
                <a:gd name="T0" fmla="*/ 1 w 31"/>
                <a:gd name="T1" fmla="*/ 2 h 40"/>
                <a:gd name="T2" fmla="*/ 0 w 31"/>
                <a:gd name="T3" fmla="*/ 5 h 40"/>
                <a:gd name="T4" fmla="*/ 2 w 31"/>
                <a:gd name="T5" fmla="*/ 5 h 40"/>
                <a:gd name="T6" fmla="*/ 4 w 31"/>
                <a:gd name="T7" fmla="*/ 2 h 40"/>
                <a:gd name="T8" fmla="*/ 3 w 31"/>
                <a:gd name="T9" fmla="*/ 0 h 40"/>
                <a:gd name="T10" fmla="*/ 1 w 31"/>
                <a:gd name="T11" fmla="*/ 0 h 40"/>
                <a:gd name="T12" fmla="*/ 1 w 31"/>
                <a:gd name="T13" fmla="*/ 2 h 40"/>
                <a:gd name="T14" fmla="*/ 1 w 31"/>
                <a:gd name="T15" fmla="*/ 2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1" h="40">
                  <a:moveTo>
                    <a:pt x="3" y="13"/>
                  </a:moveTo>
                  <a:lnTo>
                    <a:pt x="0" y="40"/>
                  </a:lnTo>
                  <a:lnTo>
                    <a:pt x="16" y="40"/>
                  </a:lnTo>
                  <a:lnTo>
                    <a:pt x="31" y="13"/>
                  </a:lnTo>
                  <a:lnTo>
                    <a:pt x="20" y="0"/>
                  </a:lnTo>
                  <a:lnTo>
                    <a:pt x="6" y="0"/>
                  </a:lnTo>
                  <a:lnTo>
                    <a:pt x="3" y="1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5" name="Freeform 141"/>
            <p:cNvSpPr>
              <a:spLocks/>
            </p:cNvSpPr>
            <p:nvPr/>
          </p:nvSpPr>
          <p:spPr bwMode="auto">
            <a:xfrm>
              <a:off x="1465" y="1571"/>
              <a:ext cx="21" cy="27"/>
            </a:xfrm>
            <a:custGeom>
              <a:avLst/>
              <a:gdLst>
                <a:gd name="T0" fmla="*/ 1 w 31"/>
                <a:gd name="T1" fmla="*/ 2 h 40"/>
                <a:gd name="T2" fmla="*/ 0 w 31"/>
                <a:gd name="T3" fmla="*/ 5 h 40"/>
                <a:gd name="T4" fmla="*/ 2 w 31"/>
                <a:gd name="T5" fmla="*/ 5 h 40"/>
                <a:gd name="T6" fmla="*/ 4 w 31"/>
                <a:gd name="T7" fmla="*/ 2 h 40"/>
                <a:gd name="T8" fmla="*/ 3 w 31"/>
                <a:gd name="T9" fmla="*/ 0 h 40"/>
                <a:gd name="T10" fmla="*/ 1 w 31"/>
                <a:gd name="T11" fmla="*/ 0 h 40"/>
                <a:gd name="T12" fmla="*/ 1 w 31"/>
                <a:gd name="T13" fmla="*/ 2 h 40"/>
                <a:gd name="T14" fmla="*/ 1 w 31"/>
                <a:gd name="T15" fmla="*/ 2 h 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1" h="40">
                  <a:moveTo>
                    <a:pt x="3" y="13"/>
                  </a:moveTo>
                  <a:lnTo>
                    <a:pt x="0" y="40"/>
                  </a:lnTo>
                  <a:lnTo>
                    <a:pt x="16" y="40"/>
                  </a:lnTo>
                  <a:lnTo>
                    <a:pt x="31" y="13"/>
                  </a:lnTo>
                  <a:lnTo>
                    <a:pt x="20" y="0"/>
                  </a:lnTo>
                  <a:lnTo>
                    <a:pt x="6" y="0"/>
                  </a:lnTo>
                  <a:lnTo>
                    <a:pt x="3" y="1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6" name="Freeform 142"/>
            <p:cNvSpPr>
              <a:spLocks/>
            </p:cNvSpPr>
            <p:nvPr/>
          </p:nvSpPr>
          <p:spPr bwMode="auto">
            <a:xfrm>
              <a:off x="1483" y="1583"/>
              <a:ext cx="172" cy="194"/>
            </a:xfrm>
            <a:custGeom>
              <a:avLst/>
              <a:gdLst>
                <a:gd name="T0" fmla="*/ 3 w 267"/>
                <a:gd name="T1" fmla="*/ 2 h 292"/>
                <a:gd name="T2" fmla="*/ 0 w 267"/>
                <a:gd name="T3" fmla="*/ 5 h 292"/>
                <a:gd name="T4" fmla="*/ 1 w 267"/>
                <a:gd name="T5" fmla="*/ 8 h 292"/>
                <a:gd name="T6" fmla="*/ 6 w 267"/>
                <a:gd name="T7" fmla="*/ 11 h 292"/>
                <a:gd name="T8" fmla="*/ 10 w 267"/>
                <a:gd name="T9" fmla="*/ 12 h 292"/>
                <a:gd name="T10" fmla="*/ 12 w 267"/>
                <a:gd name="T11" fmla="*/ 10 h 292"/>
                <a:gd name="T12" fmla="*/ 15 w 267"/>
                <a:gd name="T13" fmla="*/ 13 h 292"/>
                <a:gd name="T14" fmla="*/ 15 w 267"/>
                <a:gd name="T15" fmla="*/ 17 h 292"/>
                <a:gd name="T16" fmla="*/ 17 w 267"/>
                <a:gd name="T17" fmla="*/ 21 h 292"/>
                <a:gd name="T18" fmla="*/ 17 w 267"/>
                <a:gd name="T19" fmla="*/ 25 h 292"/>
                <a:gd name="T20" fmla="*/ 13 w 267"/>
                <a:gd name="T21" fmla="*/ 26 h 292"/>
                <a:gd name="T22" fmla="*/ 15 w 267"/>
                <a:gd name="T23" fmla="*/ 30 h 292"/>
                <a:gd name="T24" fmla="*/ 20 w 267"/>
                <a:gd name="T25" fmla="*/ 34 h 292"/>
                <a:gd name="T26" fmla="*/ 22 w 267"/>
                <a:gd name="T27" fmla="*/ 35 h 292"/>
                <a:gd name="T28" fmla="*/ 28 w 267"/>
                <a:gd name="T29" fmla="*/ 36 h 292"/>
                <a:gd name="T30" fmla="*/ 24 w 267"/>
                <a:gd name="T31" fmla="*/ 32 h 292"/>
                <a:gd name="T32" fmla="*/ 29 w 267"/>
                <a:gd name="T33" fmla="*/ 33 h 292"/>
                <a:gd name="T34" fmla="*/ 28 w 267"/>
                <a:gd name="T35" fmla="*/ 30 h 292"/>
                <a:gd name="T36" fmla="*/ 25 w 267"/>
                <a:gd name="T37" fmla="*/ 25 h 292"/>
                <a:gd name="T38" fmla="*/ 28 w 267"/>
                <a:gd name="T39" fmla="*/ 25 h 292"/>
                <a:gd name="T40" fmla="*/ 28 w 267"/>
                <a:gd name="T41" fmla="*/ 27 h 292"/>
                <a:gd name="T42" fmla="*/ 30 w 267"/>
                <a:gd name="T43" fmla="*/ 23 h 292"/>
                <a:gd name="T44" fmla="*/ 26 w 267"/>
                <a:gd name="T45" fmla="*/ 21 h 292"/>
                <a:gd name="T46" fmla="*/ 23 w 267"/>
                <a:gd name="T47" fmla="*/ 17 h 292"/>
                <a:gd name="T48" fmla="*/ 22 w 267"/>
                <a:gd name="T49" fmla="*/ 14 h 292"/>
                <a:gd name="T50" fmla="*/ 19 w 267"/>
                <a:gd name="T51" fmla="*/ 10 h 292"/>
                <a:gd name="T52" fmla="*/ 15 w 267"/>
                <a:gd name="T53" fmla="*/ 6 h 292"/>
                <a:gd name="T54" fmla="*/ 12 w 267"/>
                <a:gd name="T55" fmla="*/ 5 h 292"/>
                <a:gd name="T56" fmla="*/ 9 w 267"/>
                <a:gd name="T57" fmla="*/ 4 h 292"/>
                <a:gd name="T58" fmla="*/ 8 w 267"/>
                <a:gd name="T59" fmla="*/ 2 h 292"/>
                <a:gd name="T60" fmla="*/ 5 w 267"/>
                <a:gd name="T61" fmla="*/ 6 h 292"/>
                <a:gd name="T62" fmla="*/ 5 w 267"/>
                <a:gd name="T63" fmla="*/ 2 h 292"/>
                <a:gd name="T64" fmla="*/ 3 w 267"/>
                <a:gd name="T65" fmla="*/ 0 h 2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67" h="292">
                  <a:moveTo>
                    <a:pt x="30" y="0"/>
                  </a:moveTo>
                  <a:lnTo>
                    <a:pt x="25" y="13"/>
                  </a:lnTo>
                  <a:lnTo>
                    <a:pt x="5" y="23"/>
                  </a:lnTo>
                  <a:lnTo>
                    <a:pt x="0" y="37"/>
                  </a:lnTo>
                  <a:lnTo>
                    <a:pt x="17" y="55"/>
                  </a:lnTo>
                  <a:lnTo>
                    <a:pt x="7" y="62"/>
                  </a:lnTo>
                  <a:lnTo>
                    <a:pt x="23" y="78"/>
                  </a:lnTo>
                  <a:lnTo>
                    <a:pt x="52" y="82"/>
                  </a:lnTo>
                  <a:lnTo>
                    <a:pt x="90" y="102"/>
                  </a:lnTo>
                  <a:lnTo>
                    <a:pt x="93" y="92"/>
                  </a:lnTo>
                  <a:lnTo>
                    <a:pt x="82" y="73"/>
                  </a:lnTo>
                  <a:lnTo>
                    <a:pt x="102" y="80"/>
                  </a:lnTo>
                  <a:lnTo>
                    <a:pt x="107" y="97"/>
                  </a:lnTo>
                  <a:lnTo>
                    <a:pt x="133" y="102"/>
                  </a:lnTo>
                  <a:lnTo>
                    <a:pt x="142" y="113"/>
                  </a:lnTo>
                  <a:lnTo>
                    <a:pt x="130" y="127"/>
                  </a:lnTo>
                  <a:lnTo>
                    <a:pt x="158" y="142"/>
                  </a:lnTo>
                  <a:lnTo>
                    <a:pt x="152" y="162"/>
                  </a:lnTo>
                  <a:lnTo>
                    <a:pt x="145" y="165"/>
                  </a:lnTo>
                  <a:lnTo>
                    <a:pt x="152" y="193"/>
                  </a:lnTo>
                  <a:lnTo>
                    <a:pt x="135" y="203"/>
                  </a:lnTo>
                  <a:lnTo>
                    <a:pt x="117" y="197"/>
                  </a:lnTo>
                  <a:lnTo>
                    <a:pt x="115" y="233"/>
                  </a:lnTo>
                  <a:lnTo>
                    <a:pt x="142" y="233"/>
                  </a:lnTo>
                  <a:lnTo>
                    <a:pt x="150" y="227"/>
                  </a:lnTo>
                  <a:lnTo>
                    <a:pt x="182" y="263"/>
                  </a:lnTo>
                  <a:lnTo>
                    <a:pt x="193" y="263"/>
                  </a:lnTo>
                  <a:lnTo>
                    <a:pt x="200" y="273"/>
                  </a:lnTo>
                  <a:lnTo>
                    <a:pt x="257" y="292"/>
                  </a:lnTo>
                  <a:lnTo>
                    <a:pt x="254" y="278"/>
                  </a:lnTo>
                  <a:lnTo>
                    <a:pt x="227" y="258"/>
                  </a:lnTo>
                  <a:lnTo>
                    <a:pt x="222" y="247"/>
                  </a:lnTo>
                  <a:lnTo>
                    <a:pt x="257" y="268"/>
                  </a:lnTo>
                  <a:lnTo>
                    <a:pt x="262" y="257"/>
                  </a:lnTo>
                  <a:lnTo>
                    <a:pt x="247" y="235"/>
                  </a:lnTo>
                  <a:lnTo>
                    <a:pt x="249" y="230"/>
                  </a:lnTo>
                  <a:lnTo>
                    <a:pt x="222" y="210"/>
                  </a:lnTo>
                  <a:lnTo>
                    <a:pt x="227" y="195"/>
                  </a:lnTo>
                  <a:lnTo>
                    <a:pt x="212" y="183"/>
                  </a:lnTo>
                  <a:lnTo>
                    <a:pt x="252" y="193"/>
                  </a:lnTo>
                  <a:lnTo>
                    <a:pt x="252" y="208"/>
                  </a:lnTo>
                  <a:lnTo>
                    <a:pt x="255" y="212"/>
                  </a:lnTo>
                  <a:lnTo>
                    <a:pt x="260" y="190"/>
                  </a:lnTo>
                  <a:lnTo>
                    <a:pt x="267" y="182"/>
                  </a:lnTo>
                  <a:lnTo>
                    <a:pt x="264" y="158"/>
                  </a:lnTo>
                  <a:lnTo>
                    <a:pt x="242" y="158"/>
                  </a:lnTo>
                  <a:lnTo>
                    <a:pt x="232" y="142"/>
                  </a:lnTo>
                  <a:lnTo>
                    <a:pt x="202" y="132"/>
                  </a:lnTo>
                  <a:lnTo>
                    <a:pt x="193" y="118"/>
                  </a:lnTo>
                  <a:lnTo>
                    <a:pt x="198" y="105"/>
                  </a:lnTo>
                  <a:lnTo>
                    <a:pt x="190" y="85"/>
                  </a:lnTo>
                  <a:lnTo>
                    <a:pt x="172" y="78"/>
                  </a:lnTo>
                  <a:lnTo>
                    <a:pt x="145" y="68"/>
                  </a:lnTo>
                  <a:lnTo>
                    <a:pt x="142" y="47"/>
                  </a:lnTo>
                  <a:lnTo>
                    <a:pt x="117" y="53"/>
                  </a:lnTo>
                  <a:lnTo>
                    <a:pt x="112" y="38"/>
                  </a:lnTo>
                  <a:lnTo>
                    <a:pt x="87" y="47"/>
                  </a:lnTo>
                  <a:lnTo>
                    <a:pt x="82" y="28"/>
                  </a:lnTo>
                  <a:lnTo>
                    <a:pt x="103" y="25"/>
                  </a:lnTo>
                  <a:lnTo>
                    <a:pt x="75" y="15"/>
                  </a:lnTo>
                  <a:lnTo>
                    <a:pt x="52" y="17"/>
                  </a:lnTo>
                  <a:lnTo>
                    <a:pt x="47" y="48"/>
                  </a:lnTo>
                  <a:lnTo>
                    <a:pt x="35" y="33"/>
                  </a:lnTo>
                  <a:lnTo>
                    <a:pt x="42" y="15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7" name="Freeform 143"/>
            <p:cNvSpPr>
              <a:spLocks/>
            </p:cNvSpPr>
            <p:nvPr/>
          </p:nvSpPr>
          <p:spPr bwMode="auto">
            <a:xfrm>
              <a:off x="1483" y="1583"/>
              <a:ext cx="172" cy="194"/>
            </a:xfrm>
            <a:custGeom>
              <a:avLst/>
              <a:gdLst>
                <a:gd name="T0" fmla="*/ 3 w 267"/>
                <a:gd name="T1" fmla="*/ 2 h 292"/>
                <a:gd name="T2" fmla="*/ 0 w 267"/>
                <a:gd name="T3" fmla="*/ 5 h 292"/>
                <a:gd name="T4" fmla="*/ 1 w 267"/>
                <a:gd name="T5" fmla="*/ 8 h 292"/>
                <a:gd name="T6" fmla="*/ 6 w 267"/>
                <a:gd name="T7" fmla="*/ 11 h 292"/>
                <a:gd name="T8" fmla="*/ 10 w 267"/>
                <a:gd name="T9" fmla="*/ 12 h 292"/>
                <a:gd name="T10" fmla="*/ 12 w 267"/>
                <a:gd name="T11" fmla="*/ 10 h 292"/>
                <a:gd name="T12" fmla="*/ 15 w 267"/>
                <a:gd name="T13" fmla="*/ 13 h 292"/>
                <a:gd name="T14" fmla="*/ 15 w 267"/>
                <a:gd name="T15" fmla="*/ 17 h 292"/>
                <a:gd name="T16" fmla="*/ 17 w 267"/>
                <a:gd name="T17" fmla="*/ 21 h 292"/>
                <a:gd name="T18" fmla="*/ 17 w 267"/>
                <a:gd name="T19" fmla="*/ 25 h 292"/>
                <a:gd name="T20" fmla="*/ 13 w 267"/>
                <a:gd name="T21" fmla="*/ 26 h 292"/>
                <a:gd name="T22" fmla="*/ 15 w 267"/>
                <a:gd name="T23" fmla="*/ 30 h 292"/>
                <a:gd name="T24" fmla="*/ 20 w 267"/>
                <a:gd name="T25" fmla="*/ 34 h 292"/>
                <a:gd name="T26" fmla="*/ 22 w 267"/>
                <a:gd name="T27" fmla="*/ 35 h 292"/>
                <a:gd name="T28" fmla="*/ 28 w 267"/>
                <a:gd name="T29" fmla="*/ 36 h 292"/>
                <a:gd name="T30" fmla="*/ 24 w 267"/>
                <a:gd name="T31" fmla="*/ 32 h 292"/>
                <a:gd name="T32" fmla="*/ 29 w 267"/>
                <a:gd name="T33" fmla="*/ 33 h 292"/>
                <a:gd name="T34" fmla="*/ 28 w 267"/>
                <a:gd name="T35" fmla="*/ 30 h 292"/>
                <a:gd name="T36" fmla="*/ 25 w 267"/>
                <a:gd name="T37" fmla="*/ 25 h 292"/>
                <a:gd name="T38" fmla="*/ 28 w 267"/>
                <a:gd name="T39" fmla="*/ 25 h 292"/>
                <a:gd name="T40" fmla="*/ 28 w 267"/>
                <a:gd name="T41" fmla="*/ 27 h 292"/>
                <a:gd name="T42" fmla="*/ 30 w 267"/>
                <a:gd name="T43" fmla="*/ 23 h 292"/>
                <a:gd name="T44" fmla="*/ 26 w 267"/>
                <a:gd name="T45" fmla="*/ 21 h 292"/>
                <a:gd name="T46" fmla="*/ 23 w 267"/>
                <a:gd name="T47" fmla="*/ 17 h 292"/>
                <a:gd name="T48" fmla="*/ 22 w 267"/>
                <a:gd name="T49" fmla="*/ 14 h 292"/>
                <a:gd name="T50" fmla="*/ 19 w 267"/>
                <a:gd name="T51" fmla="*/ 10 h 292"/>
                <a:gd name="T52" fmla="*/ 15 w 267"/>
                <a:gd name="T53" fmla="*/ 6 h 292"/>
                <a:gd name="T54" fmla="*/ 12 w 267"/>
                <a:gd name="T55" fmla="*/ 5 h 292"/>
                <a:gd name="T56" fmla="*/ 9 w 267"/>
                <a:gd name="T57" fmla="*/ 4 h 292"/>
                <a:gd name="T58" fmla="*/ 8 w 267"/>
                <a:gd name="T59" fmla="*/ 2 h 292"/>
                <a:gd name="T60" fmla="*/ 5 w 267"/>
                <a:gd name="T61" fmla="*/ 6 h 292"/>
                <a:gd name="T62" fmla="*/ 5 w 267"/>
                <a:gd name="T63" fmla="*/ 2 h 292"/>
                <a:gd name="T64" fmla="*/ 3 w 267"/>
                <a:gd name="T65" fmla="*/ 0 h 2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67" h="292">
                  <a:moveTo>
                    <a:pt x="30" y="0"/>
                  </a:moveTo>
                  <a:lnTo>
                    <a:pt x="25" y="13"/>
                  </a:lnTo>
                  <a:lnTo>
                    <a:pt x="5" y="23"/>
                  </a:lnTo>
                  <a:lnTo>
                    <a:pt x="0" y="37"/>
                  </a:lnTo>
                  <a:lnTo>
                    <a:pt x="17" y="55"/>
                  </a:lnTo>
                  <a:lnTo>
                    <a:pt x="7" y="62"/>
                  </a:lnTo>
                  <a:lnTo>
                    <a:pt x="23" y="78"/>
                  </a:lnTo>
                  <a:lnTo>
                    <a:pt x="52" y="82"/>
                  </a:lnTo>
                  <a:lnTo>
                    <a:pt x="90" y="102"/>
                  </a:lnTo>
                  <a:lnTo>
                    <a:pt x="93" y="92"/>
                  </a:lnTo>
                  <a:lnTo>
                    <a:pt x="82" y="73"/>
                  </a:lnTo>
                  <a:lnTo>
                    <a:pt x="102" y="80"/>
                  </a:lnTo>
                  <a:lnTo>
                    <a:pt x="107" y="97"/>
                  </a:lnTo>
                  <a:lnTo>
                    <a:pt x="133" y="102"/>
                  </a:lnTo>
                  <a:lnTo>
                    <a:pt x="142" y="113"/>
                  </a:lnTo>
                  <a:lnTo>
                    <a:pt x="130" y="127"/>
                  </a:lnTo>
                  <a:lnTo>
                    <a:pt x="158" y="142"/>
                  </a:lnTo>
                  <a:lnTo>
                    <a:pt x="152" y="162"/>
                  </a:lnTo>
                  <a:lnTo>
                    <a:pt x="145" y="165"/>
                  </a:lnTo>
                  <a:lnTo>
                    <a:pt x="152" y="193"/>
                  </a:lnTo>
                  <a:lnTo>
                    <a:pt x="135" y="203"/>
                  </a:lnTo>
                  <a:lnTo>
                    <a:pt x="117" y="197"/>
                  </a:lnTo>
                  <a:lnTo>
                    <a:pt x="115" y="233"/>
                  </a:lnTo>
                  <a:lnTo>
                    <a:pt x="142" y="233"/>
                  </a:lnTo>
                  <a:lnTo>
                    <a:pt x="150" y="227"/>
                  </a:lnTo>
                  <a:lnTo>
                    <a:pt x="182" y="263"/>
                  </a:lnTo>
                  <a:lnTo>
                    <a:pt x="193" y="263"/>
                  </a:lnTo>
                  <a:lnTo>
                    <a:pt x="200" y="273"/>
                  </a:lnTo>
                  <a:lnTo>
                    <a:pt x="257" y="292"/>
                  </a:lnTo>
                  <a:lnTo>
                    <a:pt x="254" y="278"/>
                  </a:lnTo>
                  <a:lnTo>
                    <a:pt x="227" y="258"/>
                  </a:lnTo>
                  <a:lnTo>
                    <a:pt x="222" y="247"/>
                  </a:lnTo>
                  <a:lnTo>
                    <a:pt x="257" y="268"/>
                  </a:lnTo>
                  <a:lnTo>
                    <a:pt x="262" y="257"/>
                  </a:lnTo>
                  <a:lnTo>
                    <a:pt x="247" y="235"/>
                  </a:lnTo>
                  <a:lnTo>
                    <a:pt x="249" y="230"/>
                  </a:lnTo>
                  <a:lnTo>
                    <a:pt x="222" y="210"/>
                  </a:lnTo>
                  <a:lnTo>
                    <a:pt x="227" y="195"/>
                  </a:lnTo>
                  <a:lnTo>
                    <a:pt x="212" y="183"/>
                  </a:lnTo>
                  <a:lnTo>
                    <a:pt x="252" y="193"/>
                  </a:lnTo>
                  <a:lnTo>
                    <a:pt x="252" y="208"/>
                  </a:lnTo>
                  <a:lnTo>
                    <a:pt x="255" y="212"/>
                  </a:lnTo>
                  <a:lnTo>
                    <a:pt x="260" y="190"/>
                  </a:lnTo>
                  <a:lnTo>
                    <a:pt x="267" y="182"/>
                  </a:lnTo>
                  <a:lnTo>
                    <a:pt x="264" y="158"/>
                  </a:lnTo>
                  <a:lnTo>
                    <a:pt x="242" y="158"/>
                  </a:lnTo>
                  <a:lnTo>
                    <a:pt x="232" y="142"/>
                  </a:lnTo>
                  <a:lnTo>
                    <a:pt x="202" y="132"/>
                  </a:lnTo>
                  <a:lnTo>
                    <a:pt x="193" y="118"/>
                  </a:lnTo>
                  <a:lnTo>
                    <a:pt x="198" y="105"/>
                  </a:lnTo>
                  <a:lnTo>
                    <a:pt x="190" y="85"/>
                  </a:lnTo>
                  <a:lnTo>
                    <a:pt x="172" y="78"/>
                  </a:lnTo>
                  <a:lnTo>
                    <a:pt x="145" y="68"/>
                  </a:lnTo>
                  <a:lnTo>
                    <a:pt x="142" y="47"/>
                  </a:lnTo>
                  <a:lnTo>
                    <a:pt x="117" y="53"/>
                  </a:lnTo>
                  <a:lnTo>
                    <a:pt x="112" y="38"/>
                  </a:lnTo>
                  <a:lnTo>
                    <a:pt x="87" y="47"/>
                  </a:lnTo>
                  <a:lnTo>
                    <a:pt x="82" y="28"/>
                  </a:lnTo>
                  <a:lnTo>
                    <a:pt x="103" y="25"/>
                  </a:lnTo>
                  <a:lnTo>
                    <a:pt x="75" y="15"/>
                  </a:lnTo>
                  <a:lnTo>
                    <a:pt x="52" y="17"/>
                  </a:lnTo>
                  <a:lnTo>
                    <a:pt x="47" y="48"/>
                  </a:lnTo>
                  <a:lnTo>
                    <a:pt x="35" y="33"/>
                  </a:lnTo>
                  <a:lnTo>
                    <a:pt x="42" y="15"/>
                  </a:lnTo>
                  <a:lnTo>
                    <a:pt x="3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8" name="Freeform 144"/>
            <p:cNvSpPr>
              <a:spLocks/>
            </p:cNvSpPr>
            <p:nvPr/>
          </p:nvSpPr>
          <p:spPr bwMode="auto">
            <a:xfrm>
              <a:off x="1374" y="1478"/>
              <a:ext cx="37" cy="19"/>
            </a:xfrm>
            <a:custGeom>
              <a:avLst/>
              <a:gdLst>
                <a:gd name="T0" fmla="*/ 4 w 57"/>
                <a:gd name="T1" fmla="*/ 0 h 29"/>
                <a:gd name="T2" fmla="*/ 4 w 57"/>
                <a:gd name="T3" fmla="*/ 1 h 29"/>
                <a:gd name="T4" fmla="*/ 0 w 57"/>
                <a:gd name="T5" fmla="*/ 2 h 29"/>
                <a:gd name="T6" fmla="*/ 3 w 57"/>
                <a:gd name="T7" fmla="*/ 3 h 29"/>
                <a:gd name="T8" fmla="*/ 6 w 57"/>
                <a:gd name="T9" fmla="*/ 3 h 29"/>
                <a:gd name="T10" fmla="*/ 6 w 57"/>
                <a:gd name="T11" fmla="*/ 2 h 29"/>
                <a:gd name="T12" fmla="*/ 6 w 57"/>
                <a:gd name="T13" fmla="*/ 1 h 29"/>
                <a:gd name="T14" fmla="*/ 4 w 57"/>
                <a:gd name="T15" fmla="*/ 0 h 29"/>
                <a:gd name="T16" fmla="*/ 4 w 57"/>
                <a:gd name="T17" fmla="*/ 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7" h="29">
                  <a:moveTo>
                    <a:pt x="33" y="0"/>
                  </a:moveTo>
                  <a:lnTo>
                    <a:pt x="32" y="5"/>
                  </a:lnTo>
                  <a:lnTo>
                    <a:pt x="0" y="15"/>
                  </a:lnTo>
                  <a:lnTo>
                    <a:pt x="22" y="29"/>
                  </a:lnTo>
                  <a:lnTo>
                    <a:pt x="52" y="29"/>
                  </a:lnTo>
                  <a:lnTo>
                    <a:pt x="57" y="14"/>
                  </a:lnTo>
                  <a:lnTo>
                    <a:pt x="52" y="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9" name="Freeform 145"/>
            <p:cNvSpPr>
              <a:spLocks/>
            </p:cNvSpPr>
            <p:nvPr/>
          </p:nvSpPr>
          <p:spPr bwMode="auto">
            <a:xfrm>
              <a:off x="1374" y="1478"/>
              <a:ext cx="37" cy="19"/>
            </a:xfrm>
            <a:custGeom>
              <a:avLst/>
              <a:gdLst>
                <a:gd name="T0" fmla="*/ 4 w 57"/>
                <a:gd name="T1" fmla="*/ 0 h 29"/>
                <a:gd name="T2" fmla="*/ 4 w 57"/>
                <a:gd name="T3" fmla="*/ 1 h 29"/>
                <a:gd name="T4" fmla="*/ 0 w 57"/>
                <a:gd name="T5" fmla="*/ 2 h 29"/>
                <a:gd name="T6" fmla="*/ 3 w 57"/>
                <a:gd name="T7" fmla="*/ 3 h 29"/>
                <a:gd name="T8" fmla="*/ 6 w 57"/>
                <a:gd name="T9" fmla="*/ 3 h 29"/>
                <a:gd name="T10" fmla="*/ 6 w 57"/>
                <a:gd name="T11" fmla="*/ 2 h 29"/>
                <a:gd name="T12" fmla="*/ 6 w 57"/>
                <a:gd name="T13" fmla="*/ 1 h 29"/>
                <a:gd name="T14" fmla="*/ 4 w 57"/>
                <a:gd name="T15" fmla="*/ 0 h 29"/>
                <a:gd name="T16" fmla="*/ 4 w 57"/>
                <a:gd name="T17" fmla="*/ 0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7" h="29">
                  <a:moveTo>
                    <a:pt x="33" y="0"/>
                  </a:moveTo>
                  <a:lnTo>
                    <a:pt x="32" y="5"/>
                  </a:lnTo>
                  <a:lnTo>
                    <a:pt x="0" y="15"/>
                  </a:lnTo>
                  <a:lnTo>
                    <a:pt x="22" y="29"/>
                  </a:lnTo>
                  <a:lnTo>
                    <a:pt x="52" y="29"/>
                  </a:lnTo>
                  <a:lnTo>
                    <a:pt x="57" y="14"/>
                  </a:lnTo>
                  <a:lnTo>
                    <a:pt x="52" y="7"/>
                  </a:lnTo>
                  <a:lnTo>
                    <a:pt x="3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0" name="Freeform 146"/>
            <p:cNvSpPr>
              <a:spLocks/>
            </p:cNvSpPr>
            <p:nvPr/>
          </p:nvSpPr>
          <p:spPr bwMode="auto">
            <a:xfrm>
              <a:off x="1474" y="1531"/>
              <a:ext cx="61" cy="40"/>
            </a:xfrm>
            <a:custGeom>
              <a:avLst/>
              <a:gdLst>
                <a:gd name="T0" fmla="*/ 0 w 95"/>
                <a:gd name="T1" fmla="*/ 1 h 62"/>
                <a:gd name="T2" fmla="*/ 1 w 95"/>
                <a:gd name="T3" fmla="*/ 3 h 62"/>
                <a:gd name="T4" fmla="*/ 1 w 95"/>
                <a:gd name="T5" fmla="*/ 6 h 62"/>
                <a:gd name="T6" fmla="*/ 10 w 95"/>
                <a:gd name="T7" fmla="*/ 7 h 62"/>
                <a:gd name="T8" fmla="*/ 10 w 95"/>
                <a:gd name="T9" fmla="*/ 5 h 62"/>
                <a:gd name="T10" fmla="*/ 5 w 95"/>
                <a:gd name="T11" fmla="*/ 4 h 62"/>
                <a:gd name="T12" fmla="*/ 2 w 95"/>
                <a:gd name="T13" fmla="*/ 1 h 62"/>
                <a:gd name="T14" fmla="*/ 0 w 95"/>
                <a:gd name="T15" fmla="*/ 0 h 62"/>
                <a:gd name="T16" fmla="*/ 0 w 95"/>
                <a:gd name="T17" fmla="*/ 1 h 62"/>
                <a:gd name="T18" fmla="*/ 0 w 95"/>
                <a:gd name="T19" fmla="*/ 1 h 6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5" h="62">
                  <a:moveTo>
                    <a:pt x="0" y="12"/>
                  </a:moveTo>
                  <a:lnTo>
                    <a:pt x="13" y="22"/>
                  </a:lnTo>
                  <a:lnTo>
                    <a:pt x="13" y="53"/>
                  </a:lnTo>
                  <a:lnTo>
                    <a:pt x="95" y="62"/>
                  </a:lnTo>
                  <a:lnTo>
                    <a:pt x="95" y="45"/>
                  </a:lnTo>
                  <a:lnTo>
                    <a:pt x="43" y="33"/>
                  </a:lnTo>
                  <a:lnTo>
                    <a:pt x="15" y="5"/>
                  </a:ln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1" name="Freeform 147"/>
            <p:cNvSpPr>
              <a:spLocks/>
            </p:cNvSpPr>
            <p:nvPr/>
          </p:nvSpPr>
          <p:spPr bwMode="auto">
            <a:xfrm>
              <a:off x="1474" y="1531"/>
              <a:ext cx="61" cy="40"/>
            </a:xfrm>
            <a:custGeom>
              <a:avLst/>
              <a:gdLst>
                <a:gd name="T0" fmla="*/ 0 w 95"/>
                <a:gd name="T1" fmla="*/ 1 h 62"/>
                <a:gd name="T2" fmla="*/ 1 w 95"/>
                <a:gd name="T3" fmla="*/ 3 h 62"/>
                <a:gd name="T4" fmla="*/ 1 w 95"/>
                <a:gd name="T5" fmla="*/ 6 h 62"/>
                <a:gd name="T6" fmla="*/ 10 w 95"/>
                <a:gd name="T7" fmla="*/ 7 h 62"/>
                <a:gd name="T8" fmla="*/ 10 w 95"/>
                <a:gd name="T9" fmla="*/ 5 h 62"/>
                <a:gd name="T10" fmla="*/ 5 w 95"/>
                <a:gd name="T11" fmla="*/ 4 h 62"/>
                <a:gd name="T12" fmla="*/ 2 w 95"/>
                <a:gd name="T13" fmla="*/ 1 h 62"/>
                <a:gd name="T14" fmla="*/ 0 w 95"/>
                <a:gd name="T15" fmla="*/ 0 h 62"/>
                <a:gd name="T16" fmla="*/ 0 w 95"/>
                <a:gd name="T17" fmla="*/ 1 h 62"/>
                <a:gd name="T18" fmla="*/ 0 w 95"/>
                <a:gd name="T19" fmla="*/ 1 h 6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5" h="62">
                  <a:moveTo>
                    <a:pt x="0" y="12"/>
                  </a:moveTo>
                  <a:lnTo>
                    <a:pt x="13" y="22"/>
                  </a:lnTo>
                  <a:lnTo>
                    <a:pt x="13" y="53"/>
                  </a:lnTo>
                  <a:lnTo>
                    <a:pt x="95" y="62"/>
                  </a:lnTo>
                  <a:lnTo>
                    <a:pt x="95" y="45"/>
                  </a:lnTo>
                  <a:lnTo>
                    <a:pt x="43" y="33"/>
                  </a:lnTo>
                  <a:lnTo>
                    <a:pt x="15" y="5"/>
                  </a:lnTo>
                  <a:lnTo>
                    <a:pt x="0" y="0"/>
                  </a:lnTo>
                  <a:lnTo>
                    <a:pt x="0" y="1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2" name="Freeform 148"/>
            <p:cNvSpPr>
              <a:spLocks/>
            </p:cNvSpPr>
            <p:nvPr/>
          </p:nvSpPr>
          <p:spPr bwMode="auto">
            <a:xfrm>
              <a:off x="1393" y="1506"/>
              <a:ext cx="49" cy="34"/>
            </a:xfrm>
            <a:custGeom>
              <a:avLst/>
              <a:gdLst>
                <a:gd name="T0" fmla="*/ 2 w 77"/>
                <a:gd name="T1" fmla="*/ 0 h 50"/>
                <a:gd name="T2" fmla="*/ 6 w 77"/>
                <a:gd name="T3" fmla="*/ 2 h 50"/>
                <a:gd name="T4" fmla="*/ 8 w 77"/>
                <a:gd name="T5" fmla="*/ 5 h 50"/>
                <a:gd name="T6" fmla="*/ 6 w 77"/>
                <a:gd name="T7" fmla="*/ 7 h 50"/>
                <a:gd name="T8" fmla="*/ 3 w 77"/>
                <a:gd name="T9" fmla="*/ 7 h 50"/>
                <a:gd name="T10" fmla="*/ 2 w 77"/>
                <a:gd name="T11" fmla="*/ 5 h 50"/>
                <a:gd name="T12" fmla="*/ 2 w 77"/>
                <a:gd name="T13" fmla="*/ 3 h 50"/>
                <a:gd name="T14" fmla="*/ 0 w 77"/>
                <a:gd name="T15" fmla="*/ 2 h 50"/>
                <a:gd name="T16" fmla="*/ 2 w 77"/>
                <a:gd name="T17" fmla="*/ 0 h 50"/>
                <a:gd name="T18" fmla="*/ 2 w 77"/>
                <a:gd name="T19" fmla="*/ 0 h 5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" h="50">
                  <a:moveTo>
                    <a:pt x="19" y="0"/>
                  </a:moveTo>
                  <a:lnTo>
                    <a:pt x="57" y="15"/>
                  </a:lnTo>
                  <a:lnTo>
                    <a:pt x="77" y="33"/>
                  </a:lnTo>
                  <a:lnTo>
                    <a:pt x="54" y="50"/>
                  </a:lnTo>
                  <a:lnTo>
                    <a:pt x="32" y="45"/>
                  </a:lnTo>
                  <a:lnTo>
                    <a:pt x="15" y="37"/>
                  </a:lnTo>
                  <a:lnTo>
                    <a:pt x="14" y="25"/>
                  </a:lnTo>
                  <a:lnTo>
                    <a:pt x="0" y="15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3" name="Freeform 149"/>
            <p:cNvSpPr>
              <a:spLocks/>
            </p:cNvSpPr>
            <p:nvPr/>
          </p:nvSpPr>
          <p:spPr bwMode="auto">
            <a:xfrm>
              <a:off x="1393" y="1506"/>
              <a:ext cx="49" cy="34"/>
            </a:xfrm>
            <a:custGeom>
              <a:avLst/>
              <a:gdLst>
                <a:gd name="T0" fmla="*/ 2 w 77"/>
                <a:gd name="T1" fmla="*/ 0 h 50"/>
                <a:gd name="T2" fmla="*/ 6 w 77"/>
                <a:gd name="T3" fmla="*/ 2 h 50"/>
                <a:gd name="T4" fmla="*/ 8 w 77"/>
                <a:gd name="T5" fmla="*/ 5 h 50"/>
                <a:gd name="T6" fmla="*/ 6 w 77"/>
                <a:gd name="T7" fmla="*/ 7 h 50"/>
                <a:gd name="T8" fmla="*/ 3 w 77"/>
                <a:gd name="T9" fmla="*/ 7 h 50"/>
                <a:gd name="T10" fmla="*/ 2 w 77"/>
                <a:gd name="T11" fmla="*/ 5 h 50"/>
                <a:gd name="T12" fmla="*/ 2 w 77"/>
                <a:gd name="T13" fmla="*/ 3 h 50"/>
                <a:gd name="T14" fmla="*/ 0 w 77"/>
                <a:gd name="T15" fmla="*/ 2 h 50"/>
                <a:gd name="T16" fmla="*/ 2 w 77"/>
                <a:gd name="T17" fmla="*/ 0 h 50"/>
                <a:gd name="T18" fmla="*/ 2 w 77"/>
                <a:gd name="T19" fmla="*/ 0 h 5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7" h="50">
                  <a:moveTo>
                    <a:pt x="19" y="0"/>
                  </a:moveTo>
                  <a:lnTo>
                    <a:pt x="57" y="15"/>
                  </a:lnTo>
                  <a:lnTo>
                    <a:pt x="77" y="33"/>
                  </a:lnTo>
                  <a:lnTo>
                    <a:pt x="54" y="50"/>
                  </a:lnTo>
                  <a:lnTo>
                    <a:pt x="32" y="45"/>
                  </a:lnTo>
                  <a:lnTo>
                    <a:pt x="15" y="37"/>
                  </a:lnTo>
                  <a:lnTo>
                    <a:pt x="14" y="25"/>
                  </a:lnTo>
                  <a:lnTo>
                    <a:pt x="0" y="15"/>
                  </a:lnTo>
                  <a:lnTo>
                    <a:pt x="19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4" name="Freeform 150"/>
            <p:cNvSpPr>
              <a:spLocks/>
            </p:cNvSpPr>
            <p:nvPr/>
          </p:nvSpPr>
          <p:spPr bwMode="auto">
            <a:xfrm>
              <a:off x="1442" y="1528"/>
              <a:ext cx="22" cy="24"/>
            </a:xfrm>
            <a:custGeom>
              <a:avLst/>
              <a:gdLst>
                <a:gd name="T0" fmla="*/ 3 w 33"/>
                <a:gd name="T1" fmla="*/ 0 h 36"/>
                <a:gd name="T2" fmla="*/ 1 w 33"/>
                <a:gd name="T3" fmla="*/ 1 h 36"/>
                <a:gd name="T4" fmla="*/ 0 w 33"/>
                <a:gd name="T5" fmla="*/ 2 h 36"/>
                <a:gd name="T6" fmla="*/ 1 w 33"/>
                <a:gd name="T7" fmla="*/ 3 h 36"/>
                <a:gd name="T8" fmla="*/ 1 w 33"/>
                <a:gd name="T9" fmla="*/ 4 h 36"/>
                <a:gd name="T10" fmla="*/ 3 w 33"/>
                <a:gd name="T11" fmla="*/ 5 h 36"/>
                <a:gd name="T12" fmla="*/ 5 w 33"/>
                <a:gd name="T13" fmla="*/ 5 h 36"/>
                <a:gd name="T14" fmla="*/ 3 w 33"/>
                <a:gd name="T15" fmla="*/ 3 h 36"/>
                <a:gd name="T16" fmla="*/ 5 w 33"/>
                <a:gd name="T17" fmla="*/ 2 h 36"/>
                <a:gd name="T18" fmla="*/ 3 w 33"/>
                <a:gd name="T19" fmla="*/ 0 h 36"/>
                <a:gd name="T20" fmla="*/ 3 w 33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6">
                  <a:moveTo>
                    <a:pt x="23" y="0"/>
                  </a:moveTo>
                  <a:lnTo>
                    <a:pt x="3" y="8"/>
                  </a:lnTo>
                  <a:lnTo>
                    <a:pt x="0" y="16"/>
                  </a:lnTo>
                  <a:lnTo>
                    <a:pt x="10" y="20"/>
                  </a:lnTo>
                  <a:lnTo>
                    <a:pt x="10" y="31"/>
                  </a:lnTo>
                  <a:lnTo>
                    <a:pt x="27" y="36"/>
                  </a:lnTo>
                  <a:lnTo>
                    <a:pt x="33" y="35"/>
                  </a:lnTo>
                  <a:lnTo>
                    <a:pt x="27" y="21"/>
                  </a:lnTo>
                  <a:lnTo>
                    <a:pt x="33" y="18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5" name="Freeform 151"/>
            <p:cNvSpPr>
              <a:spLocks/>
            </p:cNvSpPr>
            <p:nvPr/>
          </p:nvSpPr>
          <p:spPr bwMode="auto">
            <a:xfrm>
              <a:off x="1442" y="1528"/>
              <a:ext cx="22" cy="24"/>
            </a:xfrm>
            <a:custGeom>
              <a:avLst/>
              <a:gdLst>
                <a:gd name="T0" fmla="*/ 3 w 33"/>
                <a:gd name="T1" fmla="*/ 0 h 36"/>
                <a:gd name="T2" fmla="*/ 1 w 33"/>
                <a:gd name="T3" fmla="*/ 1 h 36"/>
                <a:gd name="T4" fmla="*/ 0 w 33"/>
                <a:gd name="T5" fmla="*/ 2 h 36"/>
                <a:gd name="T6" fmla="*/ 1 w 33"/>
                <a:gd name="T7" fmla="*/ 3 h 36"/>
                <a:gd name="T8" fmla="*/ 1 w 33"/>
                <a:gd name="T9" fmla="*/ 4 h 36"/>
                <a:gd name="T10" fmla="*/ 3 w 33"/>
                <a:gd name="T11" fmla="*/ 5 h 36"/>
                <a:gd name="T12" fmla="*/ 5 w 33"/>
                <a:gd name="T13" fmla="*/ 5 h 36"/>
                <a:gd name="T14" fmla="*/ 3 w 33"/>
                <a:gd name="T15" fmla="*/ 3 h 36"/>
                <a:gd name="T16" fmla="*/ 5 w 33"/>
                <a:gd name="T17" fmla="*/ 2 h 36"/>
                <a:gd name="T18" fmla="*/ 3 w 33"/>
                <a:gd name="T19" fmla="*/ 0 h 36"/>
                <a:gd name="T20" fmla="*/ 3 w 33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6">
                  <a:moveTo>
                    <a:pt x="23" y="0"/>
                  </a:moveTo>
                  <a:lnTo>
                    <a:pt x="3" y="8"/>
                  </a:lnTo>
                  <a:lnTo>
                    <a:pt x="0" y="16"/>
                  </a:lnTo>
                  <a:lnTo>
                    <a:pt x="10" y="20"/>
                  </a:lnTo>
                  <a:lnTo>
                    <a:pt x="10" y="31"/>
                  </a:lnTo>
                  <a:lnTo>
                    <a:pt x="27" y="36"/>
                  </a:lnTo>
                  <a:lnTo>
                    <a:pt x="33" y="35"/>
                  </a:lnTo>
                  <a:lnTo>
                    <a:pt x="27" y="21"/>
                  </a:lnTo>
                  <a:lnTo>
                    <a:pt x="33" y="18"/>
                  </a:lnTo>
                  <a:lnTo>
                    <a:pt x="2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6" name="Freeform 152"/>
            <p:cNvSpPr>
              <a:spLocks/>
            </p:cNvSpPr>
            <p:nvPr/>
          </p:nvSpPr>
          <p:spPr bwMode="auto">
            <a:xfrm>
              <a:off x="1377" y="1501"/>
              <a:ext cx="8" cy="6"/>
            </a:xfrm>
            <a:custGeom>
              <a:avLst/>
              <a:gdLst>
                <a:gd name="T0" fmla="*/ 1 w 14"/>
                <a:gd name="T1" fmla="*/ 0 h 9"/>
                <a:gd name="T2" fmla="*/ 0 w 14"/>
                <a:gd name="T3" fmla="*/ 0 h 9"/>
                <a:gd name="T4" fmla="*/ 1 w 14"/>
                <a:gd name="T5" fmla="*/ 1 h 9"/>
                <a:gd name="T6" fmla="*/ 1 w 14"/>
                <a:gd name="T7" fmla="*/ 1 h 9"/>
                <a:gd name="T8" fmla="*/ 1 w 14"/>
                <a:gd name="T9" fmla="*/ 0 h 9"/>
                <a:gd name="T10" fmla="*/ 1 w 1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9">
                  <a:moveTo>
                    <a:pt x="9" y="0"/>
                  </a:moveTo>
                  <a:lnTo>
                    <a:pt x="0" y="0"/>
                  </a:lnTo>
                  <a:lnTo>
                    <a:pt x="5" y="9"/>
                  </a:lnTo>
                  <a:lnTo>
                    <a:pt x="14" y="7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Freeform 153"/>
            <p:cNvSpPr>
              <a:spLocks/>
            </p:cNvSpPr>
            <p:nvPr/>
          </p:nvSpPr>
          <p:spPr bwMode="auto">
            <a:xfrm>
              <a:off x="1377" y="1501"/>
              <a:ext cx="8" cy="6"/>
            </a:xfrm>
            <a:custGeom>
              <a:avLst/>
              <a:gdLst>
                <a:gd name="T0" fmla="*/ 1 w 14"/>
                <a:gd name="T1" fmla="*/ 0 h 9"/>
                <a:gd name="T2" fmla="*/ 0 w 14"/>
                <a:gd name="T3" fmla="*/ 0 h 9"/>
                <a:gd name="T4" fmla="*/ 1 w 14"/>
                <a:gd name="T5" fmla="*/ 1 h 9"/>
                <a:gd name="T6" fmla="*/ 1 w 14"/>
                <a:gd name="T7" fmla="*/ 1 h 9"/>
                <a:gd name="T8" fmla="*/ 1 w 14"/>
                <a:gd name="T9" fmla="*/ 0 h 9"/>
                <a:gd name="T10" fmla="*/ 1 w 1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9">
                  <a:moveTo>
                    <a:pt x="9" y="0"/>
                  </a:moveTo>
                  <a:lnTo>
                    <a:pt x="0" y="0"/>
                  </a:lnTo>
                  <a:lnTo>
                    <a:pt x="5" y="9"/>
                  </a:lnTo>
                  <a:lnTo>
                    <a:pt x="14" y="7"/>
                  </a:lnTo>
                  <a:lnTo>
                    <a:pt x="9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8" name="Freeform 154"/>
            <p:cNvSpPr>
              <a:spLocks/>
            </p:cNvSpPr>
            <p:nvPr/>
          </p:nvSpPr>
          <p:spPr bwMode="auto">
            <a:xfrm>
              <a:off x="1474" y="1547"/>
              <a:ext cx="4" cy="7"/>
            </a:xfrm>
            <a:custGeom>
              <a:avLst/>
              <a:gdLst>
                <a:gd name="T0" fmla="*/ 0 w 9"/>
                <a:gd name="T1" fmla="*/ 1 h 11"/>
                <a:gd name="T2" fmla="*/ 0 w 9"/>
                <a:gd name="T3" fmla="*/ 0 h 11"/>
                <a:gd name="T4" fmla="*/ 0 w 9"/>
                <a:gd name="T5" fmla="*/ 1 h 11"/>
                <a:gd name="T6" fmla="*/ 0 w 9"/>
                <a:gd name="T7" fmla="*/ 1 h 11"/>
                <a:gd name="T8" fmla="*/ 0 w 9"/>
                <a:gd name="T9" fmla="*/ 1 h 11"/>
                <a:gd name="T10" fmla="*/ 0 w 9"/>
                <a:gd name="T11" fmla="*/ 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11">
                  <a:moveTo>
                    <a:pt x="9" y="5"/>
                  </a:moveTo>
                  <a:lnTo>
                    <a:pt x="4" y="0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9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9" name="Freeform 155"/>
            <p:cNvSpPr>
              <a:spLocks/>
            </p:cNvSpPr>
            <p:nvPr/>
          </p:nvSpPr>
          <p:spPr bwMode="auto">
            <a:xfrm>
              <a:off x="1554" y="1668"/>
              <a:ext cx="13" cy="20"/>
            </a:xfrm>
            <a:custGeom>
              <a:avLst/>
              <a:gdLst>
                <a:gd name="T0" fmla="*/ 3 w 18"/>
                <a:gd name="T1" fmla="*/ 4 h 29"/>
                <a:gd name="T2" fmla="*/ 4 w 18"/>
                <a:gd name="T3" fmla="*/ 2 h 29"/>
                <a:gd name="T4" fmla="*/ 1 w 18"/>
                <a:gd name="T5" fmla="*/ 0 h 29"/>
                <a:gd name="T6" fmla="*/ 1 w 18"/>
                <a:gd name="T7" fmla="*/ 1 h 29"/>
                <a:gd name="T8" fmla="*/ 1 w 18"/>
                <a:gd name="T9" fmla="*/ 3 h 29"/>
                <a:gd name="T10" fmla="*/ 0 w 18"/>
                <a:gd name="T11" fmla="*/ 5 h 29"/>
                <a:gd name="T12" fmla="*/ 3 w 18"/>
                <a:gd name="T13" fmla="*/ 5 h 29"/>
                <a:gd name="T14" fmla="*/ 3 w 18"/>
                <a:gd name="T15" fmla="*/ 4 h 29"/>
                <a:gd name="T16" fmla="*/ 3 w 18"/>
                <a:gd name="T17" fmla="*/ 4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" h="29">
                  <a:moveTo>
                    <a:pt x="15" y="25"/>
                  </a:moveTo>
                  <a:lnTo>
                    <a:pt x="18" y="14"/>
                  </a:lnTo>
                  <a:lnTo>
                    <a:pt x="6" y="0"/>
                  </a:lnTo>
                  <a:lnTo>
                    <a:pt x="1" y="4"/>
                  </a:lnTo>
                  <a:lnTo>
                    <a:pt x="3" y="17"/>
                  </a:lnTo>
                  <a:lnTo>
                    <a:pt x="0" y="29"/>
                  </a:lnTo>
                  <a:lnTo>
                    <a:pt x="13" y="29"/>
                  </a:lnTo>
                  <a:lnTo>
                    <a:pt x="15" y="2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0" name="Freeform 156"/>
            <p:cNvSpPr>
              <a:spLocks/>
            </p:cNvSpPr>
            <p:nvPr/>
          </p:nvSpPr>
          <p:spPr bwMode="auto">
            <a:xfrm>
              <a:off x="1554" y="1668"/>
              <a:ext cx="13" cy="20"/>
            </a:xfrm>
            <a:custGeom>
              <a:avLst/>
              <a:gdLst>
                <a:gd name="T0" fmla="*/ 3 w 18"/>
                <a:gd name="T1" fmla="*/ 4 h 29"/>
                <a:gd name="T2" fmla="*/ 4 w 18"/>
                <a:gd name="T3" fmla="*/ 2 h 29"/>
                <a:gd name="T4" fmla="*/ 1 w 18"/>
                <a:gd name="T5" fmla="*/ 0 h 29"/>
                <a:gd name="T6" fmla="*/ 1 w 18"/>
                <a:gd name="T7" fmla="*/ 1 h 29"/>
                <a:gd name="T8" fmla="*/ 1 w 18"/>
                <a:gd name="T9" fmla="*/ 3 h 29"/>
                <a:gd name="T10" fmla="*/ 0 w 18"/>
                <a:gd name="T11" fmla="*/ 5 h 29"/>
                <a:gd name="T12" fmla="*/ 3 w 18"/>
                <a:gd name="T13" fmla="*/ 5 h 29"/>
                <a:gd name="T14" fmla="*/ 3 w 18"/>
                <a:gd name="T15" fmla="*/ 4 h 29"/>
                <a:gd name="T16" fmla="*/ 3 w 18"/>
                <a:gd name="T17" fmla="*/ 4 h 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" h="29">
                  <a:moveTo>
                    <a:pt x="15" y="25"/>
                  </a:moveTo>
                  <a:lnTo>
                    <a:pt x="18" y="14"/>
                  </a:lnTo>
                  <a:lnTo>
                    <a:pt x="6" y="0"/>
                  </a:lnTo>
                  <a:lnTo>
                    <a:pt x="1" y="4"/>
                  </a:lnTo>
                  <a:lnTo>
                    <a:pt x="3" y="17"/>
                  </a:lnTo>
                  <a:lnTo>
                    <a:pt x="0" y="29"/>
                  </a:lnTo>
                  <a:lnTo>
                    <a:pt x="13" y="29"/>
                  </a:lnTo>
                  <a:lnTo>
                    <a:pt x="15" y="2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1" name="Freeform 157"/>
            <p:cNvSpPr>
              <a:spLocks/>
            </p:cNvSpPr>
            <p:nvPr/>
          </p:nvSpPr>
          <p:spPr bwMode="auto">
            <a:xfrm>
              <a:off x="986" y="1390"/>
              <a:ext cx="261" cy="322"/>
            </a:xfrm>
            <a:custGeom>
              <a:avLst/>
              <a:gdLst>
                <a:gd name="T0" fmla="*/ 22 w 410"/>
                <a:gd name="T1" fmla="*/ 62 h 485"/>
                <a:gd name="T2" fmla="*/ 25 w 410"/>
                <a:gd name="T3" fmla="*/ 61 h 485"/>
                <a:gd name="T4" fmla="*/ 26 w 410"/>
                <a:gd name="T5" fmla="*/ 45 h 485"/>
                <a:gd name="T6" fmla="*/ 25 w 410"/>
                <a:gd name="T7" fmla="*/ 44 h 485"/>
                <a:gd name="T8" fmla="*/ 24 w 410"/>
                <a:gd name="T9" fmla="*/ 40 h 485"/>
                <a:gd name="T10" fmla="*/ 26 w 410"/>
                <a:gd name="T11" fmla="*/ 35 h 485"/>
                <a:gd name="T12" fmla="*/ 43 w 410"/>
                <a:gd name="T13" fmla="*/ 21 h 485"/>
                <a:gd name="T14" fmla="*/ 43 w 410"/>
                <a:gd name="T15" fmla="*/ 19 h 485"/>
                <a:gd name="T16" fmla="*/ 41 w 410"/>
                <a:gd name="T17" fmla="*/ 17 h 485"/>
                <a:gd name="T18" fmla="*/ 41 w 410"/>
                <a:gd name="T19" fmla="*/ 14 h 485"/>
                <a:gd name="T20" fmla="*/ 39 w 410"/>
                <a:gd name="T21" fmla="*/ 11 h 485"/>
                <a:gd name="T22" fmla="*/ 39 w 410"/>
                <a:gd name="T23" fmla="*/ 7 h 485"/>
                <a:gd name="T24" fmla="*/ 38 w 410"/>
                <a:gd name="T25" fmla="*/ 4 h 485"/>
                <a:gd name="T26" fmla="*/ 33 w 410"/>
                <a:gd name="T27" fmla="*/ 3 h 485"/>
                <a:gd name="T28" fmla="*/ 29 w 410"/>
                <a:gd name="T29" fmla="*/ 0 h 485"/>
                <a:gd name="T30" fmla="*/ 26 w 410"/>
                <a:gd name="T31" fmla="*/ 5 h 485"/>
                <a:gd name="T32" fmla="*/ 26 w 410"/>
                <a:gd name="T33" fmla="*/ 6 h 485"/>
                <a:gd name="T34" fmla="*/ 24 w 410"/>
                <a:gd name="T35" fmla="*/ 7 h 485"/>
                <a:gd name="T36" fmla="*/ 24 w 410"/>
                <a:gd name="T37" fmla="*/ 6 h 485"/>
                <a:gd name="T38" fmla="*/ 24 w 410"/>
                <a:gd name="T39" fmla="*/ 4 h 485"/>
                <a:gd name="T40" fmla="*/ 23 w 410"/>
                <a:gd name="T41" fmla="*/ 1 h 485"/>
                <a:gd name="T42" fmla="*/ 20 w 410"/>
                <a:gd name="T43" fmla="*/ 2 h 485"/>
                <a:gd name="T44" fmla="*/ 18 w 410"/>
                <a:gd name="T45" fmla="*/ 6 h 485"/>
                <a:gd name="T46" fmla="*/ 20 w 410"/>
                <a:gd name="T47" fmla="*/ 9 h 485"/>
                <a:gd name="T48" fmla="*/ 18 w 410"/>
                <a:gd name="T49" fmla="*/ 9 h 485"/>
                <a:gd name="T50" fmla="*/ 13 w 410"/>
                <a:gd name="T51" fmla="*/ 6 h 485"/>
                <a:gd name="T52" fmla="*/ 7 w 410"/>
                <a:gd name="T53" fmla="*/ 10 h 485"/>
                <a:gd name="T54" fmla="*/ 7 w 410"/>
                <a:gd name="T55" fmla="*/ 13 h 485"/>
                <a:gd name="T56" fmla="*/ 8 w 410"/>
                <a:gd name="T57" fmla="*/ 13 h 485"/>
                <a:gd name="T58" fmla="*/ 6 w 410"/>
                <a:gd name="T59" fmla="*/ 15 h 485"/>
                <a:gd name="T60" fmla="*/ 7 w 410"/>
                <a:gd name="T61" fmla="*/ 17 h 485"/>
                <a:gd name="T62" fmla="*/ 6 w 410"/>
                <a:gd name="T63" fmla="*/ 19 h 485"/>
                <a:gd name="T64" fmla="*/ 8 w 410"/>
                <a:gd name="T65" fmla="*/ 22 h 485"/>
                <a:gd name="T66" fmla="*/ 1 w 410"/>
                <a:gd name="T67" fmla="*/ 21 h 485"/>
                <a:gd name="T68" fmla="*/ 0 w 410"/>
                <a:gd name="T69" fmla="*/ 22 h 485"/>
                <a:gd name="T70" fmla="*/ 10 w 410"/>
                <a:gd name="T71" fmla="*/ 25 h 485"/>
                <a:gd name="T72" fmla="*/ 15 w 410"/>
                <a:gd name="T73" fmla="*/ 26 h 485"/>
                <a:gd name="T74" fmla="*/ 13 w 410"/>
                <a:gd name="T75" fmla="*/ 28 h 485"/>
                <a:gd name="T76" fmla="*/ 15 w 410"/>
                <a:gd name="T77" fmla="*/ 31 h 485"/>
                <a:gd name="T78" fmla="*/ 17 w 410"/>
                <a:gd name="T79" fmla="*/ 30 h 485"/>
                <a:gd name="T80" fmla="*/ 18 w 410"/>
                <a:gd name="T81" fmla="*/ 28 h 485"/>
                <a:gd name="T82" fmla="*/ 20 w 410"/>
                <a:gd name="T83" fmla="*/ 29 h 485"/>
                <a:gd name="T84" fmla="*/ 18 w 410"/>
                <a:gd name="T85" fmla="*/ 32 h 485"/>
                <a:gd name="T86" fmla="*/ 20 w 410"/>
                <a:gd name="T87" fmla="*/ 32 h 485"/>
                <a:gd name="T88" fmla="*/ 20 w 410"/>
                <a:gd name="T89" fmla="*/ 35 h 485"/>
                <a:gd name="T90" fmla="*/ 22 w 410"/>
                <a:gd name="T91" fmla="*/ 37 h 485"/>
                <a:gd name="T92" fmla="*/ 22 w 410"/>
                <a:gd name="T93" fmla="*/ 40 h 485"/>
                <a:gd name="T94" fmla="*/ 22 w 410"/>
                <a:gd name="T95" fmla="*/ 43 h 485"/>
                <a:gd name="T96" fmla="*/ 23 w 410"/>
                <a:gd name="T97" fmla="*/ 46 h 485"/>
                <a:gd name="T98" fmla="*/ 24 w 410"/>
                <a:gd name="T99" fmla="*/ 48 h 485"/>
                <a:gd name="T100" fmla="*/ 24 w 410"/>
                <a:gd name="T101" fmla="*/ 49 h 485"/>
                <a:gd name="T102" fmla="*/ 22 w 410"/>
                <a:gd name="T103" fmla="*/ 56 h 485"/>
                <a:gd name="T104" fmla="*/ 22 w 410"/>
                <a:gd name="T105" fmla="*/ 62 h 485"/>
                <a:gd name="T106" fmla="*/ 22 w 410"/>
                <a:gd name="T107" fmla="*/ 62 h 48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10" h="485">
                  <a:moveTo>
                    <a:pt x="207" y="485"/>
                  </a:moveTo>
                  <a:lnTo>
                    <a:pt x="245" y="475"/>
                  </a:lnTo>
                  <a:lnTo>
                    <a:pt x="253" y="350"/>
                  </a:lnTo>
                  <a:lnTo>
                    <a:pt x="237" y="337"/>
                  </a:lnTo>
                  <a:lnTo>
                    <a:pt x="232" y="309"/>
                  </a:lnTo>
                  <a:lnTo>
                    <a:pt x="248" y="272"/>
                  </a:lnTo>
                  <a:lnTo>
                    <a:pt x="410" y="162"/>
                  </a:lnTo>
                  <a:lnTo>
                    <a:pt x="407" y="147"/>
                  </a:lnTo>
                  <a:lnTo>
                    <a:pt x="389" y="125"/>
                  </a:lnTo>
                  <a:lnTo>
                    <a:pt x="389" y="109"/>
                  </a:lnTo>
                  <a:lnTo>
                    <a:pt x="374" y="87"/>
                  </a:lnTo>
                  <a:lnTo>
                    <a:pt x="377" y="55"/>
                  </a:lnTo>
                  <a:lnTo>
                    <a:pt x="359" y="32"/>
                  </a:lnTo>
                  <a:lnTo>
                    <a:pt x="312" y="27"/>
                  </a:lnTo>
                  <a:lnTo>
                    <a:pt x="283" y="0"/>
                  </a:lnTo>
                  <a:lnTo>
                    <a:pt x="247" y="40"/>
                  </a:lnTo>
                  <a:lnTo>
                    <a:pt x="248" y="47"/>
                  </a:lnTo>
                  <a:lnTo>
                    <a:pt x="235" y="57"/>
                  </a:lnTo>
                  <a:lnTo>
                    <a:pt x="228" y="45"/>
                  </a:lnTo>
                  <a:lnTo>
                    <a:pt x="230" y="29"/>
                  </a:lnTo>
                  <a:lnTo>
                    <a:pt x="218" y="7"/>
                  </a:lnTo>
                  <a:lnTo>
                    <a:pt x="192" y="15"/>
                  </a:lnTo>
                  <a:lnTo>
                    <a:pt x="180" y="47"/>
                  </a:lnTo>
                  <a:lnTo>
                    <a:pt x="188" y="69"/>
                  </a:lnTo>
                  <a:lnTo>
                    <a:pt x="177" y="70"/>
                  </a:lnTo>
                  <a:lnTo>
                    <a:pt x="128" y="44"/>
                  </a:lnTo>
                  <a:lnTo>
                    <a:pt x="73" y="75"/>
                  </a:lnTo>
                  <a:lnTo>
                    <a:pt x="70" y="100"/>
                  </a:lnTo>
                  <a:lnTo>
                    <a:pt x="78" y="102"/>
                  </a:lnTo>
                  <a:lnTo>
                    <a:pt x="53" y="120"/>
                  </a:lnTo>
                  <a:lnTo>
                    <a:pt x="72" y="127"/>
                  </a:lnTo>
                  <a:lnTo>
                    <a:pt x="63" y="145"/>
                  </a:lnTo>
                  <a:lnTo>
                    <a:pt x="82" y="169"/>
                  </a:lnTo>
                  <a:lnTo>
                    <a:pt x="3" y="164"/>
                  </a:lnTo>
                  <a:lnTo>
                    <a:pt x="0" y="172"/>
                  </a:lnTo>
                  <a:lnTo>
                    <a:pt x="93" y="194"/>
                  </a:lnTo>
                  <a:lnTo>
                    <a:pt x="148" y="199"/>
                  </a:lnTo>
                  <a:lnTo>
                    <a:pt x="123" y="215"/>
                  </a:lnTo>
                  <a:lnTo>
                    <a:pt x="138" y="235"/>
                  </a:lnTo>
                  <a:lnTo>
                    <a:pt x="168" y="234"/>
                  </a:lnTo>
                  <a:lnTo>
                    <a:pt x="173" y="217"/>
                  </a:lnTo>
                  <a:lnTo>
                    <a:pt x="187" y="225"/>
                  </a:lnTo>
                  <a:lnTo>
                    <a:pt x="180" y="245"/>
                  </a:lnTo>
                  <a:lnTo>
                    <a:pt x="188" y="247"/>
                  </a:lnTo>
                  <a:lnTo>
                    <a:pt x="188" y="267"/>
                  </a:lnTo>
                  <a:lnTo>
                    <a:pt x="207" y="289"/>
                  </a:lnTo>
                  <a:lnTo>
                    <a:pt x="212" y="314"/>
                  </a:lnTo>
                  <a:lnTo>
                    <a:pt x="207" y="334"/>
                  </a:lnTo>
                  <a:lnTo>
                    <a:pt x="217" y="360"/>
                  </a:lnTo>
                  <a:lnTo>
                    <a:pt x="228" y="367"/>
                  </a:lnTo>
                  <a:lnTo>
                    <a:pt x="235" y="380"/>
                  </a:lnTo>
                  <a:lnTo>
                    <a:pt x="212" y="432"/>
                  </a:lnTo>
                  <a:lnTo>
                    <a:pt x="207" y="48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2" name="Freeform 158"/>
            <p:cNvSpPr>
              <a:spLocks/>
            </p:cNvSpPr>
            <p:nvPr/>
          </p:nvSpPr>
          <p:spPr bwMode="auto">
            <a:xfrm>
              <a:off x="986" y="1390"/>
              <a:ext cx="261" cy="322"/>
            </a:xfrm>
            <a:custGeom>
              <a:avLst/>
              <a:gdLst>
                <a:gd name="T0" fmla="*/ 22 w 410"/>
                <a:gd name="T1" fmla="*/ 62 h 485"/>
                <a:gd name="T2" fmla="*/ 25 w 410"/>
                <a:gd name="T3" fmla="*/ 61 h 485"/>
                <a:gd name="T4" fmla="*/ 26 w 410"/>
                <a:gd name="T5" fmla="*/ 45 h 485"/>
                <a:gd name="T6" fmla="*/ 25 w 410"/>
                <a:gd name="T7" fmla="*/ 44 h 485"/>
                <a:gd name="T8" fmla="*/ 24 w 410"/>
                <a:gd name="T9" fmla="*/ 40 h 485"/>
                <a:gd name="T10" fmla="*/ 26 w 410"/>
                <a:gd name="T11" fmla="*/ 35 h 485"/>
                <a:gd name="T12" fmla="*/ 43 w 410"/>
                <a:gd name="T13" fmla="*/ 21 h 485"/>
                <a:gd name="T14" fmla="*/ 43 w 410"/>
                <a:gd name="T15" fmla="*/ 19 h 485"/>
                <a:gd name="T16" fmla="*/ 41 w 410"/>
                <a:gd name="T17" fmla="*/ 17 h 485"/>
                <a:gd name="T18" fmla="*/ 41 w 410"/>
                <a:gd name="T19" fmla="*/ 14 h 485"/>
                <a:gd name="T20" fmla="*/ 39 w 410"/>
                <a:gd name="T21" fmla="*/ 11 h 485"/>
                <a:gd name="T22" fmla="*/ 39 w 410"/>
                <a:gd name="T23" fmla="*/ 7 h 485"/>
                <a:gd name="T24" fmla="*/ 38 w 410"/>
                <a:gd name="T25" fmla="*/ 4 h 485"/>
                <a:gd name="T26" fmla="*/ 33 w 410"/>
                <a:gd name="T27" fmla="*/ 3 h 485"/>
                <a:gd name="T28" fmla="*/ 29 w 410"/>
                <a:gd name="T29" fmla="*/ 0 h 485"/>
                <a:gd name="T30" fmla="*/ 26 w 410"/>
                <a:gd name="T31" fmla="*/ 5 h 485"/>
                <a:gd name="T32" fmla="*/ 26 w 410"/>
                <a:gd name="T33" fmla="*/ 6 h 485"/>
                <a:gd name="T34" fmla="*/ 24 w 410"/>
                <a:gd name="T35" fmla="*/ 7 h 485"/>
                <a:gd name="T36" fmla="*/ 24 w 410"/>
                <a:gd name="T37" fmla="*/ 6 h 485"/>
                <a:gd name="T38" fmla="*/ 24 w 410"/>
                <a:gd name="T39" fmla="*/ 4 h 485"/>
                <a:gd name="T40" fmla="*/ 23 w 410"/>
                <a:gd name="T41" fmla="*/ 1 h 485"/>
                <a:gd name="T42" fmla="*/ 20 w 410"/>
                <a:gd name="T43" fmla="*/ 2 h 485"/>
                <a:gd name="T44" fmla="*/ 18 w 410"/>
                <a:gd name="T45" fmla="*/ 6 h 485"/>
                <a:gd name="T46" fmla="*/ 20 w 410"/>
                <a:gd name="T47" fmla="*/ 9 h 485"/>
                <a:gd name="T48" fmla="*/ 18 w 410"/>
                <a:gd name="T49" fmla="*/ 9 h 485"/>
                <a:gd name="T50" fmla="*/ 13 w 410"/>
                <a:gd name="T51" fmla="*/ 6 h 485"/>
                <a:gd name="T52" fmla="*/ 7 w 410"/>
                <a:gd name="T53" fmla="*/ 10 h 485"/>
                <a:gd name="T54" fmla="*/ 7 w 410"/>
                <a:gd name="T55" fmla="*/ 13 h 485"/>
                <a:gd name="T56" fmla="*/ 8 w 410"/>
                <a:gd name="T57" fmla="*/ 13 h 485"/>
                <a:gd name="T58" fmla="*/ 6 w 410"/>
                <a:gd name="T59" fmla="*/ 15 h 485"/>
                <a:gd name="T60" fmla="*/ 7 w 410"/>
                <a:gd name="T61" fmla="*/ 17 h 485"/>
                <a:gd name="T62" fmla="*/ 6 w 410"/>
                <a:gd name="T63" fmla="*/ 19 h 485"/>
                <a:gd name="T64" fmla="*/ 8 w 410"/>
                <a:gd name="T65" fmla="*/ 22 h 485"/>
                <a:gd name="T66" fmla="*/ 1 w 410"/>
                <a:gd name="T67" fmla="*/ 21 h 485"/>
                <a:gd name="T68" fmla="*/ 0 w 410"/>
                <a:gd name="T69" fmla="*/ 22 h 485"/>
                <a:gd name="T70" fmla="*/ 10 w 410"/>
                <a:gd name="T71" fmla="*/ 25 h 485"/>
                <a:gd name="T72" fmla="*/ 15 w 410"/>
                <a:gd name="T73" fmla="*/ 26 h 485"/>
                <a:gd name="T74" fmla="*/ 13 w 410"/>
                <a:gd name="T75" fmla="*/ 28 h 485"/>
                <a:gd name="T76" fmla="*/ 15 w 410"/>
                <a:gd name="T77" fmla="*/ 31 h 485"/>
                <a:gd name="T78" fmla="*/ 17 w 410"/>
                <a:gd name="T79" fmla="*/ 30 h 485"/>
                <a:gd name="T80" fmla="*/ 18 w 410"/>
                <a:gd name="T81" fmla="*/ 28 h 485"/>
                <a:gd name="T82" fmla="*/ 20 w 410"/>
                <a:gd name="T83" fmla="*/ 29 h 485"/>
                <a:gd name="T84" fmla="*/ 18 w 410"/>
                <a:gd name="T85" fmla="*/ 32 h 485"/>
                <a:gd name="T86" fmla="*/ 20 w 410"/>
                <a:gd name="T87" fmla="*/ 32 h 485"/>
                <a:gd name="T88" fmla="*/ 20 w 410"/>
                <a:gd name="T89" fmla="*/ 35 h 485"/>
                <a:gd name="T90" fmla="*/ 22 w 410"/>
                <a:gd name="T91" fmla="*/ 37 h 485"/>
                <a:gd name="T92" fmla="*/ 22 w 410"/>
                <a:gd name="T93" fmla="*/ 40 h 485"/>
                <a:gd name="T94" fmla="*/ 22 w 410"/>
                <a:gd name="T95" fmla="*/ 43 h 485"/>
                <a:gd name="T96" fmla="*/ 23 w 410"/>
                <a:gd name="T97" fmla="*/ 46 h 485"/>
                <a:gd name="T98" fmla="*/ 24 w 410"/>
                <a:gd name="T99" fmla="*/ 48 h 485"/>
                <a:gd name="T100" fmla="*/ 24 w 410"/>
                <a:gd name="T101" fmla="*/ 49 h 485"/>
                <a:gd name="T102" fmla="*/ 22 w 410"/>
                <a:gd name="T103" fmla="*/ 56 h 485"/>
                <a:gd name="T104" fmla="*/ 22 w 410"/>
                <a:gd name="T105" fmla="*/ 62 h 485"/>
                <a:gd name="T106" fmla="*/ 22 w 410"/>
                <a:gd name="T107" fmla="*/ 62 h 48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10" h="485">
                  <a:moveTo>
                    <a:pt x="207" y="485"/>
                  </a:moveTo>
                  <a:lnTo>
                    <a:pt x="245" y="475"/>
                  </a:lnTo>
                  <a:lnTo>
                    <a:pt x="253" y="350"/>
                  </a:lnTo>
                  <a:lnTo>
                    <a:pt x="237" y="337"/>
                  </a:lnTo>
                  <a:lnTo>
                    <a:pt x="232" y="309"/>
                  </a:lnTo>
                  <a:lnTo>
                    <a:pt x="248" y="272"/>
                  </a:lnTo>
                  <a:lnTo>
                    <a:pt x="410" y="162"/>
                  </a:lnTo>
                  <a:lnTo>
                    <a:pt x="407" y="147"/>
                  </a:lnTo>
                  <a:lnTo>
                    <a:pt x="389" y="125"/>
                  </a:lnTo>
                  <a:lnTo>
                    <a:pt x="389" y="109"/>
                  </a:lnTo>
                  <a:lnTo>
                    <a:pt x="374" y="87"/>
                  </a:lnTo>
                  <a:lnTo>
                    <a:pt x="377" y="55"/>
                  </a:lnTo>
                  <a:lnTo>
                    <a:pt x="359" y="32"/>
                  </a:lnTo>
                  <a:lnTo>
                    <a:pt x="312" y="27"/>
                  </a:lnTo>
                  <a:lnTo>
                    <a:pt x="283" y="0"/>
                  </a:lnTo>
                  <a:lnTo>
                    <a:pt x="247" y="40"/>
                  </a:lnTo>
                  <a:lnTo>
                    <a:pt x="248" y="47"/>
                  </a:lnTo>
                  <a:lnTo>
                    <a:pt x="235" y="57"/>
                  </a:lnTo>
                  <a:lnTo>
                    <a:pt x="228" y="45"/>
                  </a:lnTo>
                  <a:lnTo>
                    <a:pt x="230" y="29"/>
                  </a:lnTo>
                  <a:lnTo>
                    <a:pt x="218" y="7"/>
                  </a:lnTo>
                  <a:lnTo>
                    <a:pt x="192" y="15"/>
                  </a:lnTo>
                  <a:lnTo>
                    <a:pt x="180" y="47"/>
                  </a:lnTo>
                  <a:lnTo>
                    <a:pt x="188" y="69"/>
                  </a:lnTo>
                  <a:lnTo>
                    <a:pt x="177" y="70"/>
                  </a:lnTo>
                  <a:lnTo>
                    <a:pt x="128" y="44"/>
                  </a:lnTo>
                  <a:lnTo>
                    <a:pt x="73" y="75"/>
                  </a:lnTo>
                  <a:lnTo>
                    <a:pt x="70" y="100"/>
                  </a:lnTo>
                  <a:lnTo>
                    <a:pt x="78" y="102"/>
                  </a:lnTo>
                  <a:lnTo>
                    <a:pt x="53" y="120"/>
                  </a:lnTo>
                  <a:lnTo>
                    <a:pt x="72" y="127"/>
                  </a:lnTo>
                  <a:lnTo>
                    <a:pt x="63" y="145"/>
                  </a:lnTo>
                  <a:lnTo>
                    <a:pt x="82" y="169"/>
                  </a:lnTo>
                  <a:lnTo>
                    <a:pt x="3" y="164"/>
                  </a:lnTo>
                  <a:lnTo>
                    <a:pt x="0" y="172"/>
                  </a:lnTo>
                  <a:lnTo>
                    <a:pt x="93" y="194"/>
                  </a:lnTo>
                  <a:lnTo>
                    <a:pt x="148" y="199"/>
                  </a:lnTo>
                  <a:lnTo>
                    <a:pt x="123" y="215"/>
                  </a:lnTo>
                  <a:lnTo>
                    <a:pt x="138" y="235"/>
                  </a:lnTo>
                  <a:lnTo>
                    <a:pt x="168" y="234"/>
                  </a:lnTo>
                  <a:lnTo>
                    <a:pt x="173" y="217"/>
                  </a:lnTo>
                  <a:lnTo>
                    <a:pt x="187" y="225"/>
                  </a:lnTo>
                  <a:lnTo>
                    <a:pt x="180" y="245"/>
                  </a:lnTo>
                  <a:lnTo>
                    <a:pt x="188" y="247"/>
                  </a:lnTo>
                  <a:lnTo>
                    <a:pt x="188" y="267"/>
                  </a:lnTo>
                  <a:lnTo>
                    <a:pt x="207" y="289"/>
                  </a:lnTo>
                  <a:lnTo>
                    <a:pt x="212" y="314"/>
                  </a:lnTo>
                  <a:lnTo>
                    <a:pt x="207" y="334"/>
                  </a:lnTo>
                  <a:lnTo>
                    <a:pt x="217" y="360"/>
                  </a:lnTo>
                  <a:lnTo>
                    <a:pt x="228" y="367"/>
                  </a:lnTo>
                  <a:lnTo>
                    <a:pt x="235" y="380"/>
                  </a:lnTo>
                  <a:lnTo>
                    <a:pt x="212" y="432"/>
                  </a:lnTo>
                  <a:lnTo>
                    <a:pt x="207" y="48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3" name="Freeform 159"/>
            <p:cNvSpPr>
              <a:spLocks/>
            </p:cNvSpPr>
            <p:nvPr/>
          </p:nvSpPr>
          <p:spPr bwMode="auto">
            <a:xfrm>
              <a:off x="1109" y="1497"/>
              <a:ext cx="645" cy="584"/>
            </a:xfrm>
            <a:custGeom>
              <a:avLst/>
              <a:gdLst>
                <a:gd name="T0" fmla="*/ 92 w 1005"/>
                <a:gd name="T1" fmla="*/ 103 h 880"/>
                <a:gd name="T2" fmla="*/ 92 w 1005"/>
                <a:gd name="T3" fmla="*/ 100 h 880"/>
                <a:gd name="T4" fmla="*/ 78 w 1005"/>
                <a:gd name="T5" fmla="*/ 108 h 880"/>
                <a:gd name="T6" fmla="*/ 67 w 1005"/>
                <a:gd name="T7" fmla="*/ 113 h 880"/>
                <a:gd name="T8" fmla="*/ 69 w 1005"/>
                <a:gd name="T9" fmla="*/ 110 h 880"/>
                <a:gd name="T10" fmla="*/ 72 w 1005"/>
                <a:gd name="T11" fmla="*/ 110 h 880"/>
                <a:gd name="T12" fmla="*/ 64 w 1005"/>
                <a:gd name="T13" fmla="*/ 97 h 880"/>
                <a:gd name="T14" fmla="*/ 56 w 1005"/>
                <a:gd name="T15" fmla="*/ 92 h 880"/>
                <a:gd name="T16" fmla="*/ 1 w 1005"/>
                <a:gd name="T17" fmla="*/ 63 h 880"/>
                <a:gd name="T18" fmla="*/ 1 w 1005"/>
                <a:gd name="T19" fmla="*/ 55 h 880"/>
                <a:gd name="T20" fmla="*/ 1 w 1005"/>
                <a:gd name="T21" fmla="*/ 44 h 880"/>
                <a:gd name="T22" fmla="*/ 6 w 1005"/>
                <a:gd name="T23" fmla="*/ 25 h 880"/>
                <a:gd name="T24" fmla="*/ 6 w 1005"/>
                <a:gd name="T25" fmla="*/ 14 h 880"/>
                <a:gd name="T26" fmla="*/ 30 w 1005"/>
                <a:gd name="T27" fmla="*/ 7 h 880"/>
                <a:gd name="T28" fmla="*/ 34 w 1005"/>
                <a:gd name="T29" fmla="*/ 9 h 880"/>
                <a:gd name="T30" fmla="*/ 38 w 1005"/>
                <a:gd name="T31" fmla="*/ 15 h 880"/>
                <a:gd name="T32" fmla="*/ 40 w 1005"/>
                <a:gd name="T33" fmla="*/ 22 h 880"/>
                <a:gd name="T34" fmla="*/ 46 w 1005"/>
                <a:gd name="T35" fmla="*/ 28 h 880"/>
                <a:gd name="T36" fmla="*/ 50 w 1005"/>
                <a:gd name="T37" fmla="*/ 27 h 880"/>
                <a:gd name="T38" fmla="*/ 55 w 1005"/>
                <a:gd name="T39" fmla="*/ 28 h 880"/>
                <a:gd name="T40" fmla="*/ 57 w 1005"/>
                <a:gd name="T41" fmla="*/ 28 h 880"/>
                <a:gd name="T42" fmla="*/ 58 w 1005"/>
                <a:gd name="T43" fmla="*/ 32 h 880"/>
                <a:gd name="T44" fmla="*/ 60 w 1005"/>
                <a:gd name="T45" fmla="*/ 29 h 880"/>
                <a:gd name="T46" fmla="*/ 61 w 1005"/>
                <a:gd name="T47" fmla="*/ 22 h 880"/>
                <a:gd name="T48" fmla="*/ 62 w 1005"/>
                <a:gd name="T49" fmla="*/ 31 h 880"/>
                <a:gd name="T50" fmla="*/ 65 w 1005"/>
                <a:gd name="T51" fmla="*/ 33 h 880"/>
                <a:gd name="T52" fmla="*/ 69 w 1005"/>
                <a:gd name="T53" fmla="*/ 30 h 880"/>
                <a:gd name="T54" fmla="*/ 71 w 1005"/>
                <a:gd name="T55" fmla="*/ 39 h 880"/>
                <a:gd name="T56" fmla="*/ 63 w 1005"/>
                <a:gd name="T57" fmla="*/ 40 h 880"/>
                <a:gd name="T58" fmla="*/ 62 w 1005"/>
                <a:gd name="T59" fmla="*/ 45 h 880"/>
                <a:gd name="T60" fmla="*/ 60 w 1005"/>
                <a:gd name="T61" fmla="*/ 48 h 880"/>
                <a:gd name="T62" fmla="*/ 55 w 1005"/>
                <a:gd name="T63" fmla="*/ 60 h 880"/>
                <a:gd name="T64" fmla="*/ 65 w 1005"/>
                <a:gd name="T65" fmla="*/ 72 h 880"/>
                <a:gd name="T66" fmla="*/ 71 w 1005"/>
                <a:gd name="T67" fmla="*/ 77 h 880"/>
                <a:gd name="T68" fmla="*/ 75 w 1005"/>
                <a:gd name="T69" fmla="*/ 84 h 880"/>
                <a:gd name="T70" fmla="*/ 73 w 1005"/>
                <a:gd name="T71" fmla="*/ 75 h 880"/>
                <a:gd name="T72" fmla="*/ 74 w 1005"/>
                <a:gd name="T73" fmla="*/ 64 h 880"/>
                <a:gd name="T74" fmla="*/ 75 w 1005"/>
                <a:gd name="T75" fmla="*/ 58 h 880"/>
                <a:gd name="T76" fmla="*/ 81 w 1005"/>
                <a:gd name="T77" fmla="*/ 52 h 880"/>
                <a:gd name="T78" fmla="*/ 87 w 1005"/>
                <a:gd name="T79" fmla="*/ 58 h 880"/>
                <a:gd name="T80" fmla="*/ 90 w 1005"/>
                <a:gd name="T81" fmla="*/ 64 h 880"/>
                <a:gd name="T82" fmla="*/ 98 w 1005"/>
                <a:gd name="T83" fmla="*/ 66 h 880"/>
                <a:gd name="T84" fmla="*/ 107 w 1005"/>
                <a:gd name="T85" fmla="*/ 73 h 880"/>
                <a:gd name="T86" fmla="*/ 110 w 1005"/>
                <a:gd name="T87" fmla="*/ 80 h 880"/>
                <a:gd name="T88" fmla="*/ 105 w 1005"/>
                <a:gd name="T89" fmla="*/ 87 h 880"/>
                <a:gd name="T90" fmla="*/ 92 w 1005"/>
                <a:gd name="T91" fmla="*/ 94 h 880"/>
                <a:gd name="T92" fmla="*/ 90 w 1005"/>
                <a:gd name="T93" fmla="*/ 98 h 880"/>
                <a:gd name="T94" fmla="*/ 98 w 1005"/>
                <a:gd name="T95" fmla="*/ 94 h 880"/>
                <a:gd name="T96" fmla="*/ 98 w 1005"/>
                <a:gd name="T97" fmla="*/ 98 h 880"/>
                <a:gd name="T98" fmla="*/ 102 w 1005"/>
                <a:gd name="T99" fmla="*/ 104 h 880"/>
                <a:gd name="T100" fmla="*/ 99 w 1005"/>
                <a:gd name="T101" fmla="*/ 104 h 880"/>
                <a:gd name="T102" fmla="*/ 96 w 1005"/>
                <a:gd name="T103" fmla="*/ 106 h 88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005" h="880">
                  <a:moveTo>
                    <a:pt x="877" y="823"/>
                  </a:moveTo>
                  <a:lnTo>
                    <a:pt x="862" y="821"/>
                  </a:lnTo>
                  <a:lnTo>
                    <a:pt x="850" y="800"/>
                  </a:lnTo>
                  <a:lnTo>
                    <a:pt x="860" y="783"/>
                  </a:lnTo>
                  <a:lnTo>
                    <a:pt x="862" y="778"/>
                  </a:lnTo>
                  <a:lnTo>
                    <a:pt x="842" y="775"/>
                  </a:lnTo>
                  <a:lnTo>
                    <a:pt x="805" y="815"/>
                  </a:lnTo>
                  <a:lnTo>
                    <a:pt x="753" y="825"/>
                  </a:lnTo>
                  <a:lnTo>
                    <a:pt x="718" y="843"/>
                  </a:lnTo>
                  <a:lnTo>
                    <a:pt x="695" y="835"/>
                  </a:lnTo>
                  <a:lnTo>
                    <a:pt x="667" y="866"/>
                  </a:lnTo>
                  <a:lnTo>
                    <a:pt x="615" y="880"/>
                  </a:lnTo>
                  <a:lnTo>
                    <a:pt x="603" y="880"/>
                  </a:lnTo>
                  <a:lnTo>
                    <a:pt x="612" y="865"/>
                  </a:lnTo>
                  <a:lnTo>
                    <a:pt x="637" y="848"/>
                  </a:lnTo>
                  <a:lnTo>
                    <a:pt x="638" y="830"/>
                  </a:lnTo>
                  <a:lnTo>
                    <a:pt x="647" y="850"/>
                  </a:lnTo>
                  <a:lnTo>
                    <a:pt x="657" y="853"/>
                  </a:lnTo>
                  <a:lnTo>
                    <a:pt x="655" y="815"/>
                  </a:lnTo>
                  <a:lnTo>
                    <a:pt x="602" y="785"/>
                  </a:lnTo>
                  <a:lnTo>
                    <a:pt x="585" y="753"/>
                  </a:lnTo>
                  <a:lnTo>
                    <a:pt x="568" y="726"/>
                  </a:lnTo>
                  <a:lnTo>
                    <a:pt x="542" y="710"/>
                  </a:lnTo>
                  <a:lnTo>
                    <a:pt x="512" y="721"/>
                  </a:lnTo>
                  <a:lnTo>
                    <a:pt x="290" y="633"/>
                  </a:lnTo>
                  <a:lnTo>
                    <a:pt x="137" y="558"/>
                  </a:lnTo>
                  <a:lnTo>
                    <a:pt x="11" y="491"/>
                  </a:lnTo>
                  <a:lnTo>
                    <a:pt x="5" y="463"/>
                  </a:lnTo>
                  <a:lnTo>
                    <a:pt x="1" y="445"/>
                  </a:lnTo>
                  <a:lnTo>
                    <a:pt x="10" y="427"/>
                  </a:lnTo>
                  <a:lnTo>
                    <a:pt x="0" y="418"/>
                  </a:lnTo>
                  <a:lnTo>
                    <a:pt x="20" y="350"/>
                  </a:lnTo>
                  <a:lnTo>
                    <a:pt x="11" y="338"/>
                  </a:lnTo>
                  <a:lnTo>
                    <a:pt x="15" y="318"/>
                  </a:lnTo>
                  <a:lnTo>
                    <a:pt x="51" y="317"/>
                  </a:lnTo>
                  <a:lnTo>
                    <a:pt x="61" y="190"/>
                  </a:lnTo>
                  <a:lnTo>
                    <a:pt x="43" y="175"/>
                  </a:lnTo>
                  <a:lnTo>
                    <a:pt x="40" y="145"/>
                  </a:lnTo>
                  <a:lnTo>
                    <a:pt x="56" y="110"/>
                  </a:lnTo>
                  <a:lnTo>
                    <a:pt x="218" y="0"/>
                  </a:lnTo>
                  <a:lnTo>
                    <a:pt x="230" y="38"/>
                  </a:lnTo>
                  <a:lnTo>
                    <a:pt x="277" y="52"/>
                  </a:lnTo>
                  <a:lnTo>
                    <a:pt x="282" y="70"/>
                  </a:lnTo>
                  <a:lnTo>
                    <a:pt x="307" y="65"/>
                  </a:lnTo>
                  <a:lnTo>
                    <a:pt x="312" y="73"/>
                  </a:lnTo>
                  <a:lnTo>
                    <a:pt x="302" y="88"/>
                  </a:lnTo>
                  <a:lnTo>
                    <a:pt x="317" y="97"/>
                  </a:lnTo>
                  <a:lnTo>
                    <a:pt x="347" y="120"/>
                  </a:lnTo>
                  <a:lnTo>
                    <a:pt x="352" y="145"/>
                  </a:lnTo>
                  <a:lnTo>
                    <a:pt x="377" y="153"/>
                  </a:lnTo>
                  <a:lnTo>
                    <a:pt x="367" y="167"/>
                  </a:lnTo>
                  <a:lnTo>
                    <a:pt x="368" y="177"/>
                  </a:lnTo>
                  <a:lnTo>
                    <a:pt x="415" y="200"/>
                  </a:lnTo>
                  <a:lnTo>
                    <a:pt x="417" y="217"/>
                  </a:lnTo>
                  <a:lnTo>
                    <a:pt x="440" y="215"/>
                  </a:lnTo>
                  <a:lnTo>
                    <a:pt x="433" y="197"/>
                  </a:lnTo>
                  <a:lnTo>
                    <a:pt x="457" y="205"/>
                  </a:lnTo>
                  <a:lnTo>
                    <a:pt x="487" y="240"/>
                  </a:lnTo>
                  <a:lnTo>
                    <a:pt x="502" y="228"/>
                  </a:lnTo>
                  <a:lnTo>
                    <a:pt x="500" y="215"/>
                  </a:lnTo>
                  <a:lnTo>
                    <a:pt x="502" y="207"/>
                  </a:lnTo>
                  <a:lnTo>
                    <a:pt x="522" y="207"/>
                  </a:lnTo>
                  <a:lnTo>
                    <a:pt x="527" y="215"/>
                  </a:lnTo>
                  <a:lnTo>
                    <a:pt x="522" y="253"/>
                  </a:lnTo>
                  <a:lnTo>
                    <a:pt x="525" y="255"/>
                  </a:lnTo>
                  <a:lnTo>
                    <a:pt x="532" y="245"/>
                  </a:lnTo>
                  <a:lnTo>
                    <a:pt x="545" y="247"/>
                  </a:lnTo>
                  <a:lnTo>
                    <a:pt x="542" y="237"/>
                  </a:lnTo>
                  <a:lnTo>
                    <a:pt x="553" y="223"/>
                  </a:lnTo>
                  <a:lnTo>
                    <a:pt x="537" y="192"/>
                  </a:lnTo>
                  <a:lnTo>
                    <a:pt x="550" y="170"/>
                  </a:lnTo>
                  <a:lnTo>
                    <a:pt x="560" y="173"/>
                  </a:lnTo>
                  <a:lnTo>
                    <a:pt x="573" y="198"/>
                  </a:lnTo>
                  <a:lnTo>
                    <a:pt x="570" y="208"/>
                  </a:lnTo>
                  <a:lnTo>
                    <a:pt x="573" y="242"/>
                  </a:lnTo>
                  <a:lnTo>
                    <a:pt x="592" y="240"/>
                  </a:lnTo>
                  <a:lnTo>
                    <a:pt x="600" y="245"/>
                  </a:lnTo>
                  <a:lnTo>
                    <a:pt x="597" y="255"/>
                  </a:lnTo>
                  <a:lnTo>
                    <a:pt x="607" y="277"/>
                  </a:lnTo>
                  <a:lnTo>
                    <a:pt x="632" y="253"/>
                  </a:lnTo>
                  <a:lnTo>
                    <a:pt x="630" y="230"/>
                  </a:lnTo>
                  <a:lnTo>
                    <a:pt x="655" y="237"/>
                  </a:lnTo>
                  <a:lnTo>
                    <a:pt x="660" y="280"/>
                  </a:lnTo>
                  <a:lnTo>
                    <a:pt x="647" y="305"/>
                  </a:lnTo>
                  <a:lnTo>
                    <a:pt x="615" y="302"/>
                  </a:lnTo>
                  <a:lnTo>
                    <a:pt x="600" y="317"/>
                  </a:lnTo>
                  <a:lnTo>
                    <a:pt x="578" y="317"/>
                  </a:lnTo>
                  <a:lnTo>
                    <a:pt x="588" y="330"/>
                  </a:lnTo>
                  <a:lnTo>
                    <a:pt x="577" y="350"/>
                  </a:lnTo>
                  <a:lnTo>
                    <a:pt x="567" y="347"/>
                  </a:lnTo>
                  <a:lnTo>
                    <a:pt x="562" y="355"/>
                  </a:lnTo>
                  <a:lnTo>
                    <a:pt x="548" y="357"/>
                  </a:lnTo>
                  <a:lnTo>
                    <a:pt x="550" y="368"/>
                  </a:lnTo>
                  <a:lnTo>
                    <a:pt x="502" y="403"/>
                  </a:lnTo>
                  <a:lnTo>
                    <a:pt x="478" y="443"/>
                  </a:lnTo>
                  <a:lnTo>
                    <a:pt x="505" y="470"/>
                  </a:lnTo>
                  <a:lnTo>
                    <a:pt x="505" y="500"/>
                  </a:lnTo>
                  <a:lnTo>
                    <a:pt x="558" y="520"/>
                  </a:lnTo>
                  <a:lnTo>
                    <a:pt x="600" y="561"/>
                  </a:lnTo>
                  <a:lnTo>
                    <a:pt x="635" y="570"/>
                  </a:lnTo>
                  <a:lnTo>
                    <a:pt x="627" y="591"/>
                  </a:lnTo>
                  <a:lnTo>
                    <a:pt x="647" y="596"/>
                  </a:lnTo>
                  <a:lnTo>
                    <a:pt x="638" y="621"/>
                  </a:lnTo>
                  <a:lnTo>
                    <a:pt x="665" y="658"/>
                  </a:lnTo>
                  <a:lnTo>
                    <a:pt x="687" y="655"/>
                  </a:lnTo>
                  <a:lnTo>
                    <a:pt x="688" y="623"/>
                  </a:lnTo>
                  <a:lnTo>
                    <a:pt x="663" y="600"/>
                  </a:lnTo>
                  <a:lnTo>
                    <a:pt x="670" y="580"/>
                  </a:lnTo>
                  <a:lnTo>
                    <a:pt x="702" y="553"/>
                  </a:lnTo>
                  <a:lnTo>
                    <a:pt x="692" y="501"/>
                  </a:lnTo>
                  <a:lnTo>
                    <a:pt x="678" y="496"/>
                  </a:lnTo>
                  <a:lnTo>
                    <a:pt x="680" y="480"/>
                  </a:lnTo>
                  <a:lnTo>
                    <a:pt x="697" y="460"/>
                  </a:lnTo>
                  <a:lnTo>
                    <a:pt x="692" y="448"/>
                  </a:lnTo>
                  <a:lnTo>
                    <a:pt x="690" y="407"/>
                  </a:lnTo>
                  <a:lnTo>
                    <a:pt x="727" y="410"/>
                  </a:lnTo>
                  <a:lnTo>
                    <a:pt x="747" y="405"/>
                  </a:lnTo>
                  <a:lnTo>
                    <a:pt x="768" y="420"/>
                  </a:lnTo>
                  <a:lnTo>
                    <a:pt x="773" y="432"/>
                  </a:lnTo>
                  <a:lnTo>
                    <a:pt x="800" y="453"/>
                  </a:lnTo>
                  <a:lnTo>
                    <a:pt x="805" y="488"/>
                  </a:lnTo>
                  <a:lnTo>
                    <a:pt x="817" y="496"/>
                  </a:lnTo>
                  <a:lnTo>
                    <a:pt x="834" y="498"/>
                  </a:lnTo>
                  <a:lnTo>
                    <a:pt x="850" y="460"/>
                  </a:lnTo>
                  <a:lnTo>
                    <a:pt x="879" y="503"/>
                  </a:lnTo>
                  <a:lnTo>
                    <a:pt x="902" y="511"/>
                  </a:lnTo>
                  <a:lnTo>
                    <a:pt x="900" y="531"/>
                  </a:lnTo>
                  <a:lnTo>
                    <a:pt x="925" y="563"/>
                  </a:lnTo>
                  <a:lnTo>
                    <a:pt x="975" y="563"/>
                  </a:lnTo>
                  <a:lnTo>
                    <a:pt x="987" y="573"/>
                  </a:lnTo>
                  <a:lnTo>
                    <a:pt x="990" y="598"/>
                  </a:lnTo>
                  <a:lnTo>
                    <a:pt x="1005" y="620"/>
                  </a:lnTo>
                  <a:lnTo>
                    <a:pt x="1005" y="633"/>
                  </a:lnTo>
                  <a:lnTo>
                    <a:pt x="992" y="640"/>
                  </a:lnTo>
                  <a:lnTo>
                    <a:pt x="967" y="673"/>
                  </a:lnTo>
                  <a:lnTo>
                    <a:pt x="930" y="686"/>
                  </a:lnTo>
                  <a:lnTo>
                    <a:pt x="884" y="686"/>
                  </a:lnTo>
                  <a:lnTo>
                    <a:pt x="847" y="726"/>
                  </a:lnTo>
                  <a:lnTo>
                    <a:pt x="819" y="741"/>
                  </a:lnTo>
                  <a:lnTo>
                    <a:pt x="802" y="765"/>
                  </a:lnTo>
                  <a:lnTo>
                    <a:pt x="830" y="761"/>
                  </a:lnTo>
                  <a:lnTo>
                    <a:pt x="879" y="721"/>
                  </a:lnTo>
                  <a:lnTo>
                    <a:pt x="884" y="718"/>
                  </a:lnTo>
                  <a:lnTo>
                    <a:pt x="900" y="730"/>
                  </a:lnTo>
                  <a:lnTo>
                    <a:pt x="910" y="743"/>
                  </a:lnTo>
                  <a:lnTo>
                    <a:pt x="895" y="753"/>
                  </a:lnTo>
                  <a:lnTo>
                    <a:pt x="904" y="756"/>
                  </a:lnTo>
                  <a:lnTo>
                    <a:pt x="902" y="776"/>
                  </a:lnTo>
                  <a:lnTo>
                    <a:pt x="962" y="796"/>
                  </a:lnTo>
                  <a:lnTo>
                    <a:pt x="935" y="811"/>
                  </a:lnTo>
                  <a:lnTo>
                    <a:pt x="904" y="851"/>
                  </a:lnTo>
                  <a:lnTo>
                    <a:pt x="895" y="838"/>
                  </a:lnTo>
                  <a:lnTo>
                    <a:pt x="910" y="811"/>
                  </a:lnTo>
                  <a:lnTo>
                    <a:pt x="884" y="820"/>
                  </a:lnTo>
                  <a:lnTo>
                    <a:pt x="877" y="82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" name="Freeform 160"/>
            <p:cNvSpPr>
              <a:spLocks/>
            </p:cNvSpPr>
            <p:nvPr/>
          </p:nvSpPr>
          <p:spPr bwMode="auto">
            <a:xfrm>
              <a:off x="1109" y="1497"/>
              <a:ext cx="645" cy="584"/>
            </a:xfrm>
            <a:custGeom>
              <a:avLst/>
              <a:gdLst>
                <a:gd name="T0" fmla="*/ 92 w 1005"/>
                <a:gd name="T1" fmla="*/ 103 h 880"/>
                <a:gd name="T2" fmla="*/ 92 w 1005"/>
                <a:gd name="T3" fmla="*/ 100 h 880"/>
                <a:gd name="T4" fmla="*/ 78 w 1005"/>
                <a:gd name="T5" fmla="*/ 108 h 880"/>
                <a:gd name="T6" fmla="*/ 67 w 1005"/>
                <a:gd name="T7" fmla="*/ 113 h 880"/>
                <a:gd name="T8" fmla="*/ 69 w 1005"/>
                <a:gd name="T9" fmla="*/ 110 h 880"/>
                <a:gd name="T10" fmla="*/ 72 w 1005"/>
                <a:gd name="T11" fmla="*/ 110 h 880"/>
                <a:gd name="T12" fmla="*/ 64 w 1005"/>
                <a:gd name="T13" fmla="*/ 97 h 880"/>
                <a:gd name="T14" fmla="*/ 56 w 1005"/>
                <a:gd name="T15" fmla="*/ 92 h 880"/>
                <a:gd name="T16" fmla="*/ 1 w 1005"/>
                <a:gd name="T17" fmla="*/ 63 h 880"/>
                <a:gd name="T18" fmla="*/ 1 w 1005"/>
                <a:gd name="T19" fmla="*/ 55 h 880"/>
                <a:gd name="T20" fmla="*/ 1 w 1005"/>
                <a:gd name="T21" fmla="*/ 44 h 880"/>
                <a:gd name="T22" fmla="*/ 6 w 1005"/>
                <a:gd name="T23" fmla="*/ 25 h 880"/>
                <a:gd name="T24" fmla="*/ 6 w 1005"/>
                <a:gd name="T25" fmla="*/ 14 h 880"/>
                <a:gd name="T26" fmla="*/ 30 w 1005"/>
                <a:gd name="T27" fmla="*/ 7 h 880"/>
                <a:gd name="T28" fmla="*/ 34 w 1005"/>
                <a:gd name="T29" fmla="*/ 9 h 880"/>
                <a:gd name="T30" fmla="*/ 38 w 1005"/>
                <a:gd name="T31" fmla="*/ 15 h 880"/>
                <a:gd name="T32" fmla="*/ 40 w 1005"/>
                <a:gd name="T33" fmla="*/ 22 h 880"/>
                <a:gd name="T34" fmla="*/ 46 w 1005"/>
                <a:gd name="T35" fmla="*/ 28 h 880"/>
                <a:gd name="T36" fmla="*/ 50 w 1005"/>
                <a:gd name="T37" fmla="*/ 27 h 880"/>
                <a:gd name="T38" fmla="*/ 55 w 1005"/>
                <a:gd name="T39" fmla="*/ 28 h 880"/>
                <a:gd name="T40" fmla="*/ 57 w 1005"/>
                <a:gd name="T41" fmla="*/ 28 h 880"/>
                <a:gd name="T42" fmla="*/ 58 w 1005"/>
                <a:gd name="T43" fmla="*/ 32 h 880"/>
                <a:gd name="T44" fmla="*/ 60 w 1005"/>
                <a:gd name="T45" fmla="*/ 29 h 880"/>
                <a:gd name="T46" fmla="*/ 61 w 1005"/>
                <a:gd name="T47" fmla="*/ 22 h 880"/>
                <a:gd name="T48" fmla="*/ 62 w 1005"/>
                <a:gd name="T49" fmla="*/ 31 h 880"/>
                <a:gd name="T50" fmla="*/ 65 w 1005"/>
                <a:gd name="T51" fmla="*/ 33 h 880"/>
                <a:gd name="T52" fmla="*/ 69 w 1005"/>
                <a:gd name="T53" fmla="*/ 30 h 880"/>
                <a:gd name="T54" fmla="*/ 71 w 1005"/>
                <a:gd name="T55" fmla="*/ 39 h 880"/>
                <a:gd name="T56" fmla="*/ 63 w 1005"/>
                <a:gd name="T57" fmla="*/ 40 h 880"/>
                <a:gd name="T58" fmla="*/ 62 w 1005"/>
                <a:gd name="T59" fmla="*/ 45 h 880"/>
                <a:gd name="T60" fmla="*/ 60 w 1005"/>
                <a:gd name="T61" fmla="*/ 48 h 880"/>
                <a:gd name="T62" fmla="*/ 55 w 1005"/>
                <a:gd name="T63" fmla="*/ 60 h 880"/>
                <a:gd name="T64" fmla="*/ 65 w 1005"/>
                <a:gd name="T65" fmla="*/ 72 h 880"/>
                <a:gd name="T66" fmla="*/ 71 w 1005"/>
                <a:gd name="T67" fmla="*/ 77 h 880"/>
                <a:gd name="T68" fmla="*/ 75 w 1005"/>
                <a:gd name="T69" fmla="*/ 84 h 880"/>
                <a:gd name="T70" fmla="*/ 73 w 1005"/>
                <a:gd name="T71" fmla="*/ 75 h 880"/>
                <a:gd name="T72" fmla="*/ 74 w 1005"/>
                <a:gd name="T73" fmla="*/ 64 h 880"/>
                <a:gd name="T74" fmla="*/ 75 w 1005"/>
                <a:gd name="T75" fmla="*/ 58 h 880"/>
                <a:gd name="T76" fmla="*/ 81 w 1005"/>
                <a:gd name="T77" fmla="*/ 52 h 880"/>
                <a:gd name="T78" fmla="*/ 87 w 1005"/>
                <a:gd name="T79" fmla="*/ 58 h 880"/>
                <a:gd name="T80" fmla="*/ 90 w 1005"/>
                <a:gd name="T81" fmla="*/ 64 h 880"/>
                <a:gd name="T82" fmla="*/ 98 w 1005"/>
                <a:gd name="T83" fmla="*/ 66 h 880"/>
                <a:gd name="T84" fmla="*/ 107 w 1005"/>
                <a:gd name="T85" fmla="*/ 73 h 880"/>
                <a:gd name="T86" fmla="*/ 110 w 1005"/>
                <a:gd name="T87" fmla="*/ 80 h 880"/>
                <a:gd name="T88" fmla="*/ 105 w 1005"/>
                <a:gd name="T89" fmla="*/ 87 h 880"/>
                <a:gd name="T90" fmla="*/ 92 w 1005"/>
                <a:gd name="T91" fmla="*/ 94 h 880"/>
                <a:gd name="T92" fmla="*/ 90 w 1005"/>
                <a:gd name="T93" fmla="*/ 98 h 880"/>
                <a:gd name="T94" fmla="*/ 98 w 1005"/>
                <a:gd name="T95" fmla="*/ 94 h 880"/>
                <a:gd name="T96" fmla="*/ 98 w 1005"/>
                <a:gd name="T97" fmla="*/ 98 h 880"/>
                <a:gd name="T98" fmla="*/ 102 w 1005"/>
                <a:gd name="T99" fmla="*/ 104 h 880"/>
                <a:gd name="T100" fmla="*/ 99 w 1005"/>
                <a:gd name="T101" fmla="*/ 104 h 880"/>
                <a:gd name="T102" fmla="*/ 96 w 1005"/>
                <a:gd name="T103" fmla="*/ 106 h 88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005" h="880">
                  <a:moveTo>
                    <a:pt x="877" y="823"/>
                  </a:moveTo>
                  <a:lnTo>
                    <a:pt x="862" y="821"/>
                  </a:lnTo>
                  <a:lnTo>
                    <a:pt x="850" y="800"/>
                  </a:lnTo>
                  <a:lnTo>
                    <a:pt x="860" y="783"/>
                  </a:lnTo>
                  <a:lnTo>
                    <a:pt x="862" y="778"/>
                  </a:lnTo>
                  <a:lnTo>
                    <a:pt x="842" y="775"/>
                  </a:lnTo>
                  <a:lnTo>
                    <a:pt x="805" y="815"/>
                  </a:lnTo>
                  <a:lnTo>
                    <a:pt x="753" y="825"/>
                  </a:lnTo>
                  <a:lnTo>
                    <a:pt x="718" y="843"/>
                  </a:lnTo>
                  <a:lnTo>
                    <a:pt x="695" y="835"/>
                  </a:lnTo>
                  <a:lnTo>
                    <a:pt x="667" y="866"/>
                  </a:lnTo>
                  <a:lnTo>
                    <a:pt x="615" y="880"/>
                  </a:lnTo>
                  <a:lnTo>
                    <a:pt x="603" y="880"/>
                  </a:lnTo>
                  <a:lnTo>
                    <a:pt x="612" y="865"/>
                  </a:lnTo>
                  <a:lnTo>
                    <a:pt x="637" y="848"/>
                  </a:lnTo>
                  <a:lnTo>
                    <a:pt x="638" y="830"/>
                  </a:lnTo>
                  <a:lnTo>
                    <a:pt x="647" y="850"/>
                  </a:lnTo>
                  <a:lnTo>
                    <a:pt x="657" y="853"/>
                  </a:lnTo>
                  <a:lnTo>
                    <a:pt x="655" y="815"/>
                  </a:lnTo>
                  <a:lnTo>
                    <a:pt x="602" y="785"/>
                  </a:lnTo>
                  <a:lnTo>
                    <a:pt x="585" y="753"/>
                  </a:lnTo>
                  <a:lnTo>
                    <a:pt x="568" y="726"/>
                  </a:lnTo>
                  <a:lnTo>
                    <a:pt x="542" y="710"/>
                  </a:lnTo>
                  <a:lnTo>
                    <a:pt x="512" y="721"/>
                  </a:lnTo>
                  <a:lnTo>
                    <a:pt x="290" y="633"/>
                  </a:lnTo>
                  <a:lnTo>
                    <a:pt x="137" y="558"/>
                  </a:lnTo>
                  <a:lnTo>
                    <a:pt x="11" y="491"/>
                  </a:lnTo>
                  <a:lnTo>
                    <a:pt x="5" y="463"/>
                  </a:lnTo>
                  <a:lnTo>
                    <a:pt x="1" y="445"/>
                  </a:lnTo>
                  <a:lnTo>
                    <a:pt x="10" y="427"/>
                  </a:lnTo>
                  <a:lnTo>
                    <a:pt x="0" y="418"/>
                  </a:lnTo>
                  <a:lnTo>
                    <a:pt x="20" y="350"/>
                  </a:lnTo>
                  <a:lnTo>
                    <a:pt x="11" y="338"/>
                  </a:lnTo>
                  <a:lnTo>
                    <a:pt x="15" y="318"/>
                  </a:lnTo>
                  <a:lnTo>
                    <a:pt x="51" y="317"/>
                  </a:lnTo>
                  <a:lnTo>
                    <a:pt x="61" y="190"/>
                  </a:lnTo>
                  <a:lnTo>
                    <a:pt x="43" y="175"/>
                  </a:lnTo>
                  <a:lnTo>
                    <a:pt x="40" y="145"/>
                  </a:lnTo>
                  <a:lnTo>
                    <a:pt x="56" y="110"/>
                  </a:lnTo>
                  <a:lnTo>
                    <a:pt x="218" y="0"/>
                  </a:lnTo>
                  <a:lnTo>
                    <a:pt x="230" y="38"/>
                  </a:lnTo>
                  <a:lnTo>
                    <a:pt x="277" y="52"/>
                  </a:lnTo>
                  <a:lnTo>
                    <a:pt x="282" y="70"/>
                  </a:lnTo>
                  <a:lnTo>
                    <a:pt x="307" y="65"/>
                  </a:lnTo>
                  <a:lnTo>
                    <a:pt x="312" y="73"/>
                  </a:lnTo>
                  <a:lnTo>
                    <a:pt x="302" y="88"/>
                  </a:lnTo>
                  <a:lnTo>
                    <a:pt x="317" y="97"/>
                  </a:lnTo>
                  <a:lnTo>
                    <a:pt x="347" y="120"/>
                  </a:lnTo>
                  <a:lnTo>
                    <a:pt x="352" y="145"/>
                  </a:lnTo>
                  <a:lnTo>
                    <a:pt x="377" y="153"/>
                  </a:lnTo>
                  <a:lnTo>
                    <a:pt x="367" y="167"/>
                  </a:lnTo>
                  <a:lnTo>
                    <a:pt x="368" y="177"/>
                  </a:lnTo>
                  <a:lnTo>
                    <a:pt x="415" y="200"/>
                  </a:lnTo>
                  <a:lnTo>
                    <a:pt x="417" y="217"/>
                  </a:lnTo>
                  <a:lnTo>
                    <a:pt x="440" y="215"/>
                  </a:lnTo>
                  <a:lnTo>
                    <a:pt x="433" y="197"/>
                  </a:lnTo>
                  <a:lnTo>
                    <a:pt x="457" y="205"/>
                  </a:lnTo>
                  <a:lnTo>
                    <a:pt x="487" y="240"/>
                  </a:lnTo>
                  <a:lnTo>
                    <a:pt x="502" y="228"/>
                  </a:lnTo>
                  <a:lnTo>
                    <a:pt x="500" y="215"/>
                  </a:lnTo>
                  <a:lnTo>
                    <a:pt x="502" y="207"/>
                  </a:lnTo>
                  <a:lnTo>
                    <a:pt x="522" y="207"/>
                  </a:lnTo>
                  <a:lnTo>
                    <a:pt x="527" y="215"/>
                  </a:lnTo>
                  <a:lnTo>
                    <a:pt x="522" y="253"/>
                  </a:lnTo>
                  <a:lnTo>
                    <a:pt x="525" y="255"/>
                  </a:lnTo>
                  <a:lnTo>
                    <a:pt x="532" y="245"/>
                  </a:lnTo>
                  <a:lnTo>
                    <a:pt x="545" y="247"/>
                  </a:lnTo>
                  <a:lnTo>
                    <a:pt x="542" y="237"/>
                  </a:lnTo>
                  <a:lnTo>
                    <a:pt x="553" y="223"/>
                  </a:lnTo>
                  <a:lnTo>
                    <a:pt x="537" y="192"/>
                  </a:lnTo>
                  <a:lnTo>
                    <a:pt x="550" y="170"/>
                  </a:lnTo>
                  <a:lnTo>
                    <a:pt x="560" y="173"/>
                  </a:lnTo>
                  <a:lnTo>
                    <a:pt x="573" y="198"/>
                  </a:lnTo>
                  <a:lnTo>
                    <a:pt x="570" y="208"/>
                  </a:lnTo>
                  <a:lnTo>
                    <a:pt x="573" y="242"/>
                  </a:lnTo>
                  <a:lnTo>
                    <a:pt x="592" y="240"/>
                  </a:lnTo>
                  <a:lnTo>
                    <a:pt x="600" y="245"/>
                  </a:lnTo>
                  <a:lnTo>
                    <a:pt x="597" y="255"/>
                  </a:lnTo>
                  <a:lnTo>
                    <a:pt x="607" y="277"/>
                  </a:lnTo>
                  <a:lnTo>
                    <a:pt x="632" y="253"/>
                  </a:lnTo>
                  <a:lnTo>
                    <a:pt x="630" y="230"/>
                  </a:lnTo>
                  <a:lnTo>
                    <a:pt x="655" y="237"/>
                  </a:lnTo>
                  <a:lnTo>
                    <a:pt x="660" y="280"/>
                  </a:lnTo>
                  <a:lnTo>
                    <a:pt x="647" y="305"/>
                  </a:lnTo>
                  <a:lnTo>
                    <a:pt x="615" y="302"/>
                  </a:lnTo>
                  <a:lnTo>
                    <a:pt x="600" y="317"/>
                  </a:lnTo>
                  <a:lnTo>
                    <a:pt x="578" y="317"/>
                  </a:lnTo>
                  <a:lnTo>
                    <a:pt x="588" y="330"/>
                  </a:lnTo>
                  <a:lnTo>
                    <a:pt x="577" y="350"/>
                  </a:lnTo>
                  <a:lnTo>
                    <a:pt x="567" y="347"/>
                  </a:lnTo>
                  <a:lnTo>
                    <a:pt x="562" y="355"/>
                  </a:lnTo>
                  <a:lnTo>
                    <a:pt x="548" y="357"/>
                  </a:lnTo>
                  <a:lnTo>
                    <a:pt x="550" y="368"/>
                  </a:lnTo>
                  <a:lnTo>
                    <a:pt x="502" y="403"/>
                  </a:lnTo>
                  <a:lnTo>
                    <a:pt x="478" y="443"/>
                  </a:lnTo>
                  <a:lnTo>
                    <a:pt x="505" y="470"/>
                  </a:lnTo>
                  <a:lnTo>
                    <a:pt x="505" y="500"/>
                  </a:lnTo>
                  <a:lnTo>
                    <a:pt x="558" y="520"/>
                  </a:lnTo>
                  <a:lnTo>
                    <a:pt x="600" y="561"/>
                  </a:lnTo>
                  <a:lnTo>
                    <a:pt x="635" y="570"/>
                  </a:lnTo>
                  <a:lnTo>
                    <a:pt x="627" y="591"/>
                  </a:lnTo>
                  <a:lnTo>
                    <a:pt x="647" y="596"/>
                  </a:lnTo>
                  <a:lnTo>
                    <a:pt x="638" y="621"/>
                  </a:lnTo>
                  <a:lnTo>
                    <a:pt x="665" y="658"/>
                  </a:lnTo>
                  <a:lnTo>
                    <a:pt x="687" y="655"/>
                  </a:lnTo>
                  <a:lnTo>
                    <a:pt x="688" y="623"/>
                  </a:lnTo>
                  <a:lnTo>
                    <a:pt x="663" y="600"/>
                  </a:lnTo>
                  <a:lnTo>
                    <a:pt x="670" y="580"/>
                  </a:lnTo>
                  <a:lnTo>
                    <a:pt x="702" y="553"/>
                  </a:lnTo>
                  <a:lnTo>
                    <a:pt x="692" y="501"/>
                  </a:lnTo>
                  <a:lnTo>
                    <a:pt x="678" y="496"/>
                  </a:lnTo>
                  <a:lnTo>
                    <a:pt x="680" y="480"/>
                  </a:lnTo>
                  <a:lnTo>
                    <a:pt x="697" y="460"/>
                  </a:lnTo>
                  <a:lnTo>
                    <a:pt x="692" y="448"/>
                  </a:lnTo>
                  <a:lnTo>
                    <a:pt x="690" y="407"/>
                  </a:lnTo>
                  <a:lnTo>
                    <a:pt x="727" y="410"/>
                  </a:lnTo>
                  <a:lnTo>
                    <a:pt x="747" y="405"/>
                  </a:lnTo>
                  <a:lnTo>
                    <a:pt x="768" y="420"/>
                  </a:lnTo>
                  <a:lnTo>
                    <a:pt x="773" y="432"/>
                  </a:lnTo>
                  <a:lnTo>
                    <a:pt x="800" y="453"/>
                  </a:lnTo>
                  <a:lnTo>
                    <a:pt x="805" y="488"/>
                  </a:lnTo>
                  <a:lnTo>
                    <a:pt x="817" y="496"/>
                  </a:lnTo>
                  <a:lnTo>
                    <a:pt x="834" y="498"/>
                  </a:lnTo>
                  <a:lnTo>
                    <a:pt x="850" y="460"/>
                  </a:lnTo>
                  <a:lnTo>
                    <a:pt x="879" y="503"/>
                  </a:lnTo>
                  <a:lnTo>
                    <a:pt x="902" y="511"/>
                  </a:lnTo>
                  <a:lnTo>
                    <a:pt x="900" y="531"/>
                  </a:lnTo>
                  <a:lnTo>
                    <a:pt x="925" y="563"/>
                  </a:lnTo>
                  <a:lnTo>
                    <a:pt x="975" y="563"/>
                  </a:lnTo>
                  <a:lnTo>
                    <a:pt x="987" y="573"/>
                  </a:lnTo>
                  <a:lnTo>
                    <a:pt x="990" y="598"/>
                  </a:lnTo>
                  <a:lnTo>
                    <a:pt x="1005" y="620"/>
                  </a:lnTo>
                  <a:lnTo>
                    <a:pt x="1005" y="633"/>
                  </a:lnTo>
                  <a:lnTo>
                    <a:pt x="992" y="640"/>
                  </a:lnTo>
                  <a:lnTo>
                    <a:pt x="967" y="673"/>
                  </a:lnTo>
                  <a:lnTo>
                    <a:pt x="930" y="686"/>
                  </a:lnTo>
                  <a:lnTo>
                    <a:pt x="884" y="686"/>
                  </a:lnTo>
                  <a:lnTo>
                    <a:pt x="847" y="726"/>
                  </a:lnTo>
                  <a:lnTo>
                    <a:pt x="819" y="741"/>
                  </a:lnTo>
                  <a:lnTo>
                    <a:pt x="802" y="765"/>
                  </a:lnTo>
                  <a:lnTo>
                    <a:pt x="830" y="761"/>
                  </a:lnTo>
                  <a:lnTo>
                    <a:pt x="879" y="721"/>
                  </a:lnTo>
                  <a:lnTo>
                    <a:pt x="884" y="718"/>
                  </a:lnTo>
                  <a:lnTo>
                    <a:pt x="900" y="730"/>
                  </a:lnTo>
                  <a:lnTo>
                    <a:pt x="910" y="743"/>
                  </a:lnTo>
                  <a:lnTo>
                    <a:pt x="895" y="753"/>
                  </a:lnTo>
                  <a:lnTo>
                    <a:pt x="904" y="756"/>
                  </a:lnTo>
                  <a:lnTo>
                    <a:pt x="902" y="776"/>
                  </a:lnTo>
                  <a:lnTo>
                    <a:pt x="962" y="796"/>
                  </a:lnTo>
                  <a:lnTo>
                    <a:pt x="935" y="811"/>
                  </a:lnTo>
                  <a:lnTo>
                    <a:pt x="904" y="851"/>
                  </a:lnTo>
                  <a:lnTo>
                    <a:pt x="895" y="838"/>
                  </a:lnTo>
                  <a:lnTo>
                    <a:pt x="910" y="811"/>
                  </a:lnTo>
                  <a:lnTo>
                    <a:pt x="884" y="820"/>
                  </a:lnTo>
                  <a:lnTo>
                    <a:pt x="877" y="82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5" name="Freeform 161"/>
            <p:cNvSpPr>
              <a:spLocks/>
            </p:cNvSpPr>
            <p:nvPr/>
          </p:nvSpPr>
          <p:spPr bwMode="auto">
            <a:xfrm>
              <a:off x="1018" y="1815"/>
              <a:ext cx="652" cy="535"/>
            </a:xfrm>
            <a:custGeom>
              <a:avLst/>
              <a:gdLst>
                <a:gd name="T0" fmla="*/ 15 w 1016"/>
                <a:gd name="T1" fmla="*/ 2 h 808"/>
                <a:gd name="T2" fmla="*/ 12 w 1016"/>
                <a:gd name="T3" fmla="*/ 5 h 808"/>
                <a:gd name="T4" fmla="*/ 5 w 1016"/>
                <a:gd name="T5" fmla="*/ 13 h 808"/>
                <a:gd name="T6" fmla="*/ 2 w 1016"/>
                <a:gd name="T7" fmla="*/ 18 h 808"/>
                <a:gd name="T8" fmla="*/ 0 w 1016"/>
                <a:gd name="T9" fmla="*/ 38 h 808"/>
                <a:gd name="T10" fmla="*/ 4 w 1016"/>
                <a:gd name="T11" fmla="*/ 47 h 808"/>
                <a:gd name="T12" fmla="*/ 13 w 1016"/>
                <a:gd name="T13" fmla="*/ 59 h 808"/>
                <a:gd name="T14" fmla="*/ 21 w 1016"/>
                <a:gd name="T15" fmla="*/ 62 h 808"/>
                <a:gd name="T16" fmla="*/ 27 w 1016"/>
                <a:gd name="T17" fmla="*/ 67 h 808"/>
                <a:gd name="T18" fmla="*/ 28 w 1016"/>
                <a:gd name="T19" fmla="*/ 75 h 808"/>
                <a:gd name="T20" fmla="*/ 35 w 1016"/>
                <a:gd name="T21" fmla="*/ 83 h 808"/>
                <a:gd name="T22" fmla="*/ 39 w 1016"/>
                <a:gd name="T23" fmla="*/ 89 h 808"/>
                <a:gd name="T24" fmla="*/ 42 w 1016"/>
                <a:gd name="T25" fmla="*/ 80 h 808"/>
                <a:gd name="T26" fmla="*/ 52 w 1016"/>
                <a:gd name="T27" fmla="*/ 81 h 808"/>
                <a:gd name="T28" fmla="*/ 55 w 1016"/>
                <a:gd name="T29" fmla="*/ 81 h 808"/>
                <a:gd name="T30" fmla="*/ 56 w 1016"/>
                <a:gd name="T31" fmla="*/ 83 h 808"/>
                <a:gd name="T32" fmla="*/ 59 w 1016"/>
                <a:gd name="T33" fmla="*/ 84 h 808"/>
                <a:gd name="T34" fmla="*/ 61 w 1016"/>
                <a:gd name="T35" fmla="*/ 85 h 808"/>
                <a:gd name="T36" fmla="*/ 64 w 1016"/>
                <a:gd name="T37" fmla="*/ 83 h 808"/>
                <a:gd name="T38" fmla="*/ 67 w 1016"/>
                <a:gd name="T39" fmla="*/ 83 h 808"/>
                <a:gd name="T40" fmla="*/ 74 w 1016"/>
                <a:gd name="T41" fmla="*/ 86 h 808"/>
                <a:gd name="T42" fmla="*/ 75 w 1016"/>
                <a:gd name="T43" fmla="*/ 95 h 808"/>
                <a:gd name="T44" fmla="*/ 76 w 1016"/>
                <a:gd name="T45" fmla="*/ 99 h 808"/>
                <a:gd name="T46" fmla="*/ 78 w 1016"/>
                <a:gd name="T47" fmla="*/ 103 h 808"/>
                <a:gd name="T48" fmla="*/ 81 w 1016"/>
                <a:gd name="T49" fmla="*/ 97 h 808"/>
                <a:gd name="T50" fmla="*/ 80 w 1016"/>
                <a:gd name="T51" fmla="*/ 81 h 808"/>
                <a:gd name="T52" fmla="*/ 92 w 1016"/>
                <a:gd name="T53" fmla="*/ 72 h 808"/>
                <a:gd name="T54" fmla="*/ 92 w 1016"/>
                <a:gd name="T55" fmla="*/ 66 h 808"/>
                <a:gd name="T56" fmla="*/ 92 w 1016"/>
                <a:gd name="T57" fmla="*/ 66 h 808"/>
                <a:gd name="T58" fmla="*/ 94 w 1016"/>
                <a:gd name="T59" fmla="*/ 62 h 808"/>
                <a:gd name="T60" fmla="*/ 98 w 1016"/>
                <a:gd name="T61" fmla="*/ 56 h 808"/>
                <a:gd name="T62" fmla="*/ 105 w 1016"/>
                <a:gd name="T63" fmla="*/ 51 h 808"/>
                <a:gd name="T64" fmla="*/ 104 w 1016"/>
                <a:gd name="T65" fmla="*/ 50 h 808"/>
                <a:gd name="T66" fmla="*/ 110 w 1016"/>
                <a:gd name="T67" fmla="*/ 46 h 808"/>
                <a:gd name="T68" fmla="*/ 109 w 1016"/>
                <a:gd name="T69" fmla="*/ 44 h 808"/>
                <a:gd name="T70" fmla="*/ 108 w 1016"/>
                <a:gd name="T71" fmla="*/ 38 h 808"/>
                <a:gd name="T72" fmla="*/ 103 w 1016"/>
                <a:gd name="T73" fmla="*/ 43 h 808"/>
                <a:gd name="T74" fmla="*/ 94 w 1016"/>
                <a:gd name="T75" fmla="*/ 46 h 808"/>
                <a:gd name="T76" fmla="*/ 90 w 1016"/>
                <a:gd name="T77" fmla="*/ 50 h 808"/>
                <a:gd name="T78" fmla="*/ 85 w 1016"/>
                <a:gd name="T79" fmla="*/ 53 h 808"/>
                <a:gd name="T80" fmla="*/ 80 w 1016"/>
                <a:gd name="T81" fmla="*/ 52 h 808"/>
                <a:gd name="T82" fmla="*/ 81 w 1016"/>
                <a:gd name="T83" fmla="*/ 51 h 808"/>
                <a:gd name="T84" fmla="*/ 80 w 1016"/>
                <a:gd name="T85" fmla="*/ 49 h 808"/>
                <a:gd name="T86" fmla="*/ 80 w 1016"/>
                <a:gd name="T87" fmla="*/ 47 h 808"/>
                <a:gd name="T88" fmla="*/ 77 w 1016"/>
                <a:gd name="T89" fmla="*/ 46 h 808"/>
                <a:gd name="T90" fmla="*/ 79 w 1016"/>
                <a:gd name="T91" fmla="*/ 41 h 808"/>
                <a:gd name="T92" fmla="*/ 76 w 1016"/>
                <a:gd name="T93" fmla="*/ 40 h 808"/>
                <a:gd name="T94" fmla="*/ 73 w 1016"/>
                <a:gd name="T95" fmla="*/ 46 h 808"/>
                <a:gd name="T96" fmla="*/ 72 w 1016"/>
                <a:gd name="T97" fmla="*/ 50 h 808"/>
                <a:gd name="T98" fmla="*/ 69 w 1016"/>
                <a:gd name="T99" fmla="*/ 48 h 808"/>
                <a:gd name="T100" fmla="*/ 71 w 1016"/>
                <a:gd name="T101" fmla="*/ 42 h 808"/>
                <a:gd name="T102" fmla="*/ 71 w 1016"/>
                <a:gd name="T103" fmla="*/ 40 h 808"/>
                <a:gd name="T104" fmla="*/ 78 w 1016"/>
                <a:gd name="T105" fmla="*/ 39 h 808"/>
                <a:gd name="T106" fmla="*/ 74 w 1016"/>
                <a:gd name="T107" fmla="*/ 37 h 808"/>
                <a:gd name="T108" fmla="*/ 73 w 1016"/>
                <a:gd name="T109" fmla="*/ 35 h 808"/>
                <a:gd name="T110" fmla="*/ 67 w 1016"/>
                <a:gd name="T111" fmla="*/ 36 h 808"/>
                <a:gd name="T112" fmla="*/ 65 w 1016"/>
                <a:gd name="T113" fmla="*/ 35 h 808"/>
                <a:gd name="T114" fmla="*/ 67 w 1016"/>
                <a:gd name="T115" fmla="*/ 32 h 808"/>
                <a:gd name="T116" fmla="*/ 47 w 1016"/>
                <a:gd name="T117" fmla="*/ 20 h 808"/>
                <a:gd name="T118" fmla="*/ 17 w 1016"/>
                <a:gd name="T119" fmla="*/ 2 h 80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16" h="808">
                  <a:moveTo>
                    <a:pt x="155" y="15"/>
                  </a:moveTo>
                  <a:lnTo>
                    <a:pt x="137" y="13"/>
                  </a:lnTo>
                  <a:lnTo>
                    <a:pt x="115" y="0"/>
                  </a:lnTo>
                  <a:lnTo>
                    <a:pt x="114" y="35"/>
                  </a:lnTo>
                  <a:lnTo>
                    <a:pt x="82" y="83"/>
                  </a:lnTo>
                  <a:lnTo>
                    <a:pt x="49" y="95"/>
                  </a:lnTo>
                  <a:lnTo>
                    <a:pt x="44" y="123"/>
                  </a:lnTo>
                  <a:lnTo>
                    <a:pt x="20" y="142"/>
                  </a:lnTo>
                  <a:lnTo>
                    <a:pt x="5" y="215"/>
                  </a:lnTo>
                  <a:lnTo>
                    <a:pt x="0" y="300"/>
                  </a:lnTo>
                  <a:lnTo>
                    <a:pt x="35" y="350"/>
                  </a:lnTo>
                  <a:lnTo>
                    <a:pt x="35" y="367"/>
                  </a:lnTo>
                  <a:lnTo>
                    <a:pt x="89" y="400"/>
                  </a:lnTo>
                  <a:lnTo>
                    <a:pt x="120" y="465"/>
                  </a:lnTo>
                  <a:lnTo>
                    <a:pt x="189" y="493"/>
                  </a:lnTo>
                  <a:lnTo>
                    <a:pt x="192" y="483"/>
                  </a:lnTo>
                  <a:lnTo>
                    <a:pt x="225" y="493"/>
                  </a:lnTo>
                  <a:lnTo>
                    <a:pt x="244" y="523"/>
                  </a:lnTo>
                  <a:lnTo>
                    <a:pt x="245" y="560"/>
                  </a:lnTo>
                  <a:lnTo>
                    <a:pt x="259" y="583"/>
                  </a:lnTo>
                  <a:lnTo>
                    <a:pt x="302" y="582"/>
                  </a:lnTo>
                  <a:lnTo>
                    <a:pt x="321" y="652"/>
                  </a:lnTo>
                  <a:lnTo>
                    <a:pt x="339" y="687"/>
                  </a:lnTo>
                  <a:lnTo>
                    <a:pt x="357" y="698"/>
                  </a:lnTo>
                  <a:lnTo>
                    <a:pt x="371" y="647"/>
                  </a:lnTo>
                  <a:lnTo>
                    <a:pt x="386" y="633"/>
                  </a:lnTo>
                  <a:lnTo>
                    <a:pt x="461" y="628"/>
                  </a:lnTo>
                  <a:lnTo>
                    <a:pt x="479" y="640"/>
                  </a:lnTo>
                  <a:lnTo>
                    <a:pt x="484" y="643"/>
                  </a:lnTo>
                  <a:lnTo>
                    <a:pt x="501" y="642"/>
                  </a:lnTo>
                  <a:lnTo>
                    <a:pt x="509" y="655"/>
                  </a:lnTo>
                  <a:lnTo>
                    <a:pt x="519" y="658"/>
                  </a:lnTo>
                  <a:lnTo>
                    <a:pt x="524" y="670"/>
                  </a:lnTo>
                  <a:lnTo>
                    <a:pt x="541" y="662"/>
                  </a:lnTo>
                  <a:lnTo>
                    <a:pt x="547" y="670"/>
                  </a:lnTo>
                  <a:lnTo>
                    <a:pt x="559" y="668"/>
                  </a:lnTo>
                  <a:lnTo>
                    <a:pt x="554" y="645"/>
                  </a:lnTo>
                  <a:lnTo>
                    <a:pt x="591" y="655"/>
                  </a:lnTo>
                  <a:lnTo>
                    <a:pt x="604" y="648"/>
                  </a:lnTo>
                  <a:lnTo>
                    <a:pt x="622" y="655"/>
                  </a:lnTo>
                  <a:lnTo>
                    <a:pt x="629" y="668"/>
                  </a:lnTo>
                  <a:lnTo>
                    <a:pt x="676" y="680"/>
                  </a:lnTo>
                  <a:lnTo>
                    <a:pt x="694" y="698"/>
                  </a:lnTo>
                  <a:lnTo>
                    <a:pt x="687" y="745"/>
                  </a:lnTo>
                  <a:lnTo>
                    <a:pt x="699" y="752"/>
                  </a:lnTo>
                  <a:lnTo>
                    <a:pt x="704" y="775"/>
                  </a:lnTo>
                  <a:lnTo>
                    <a:pt x="712" y="800"/>
                  </a:lnTo>
                  <a:lnTo>
                    <a:pt x="711" y="808"/>
                  </a:lnTo>
                  <a:lnTo>
                    <a:pt x="731" y="793"/>
                  </a:lnTo>
                  <a:lnTo>
                    <a:pt x="742" y="762"/>
                  </a:lnTo>
                  <a:lnTo>
                    <a:pt x="729" y="678"/>
                  </a:lnTo>
                  <a:lnTo>
                    <a:pt x="737" y="642"/>
                  </a:lnTo>
                  <a:lnTo>
                    <a:pt x="829" y="585"/>
                  </a:lnTo>
                  <a:lnTo>
                    <a:pt x="842" y="562"/>
                  </a:lnTo>
                  <a:lnTo>
                    <a:pt x="864" y="557"/>
                  </a:lnTo>
                  <a:lnTo>
                    <a:pt x="842" y="515"/>
                  </a:lnTo>
                  <a:lnTo>
                    <a:pt x="846" y="500"/>
                  </a:lnTo>
                  <a:lnTo>
                    <a:pt x="851" y="513"/>
                  </a:lnTo>
                  <a:lnTo>
                    <a:pt x="859" y="508"/>
                  </a:lnTo>
                  <a:lnTo>
                    <a:pt x="864" y="490"/>
                  </a:lnTo>
                  <a:lnTo>
                    <a:pt x="892" y="463"/>
                  </a:lnTo>
                  <a:lnTo>
                    <a:pt x="901" y="443"/>
                  </a:lnTo>
                  <a:lnTo>
                    <a:pt x="948" y="432"/>
                  </a:lnTo>
                  <a:lnTo>
                    <a:pt x="969" y="405"/>
                  </a:lnTo>
                  <a:lnTo>
                    <a:pt x="956" y="407"/>
                  </a:lnTo>
                  <a:lnTo>
                    <a:pt x="956" y="397"/>
                  </a:lnTo>
                  <a:lnTo>
                    <a:pt x="996" y="358"/>
                  </a:lnTo>
                  <a:lnTo>
                    <a:pt x="1008" y="358"/>
                  </a:lnTo>
                  <a:lnTo>
                    <a:pt x="1016" y="345"/>
                  </a:lnTo>
                  <a:lnTo>
                    <a:pt x="1003" y="342"/>
                  </a:lnTo>
                  <a:lnTo>
                    <a:pt x="989" y="322"/>
                  </a:lnTo>
                  <a:lnTo>
                    <a:pt x="1001" y="298"/>
                  </a:lnTo>
                  <a:lnTo>
                    <a:pt x="979" y="297"/>
                  </a:lnTo>
                  <a:lnTo>
                    <a:pt x="943" y="337"/>
                  </a:lnTo>
                  <a:lnTo>
                    <a:pt x="892" y="347"/>
                  </a:lnTo>
                  <a:lnTo>
                    <a:pt x="857" y="365"/>
                  </a:lnTo>
                  <a:lnTo>
                    <a:pt x="852" y="385"/>
                  </a:lnTo>
                  <a:lnTo>
                    <a:pt x="832" y="392"/>
                  </a:lnTo>
                  <a:lnTo>
                    <a:pt x="816" y="395"/>
                  </a:lnTo>
                  <a:lnTo>
                    <a:pt x="786" y="417"/>
                  </a:lnTo>
                  <a:lnTo>
                    <a:pt x="761" y="425"/>
                  </a:lnTo>
                  <a:lnTo>
                    <a:pt x="739" y="412"/>
                  </a:lnTo>
                  <a:lnTo>
                    <a:pt x="739" y="405"/>
                  </a:lnTo>
                  <a:lnTo>
                    <a:pt x="744" y="402"/>
                  </a:lnTo>
                  <a:lnTo>
                    <a:pt x="751" y="385"/>
                  </a:lnTo>
                  <a:lnTo>
                    <a:pt x="739" y="385"/>
                  </a:lnTo>
                  <a:lnTo>
                    <a:pt x="734" y="383"/>
                  </a:lnTo>
                  <a:lnTo>
                    <a:pt x="734" y="367"/>
                  </a:lnTo>
                  <a:lnTo>
                    <a:pt x="714" y="375"/>
                  </a:lnTo>
                  <a:lnTo>
                    <a:pt x="707" y="362"/>
                  </a:lnTo>
                  <a:lnTo>
                    <a:pt x="731" y="345"/>
                  </a:lnTo>
                  <a:lnTo>
                    <a:pt x="722" y="322"/>
                  </a:lnTo>
                  <a:lnTo>
                    <a:pt x="714" y="318"/>
                  </a:lnTo>
                  <a:lnTo>
                    <a:pt x="704" y="315"/>
                  </a:lnTo>
                  <a:lnTo>
                    <a:pt x="681" y="333"/>
                  </a:lnTo>
                  <a:lnTo>
                    <a:pt x="671" y="360"/>
                  </a:lnTo>
                  <a:lnTo>
                    <a:pt x="672" y="383"/>
                  </a:lnTo>
                  <a:lnTo>
                    <a:pt x="664" y="395"/>
                  </a:lnTo>
                  <a:lnTo>
                    <a:pt x="646" y="405"/>
                  </a:lnTo>
                  <a:lnTo>
                    <a:pt x="626" y="382"/>
                  </a:lnTo>
                  <a:lnTo>
                    <a:pt x="639" y="343"/>
                  </a:lnTo>
                  <a:lnTo>
                    <a:pt x="656" y="328"/>
                  </a:lnTo>
                  <a:lnTo>
                    <a:pt x="647" y="325"/>
                  </a:lnTo>
                  <a:lnTo>
                    <a:pt x="651" y="312"/>
                  </a:lnTo>
                  <a:lnTo>
                    <a:pt x="684" y="298"/>
                  </a:lnTo>
                  <a:lnTo>
                    <a:pt x="717" y="308"/>
                  </a:lnTo>
                  <a:lnTo>
                    <a:pt x="694" y="285"/>
                  </a:lnTo>
                  <a:lnTo>
                    <a:pt x="676" y="290"/>
                  </a:lnTo>
                  <a:lnTo>
                    <a:pt x="659" y="278"/>
                  </a:lnTo>
                  <a:lnTo>
                    <a:pt x="669" y="277"/>
                  </a:lnTo>
                  <a:lnTo>
                    <a:pt x="659" y="262"/>
                  </a:lnTo>
                  <a:lnTo>
                    <a:pt x="621" y="282"/>
                  </a:lnTo>
                  <a:lnTo>
                    <a:pt x="601" y="273"/>
                  </a:lnTo>
                  <a:lnTo>
                    <a:pt x="594" y="277"/>
                  </a:lnTo>
                  <a:lnTo>
                    <a:pt x="581" y="272"/>
                  </a:lnTo>
                  <a:lnTo>
                    <a:pt x="614" y="252"/>
                  </a:lnTo>
                  <a:lnTo>
                    <a:pt x="651" y="243"/>
                  </a:lnTo>
                  <a:lnTo>
                    <a:pt x="436" y="157"/>
                  </a:lnTo>
                  <a:lnTo>
                    <a:pt x="277" y="80"/>
                  </a:lnTo>
                  <a:lnTo>
                    <a:pt x="155" y="1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6" name="Freeform 162"/>
            <p:cNvSpPr>
              <a:spLocks/>
            </p:cNvSpPr>
            <p:nvPr/>
          </p:nvSpPr>
          <p:spPr bwMode="auto">
            <a:xfrm>
              <a:off x="1018" y="1815"/>
              <a:ext cx="652" cy="535"/>
            </a:xfrm>
            <a:custGeom>
              <a:avLst/>
              <a:gdLst>
                <a:gd name="T0" fmla="*/ 15 w 1016"/>
                <a:gd name="T1" fmla="*/ 2 h 808"/>
                <a:gd name="T2" fmla="*/ 12 w 1016"/>
                <a:gd name="T3" fmla="*/ 5 h 808"/>
                <a:gd name="T4" fmla="*/ 5 w 1016"/>
                <a:gd name="T5" fmla="*/ 13 h 808"/>
                <a:gd name="T6" fmla="*/ 2 w 1016"/>
                <a:gd name="T7" fmla="*/ 18 h 808"/>
                <a:gd name="T8" fmla="*/ 0 w 1016"/>
                <a:gd name="T9" fmla="*/ 38 h 808"/>
                <a:gd name="T10" fmla="*/ 4 w 1016"/>
                <a:gd name="T11" fmla="*/ 47 h 808"/>
                <a:gd name="T12" fmla="*/ 13 w 1016"/>
                <a:gd name="T13" fmla="*/ 59 h 808"/>
                <a:gd name="T14" fmla="*/ 21 w 1016"/>
                <a:gd name="T15" fmla="*/ 62 h 808"/>
                <a:gd name="T16" fmla="*/ 27 w 1016"/>
                <a:gd name="T17" fmla="*/ 67 h 808"/>
                <a:gd name="T18" fmla="*/ 28 w 1016"/>
                <a:gd name="T19" fmla="*/ 75 h 808"/>
                <a:gd name="T20" fmla="*/ 35 w 1016"/>
                <a:gd name="T21" fmla="*/ 83 h 808"/>
                <a:gd name="T22" fmla="*/ 39 w 1016"/>
                <a:gd name="T23" fmla="*/ 89 h 808"/>
                <a:gd name="T24" fmla="*/ 42 w 1016"/>
                <a:gd name="T25" fmla="*/ 80 h 808"/>
                <a:gd name="T26" fmla="*/ 52 w 1016"/>
                <a:gd name="T27" fmla="*/ 81 h 808"/>
                <a:gd name="T28" fmla="*/ 55 w 1016"/>
                <a:gd name="T29" fmla="*/ 81 h 808"/>
                <a:gd name="T30" fmla="*/ 56 w 1016"/>
                <a:gd name="T31" fmla="*/ 83 h 808"/>
                <a:gd name="T32" fmla="*/ 59 w 1016"/>
                <a:gd name="T33" fmla="*/ 84 h 808"/>
                <a:gd name="T34" fmla="*/ 61 w 1016"/>
                <a:gd name="T35" fmla="*/ 85 h 808"/>
                <a:gd name="T36" fmla="*/ 64 w 1016"/>
                <a:gd name="T37" fmla="*/ 83 h 808"/>
                <a:gd name="T38" fmla="*/ 67 w 1016"/>
                <a:gd name="T39" fmla="*/ 83 h 808"/>
                <a:gd name="T40" fmla="*/ 74 w 1016"/>
                <a:gd name="T41" fmla="*/ 86 h 808"/>
                <a:gd name="T42" fmla="*/ 75 w 1016"/>
                <a:gd name="T43" fmla="*/ 95 h 808"/>
                <a:gd name="T44" fmla="*/ 76 w 1016"/>
                <a:gd name="T45" fmla="*/ 99 h 808"/>
                <a:gd name="T46" fmla="*/ 78 w 1016"/>
                <a:gd name="T47" fmla="*/ 103 h 808"/>
                <a:gd name="T48" fmla="*/ 81 w 1016"/>
                <a:gd name="T49" fmla="*/ 97 h 808"/>
                <a:gd name="T50" fmla="*/ 80 w 1016"/>
                <a:gd name="T51" fmla="*/ 81 h 808"/>
                <a:gd name="T52" fmla="*/ 92 w 1016"/>
                <a:gd name="T53" fmla="*/ 72 h 808"/>
                <a:gd name="T54" fmla="*/ 92 w 1016"/>
                <a:gd name="T55" fmla="*/ 66 h 808"/>
                <a:gd name="T56" fmla="*/ 92 w 1016"/>
                <a:gd name="T57" fmla="*/ 66 h 808"/>
                <a:gd name="T58" fmla="*/ 94 w 1016"/>
                <a:gd name="T59" fmla="*/ 62 h 808"/>
                <a:gd name="T60" fmla="*/ 98 w 1016"/>
                <a:gd name="T61" fmla="*/ 56 h 808"/>
                <a:gd name="T62" fmla="*/ 105 w 1016"/>
                <a:gd name="T63" fmla="*/ 51 h 808"/>
                <a:gd name="T64" fmla="*/ 104 w 1016"/>
                <a:gd name="T65" fmla="*/ 50 h 808"/>
                <a:gd name="T66" fmla="*/ 110 w 1016"/>
                <a:gd name="T67" fmla="*/ 46 h 808"/>
                <a:gd name="T68" fmla="*/ 109 w 1016"/>
                <a:gd name="T69" fmla="*/ 44 h 808"/>
                <a:gd name="T70" fmla="*/ 108 w 1016"/>
                <a:gd name="T71" fmla="*/ 38 h 808"/>
                <a:gd name="T72" fmla="*/ 103 w 1016"/>
                <a:gd name="T73" fmla="*/ 43 h 808"/>
                <a:gd name="T74" fmla="*/ 94 w 1016"/>
                <a:gd name="T75" fmla="*/ 46 h 808"/>
                <a:gd name="T76" fmla="*/ 90 w 1016"/>
                <a:gd name="T77" fmla="*/ 50 h 808"/>
                <a:gd name="T78" fmla="*/ 85 w 1016"/>
                <a:gd name="T79" fmla="*/ 53 h 808"/>
                <a:gd name="T80" fmla="*/ 80 w 1016"/>
                <a:gd name="T81" fmla="*/ 52 h 808"/>
                <a:gd name="T82" fmla="*/ 81 w 1016"/>
                <a:gd name="T83" fmla="*/ 51 h 808"/>
                <a:gd name="T84" fmla="*/ 80 w 1016"/>
                <a:gd name="T85" fmla="*/ 49 h 808"/>
                <a:gd name="T86" fmla="*/ 80 w 1016"/>
                <a:gd name="T87" fmla="*/ 47 h 808"/>
                <a:gd name="T88" fmla="*/ 77 w 1016"/>
                <a:gd name="T89" fmla="*/ 46 h 808"/>
                <a:gd name="T90" fmla="*/ 79 w 1016"/>
                <a:gd name="T91" fmla="*/ 41 h 808"/>
                <a:gd name="T92" fmla="*/ 76 w 1016"/>
                <a:gd name="T93" fmla="*/ 40 h 808"/>
                <a:gd name="T94" fmla="*/ 73 w 1016"/>
                <a:gd name="T95" fmla="*/ 46 h 808"/>
                <a:gd name="T96" fmla="*/ 72 w 1016"/>
                <a:gd name="T97" fmla="*/ 50 h 808"/>
                <a:gd name="T98" fmla="*/ 69 w 1016"/>
                <a:gd name="T99" fmla="*/ 48 h 808"/>
                <a:gd name="T100" fmla="*/ 71 w 1016"/>
                <a:gd name="T101" fmla="*/ 42 h 808"/>
                <a:gd name="T102" fmla="*/ 71 w 1016"/>
                <a:gd name="T103" fmla="*/ 40 h 808"/>
                <a:gd name="T104" fmla="*/ 78 w 1016"/>
                <a:gd name="T105" fmla="*/ 39 h 808"/>
                <a:gd name="T106" fmla="*/ 74 w 1016"/>
                <a:gd name="T107" fmla="*/ 37 h 808"/>
                <a:gd name="T108" fmla="*/ 73 w 1016"/>
                <a:gd name="T109" fmla="*/ 35 h 808"/>
                <a:gd name="T110" fmla="*/ 67 w 1016"/>
                <a:gd name="T111" fmla="*/ 36 h 808"/>
                <a:gd name="T112" fmla="*/ 65 w 1016"/>
                <a:gd name="T113" fmla="*/ 35 h 808"/>
                <a:gd name="T114" fmla="*/ 67 w 1016"/>
                <a:gd name="T115" fmla="*/ 32 h 808"/>
                <a:gd name="T116" fmla="*/ 47 w 1016"/>
                <a:gd name="T117" fmla="*/ 20 h 808"/>
                <a:gd name="T118" fmla="*/ 17 w 1016"/>
                <a:gd name="T119" fmla="*/ 2 h 80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16" h="808">
                  <a:moveTo>
                    <a:pt x="155" y="15"/>
                  </a:moveTo>
                  <a:lnTo>
                    <a:pt x="137" y="13"/>
                  </a:lnTo>
                  <a:lnTo>
                    <a:pt x="115" y="0"/>
                  </a:lnTo>
                  <a:lnTo>
                    <a:pt x="114" y="35"/>
                  </a:lnTo>
                  <a:lnTo>
                    <a:pt x="82" y="83"/>
                  </a:lnTo>
                  <a:lnTo>
                    <a:pt x="49" y="95"/>
                  </a:lnTo>
                  <a:lnTo>
                    <a:pt x="44" y="123"/>
                  </a:lnTo>
                  <a:lnTo>
                    <a:pt x="20" y="142"/>
                  </a:lnTo>
                  <a:lnTo>
                    <a:pt x="5" y="215"/>
                  </a:lnTo>
                  <a:lnTo>
                    <a:pt x="0" y="300"/>
                  </a:lnTo>
                  <a:lnTo>
                    <a:pt x="35" y="350"/>
                  </a:lnTo>
                  <a:lnTo>
                    <a:pt x="35" y="367"/>
                  </a:lnTo>
                  <a:lnTo>
                    <a:pt x="89" y="400"/>
                  </a:lnTo>
                  <a:lnTo>
                    <a:pt x="120" y="465"/>
                  </a:lnTo>
                  <a:lnTo>
                    <a:pt x="189" y="493"/>
                  </a:lnTo>
                  <a:lnTo>
                    <a:pt x="192" y="483"/>
                  </a:lnTo>
                  <a:lnTo>
                    <a:pt x="225" y="493"/>
                  </a:lnTo>
                  <a:lnTo>
                    <a:pt x="244" y="523"/>
                  </a:lnTo>
                  <a:lnTo>
                    <a:pt x="245" y="560"/>
                  </a:lnTo>
                  <a:lnTo>
                    <a:pt x="259" y="583"/>
                  </a:lnTo>
                  <a:lnTo>
                    <a:pt x="302" y="582"/>
                  </a:lnTo>
                  <a:lnTo>
                    <a:pt x="321" y="652"/>
                  </a:lnTo>
                  <a:lnTo>
                    <a:pt x="339" y="687"/>
                  </a:lnTo>
                  <a:lnTo>
                    <a:pt x="357" y="698"/>
                  </a:lnTo>
                  <a:lnTo>
                    <a:pt x="371" y="647"/>
                  </a:lnTo>
                  <a:lnTo>
                    <a:pt x="386" y="633"/>
                  </a:lnTo>
                  <a:lnTo>
                    <a:pt x="461" y="628"/>
                  </a:lnTo>
                  <a:lnTo>
                    <a:pt x="479" y="640"/>
                  </a:lnTo>
                  <a:lnTo>
                    <a:pt x="484" y="643"/>
                  </a:lnTo>
                  <a:lnTo>
                    <a:pt x="501" y="642"/>
                  </a:lnTo>
                  <a:lnTo>
                    <a:pt x="509" y="655"/>
                  </a:lnTo>
                  <a:lnTo>
                    <a:pt x="519" y="658"/>
                  </a:lnTo>
                  <a:lnTo>
                    <a:pt x="524" y="670"/>
                  </a:lnTo>
                  <a:lnTo>
                    <a:pt x="541" y="662"/>
                  </a:lnTo>
                  <a:lnTo>
                    <a:pt x="547" y="670"/>
                  </a:lnTo>
                  <a:lnTo>
                    <a:pt x="559" y="668"/>
                  </a:lnTo>
                  <a:lnTo>
                    <a:pt x="554" y="645"/>
                  </a:lnTo>
                  <a:lnTo>
                    <a:pt x="591" y="655"/>
                  </a:lnTo>
                  <a:lnTo>
                    <a:pt x="604" y="648"/>
                  </a:lnTo>
                  <a:lnTo>
                    <a:pt x="622" y="655"/>
                  </a:lnTo>
                  <a:lnTo>
                    <a:pt x="629" y="668"/>
                  </a:lnTo>
                  <a:lnTo>
                    <a:pt x="676" y="680"/>
                  </a:lnTo>
                  <a:lnTo>
                    <a:pt x="694" y="698"/>
                  </a:lnTo>
                  <a:lnTo>
                    <a:pt x="687" y="745"/>
                  </a:lnTo>
                  <a:lnTo>
                    <a:pt x="699" y="752"/>
                  </a:lnTo>
                  <a:lnTo>
                    <a:pt x="704" y="775"/>
                  </a:lnTo>
                  <a:lnTo>
                    <a:pt x="712" y="800"/>
                  </a:lnTo>
                  <a:lnTo>
                    <a:pt x="711" y="808"/>
                  </a:lnTo>
                  <a:lnTo>
                    <a:pt x="731" y="793"/>
                  </a:lnTo>
                  <a:lnTo>
                    <a:pt x="742" y="762"/>
                  </a:lnTo>
                  <a:lnTo>
                    <a:pt x="729" y="678"/>
                  </a:lnTo>
                  <a:lnTo>
                    <a:pt x="737" y="642"/>
                  </a:lnTo>
                  <a:lnTo>
                    <a:pt x="829" y="585"/>
                  </a:lnTo>
                  <a:lnTo>
                    <a:pt x="842" y="562"/>
                  </a:lnTo>
                  <a:lnTo>
                    <a:pt x="864" y="557"/>
                  </a:lnTo>
                  <a:lnTo>
                    <a:pt x="842" y="515"/>
                  </a:lnTo>
                  <a:lnTo>
                    <a:pt x="846" y="500"/>
                  </a:lnTo>
                  <a:lnTo>
                    <a:pt x="851" y="513"/>
                  </a:lnTo>
                  <a:lnTo>
                    <a:pt x="859" y="508"/>
                  </a:lnTo>
                  <a:lnTo>
                    <a:pt x="864" y="490"/>
                  </a:lnTo>
                  <a:lnTo>
                    <a:pt x="892" y="463"/>
                  </a:lnTo>
                  <a:lnTo>
                    <a:pt x="901" y="443"/>
                  </a:lnTo>
                  <a:lnTo>
                    <a:pt x="948" y="432"/>
                  </a:lnTo>
                  <a:lnTo>
                    <a:pt x="969" y="405"/>
                  </a:lnTo>
                  <a:lnTo>
                    <a:pt x="956" y="407"/>
                  </a:lnTo>
                  <a:lnTo>
                    <a:pt x="956" y="397"/>
                  </a:lnTo>
                  <a:lnTo>
                    <a:pt x="996" y="358"/>
                  </a:lnTo>
                  <a:lnTo>
                    <a:pt x="1008" y="358"/>
                  </a:lnTo>
                  <a:lnTo>
                    <a:pt x="1016" y="345"/>
                  </a:lnTo>
                  <a:lnTo>
                    <a:pt x="1003" y="342"/>
                  </a:lnTo>
                  <a:lnTo>
                    <a:pt x="989" y="322"/>
                  </a:lnTo>
                  <a:lnTo>
                    <a:pt x="1001" y="298"/>
                  </a:lnTo>
                  <a:lnTo>
                    <a:pt x="979" y="297"/>
                  </a:lnTo>
                  <a:lnTo>
                    <a:pt x="943" y="337"/>
                  </a:lnTo>
                  <a:lnTo>
                    <a:pt x="892" y="347"/>
                  </a:lnTo>
                  <a:lnTo>
                    <a:pt x="857" y="365"/>
                  </a:lnTo>
                  <a:lnTo>
                    <a:pt x="852" y="385"/>
                  </a:lnTo>
                  <a:lnTo>
                    <a:pt x="832" y="392"/>
                  </a:lnTo>
                  <a:lnTo>
                    <a:pt x="816" y="395"/>
                  </a:lnTo>
                  <a:lnTo>
                    <a:pt x="786" y="417"/>
                  </a:lnTo>
                  <a:lnTo>
                    <a:pt x="761" y="425"/>
                  </a:lnTo>
                  <a:lnTo>
                    <a:pt x="739" y="412"/>
                  </a:lnTo>
                  <a:lnTo>
                    <a:pt x="739" y="405"/>
                  </a:lnTo>
                  <a:lnTo>
                    <a:pt x="744" y="402"/>
                  </a:lnTo>
                  <a:lnTo>
                    <a:pt x="751" y="385"/>
                  </a:lnTo>
                  <a:lnTo>
                    <a:pt x="739" y="385"/>
                  </a:lnTo>
                  <a:lnTo>
                    <a:pt x="734" y="383"/>
                  </a:lnTo>
                  <a:lnTo>
                    <a:pt x="734" y="367"/>
                  </a:lnTo>
                  <a:lnTo>
                    <a:pt x="714" y="375"/>
                  </a:lnTo>
                  <a:lnTo>
                    <a:pt x="707" y="362"/>
                  </a:lnTo>
                  <a:lnTo>
                    <a:pt x="731" y="345"/>
                  </a:lnTo>
                  <a:lnTo>
                    <a:pt x="722" y="322"/>
                  </a:lnTo>
                  <a:lnTo>
                    <a:pt x="714" y="318"/>
                  </a:lnTo>
                  <a:lnTo>
                    <a:pt x="704" y="315"/>
                  </a:lnTo>
                  <a:lnTo>
                    <a:pt x="681" y="333"/>
                  </a:lnTo>
                  <a:lnTo>
                    <a:pt x="671" y="360"/>
                  </a:lnTo>
                  <a:lnTo>
                    <a:pt x="672" y="383"/>
                  </a:lnTo>
                  <a:lnTo>
                    <a:pt x="664" y="395"/>
                  </a:lnTo>
                  <a:lnTo>
                    <a:pt x="646" y="405"/>
                  </a:lnTo>
                  <a:lnTo>
                    <a:pt x="626" y="382"/>
                  </a:lnTo>
                  <a:lnTo>
                    <a:pt x="639" y="343"/>
                  </a:lnTo>
                  <a:lnTo>
                    <a:pt x="656" y="328"/>
                  </a:lnTo>
                  <a:lnTo>
                    <a:pt x="647" y="325"/>
                  </a:lnTo>
                  <a:lnTo>
                    <a:pt x="651" y="312"/>
                  </a:lnTo>
                  <a:lnTo>
                    <a:pt x="684" y="298"/>
                  </a:lnTo>
                  <a:lnTo>
                    <a:pt x="717" y="308"/>
                  </a:lnTo>
                  <a:lnTo>
                    <a:pt x="694" y="285"/>
                  </a:lnTo>
                  <a:lnTo>
                    <a:pt x="676" y="290"/>
                  </a:lnTo>
                  <a:lnTo>
                    <a:pt x="659" y="278"/>
                  </a:lnTo>
                  <a:lnTo>
                    <a:pt x="669" y="277"/>
                  </a:lnTo>
                  <a:lnTo>
                    <a:pt x="659" y="262"/>
                  </a:lnTo>
                  <a:lnTo>
                    <a:pt x="621" y="282"/>
                  </a:lnTo>
                  <a:lnTo>
                    <a:pt x="601" y="273"/>
                  </a:lnTo>
                  <a:lnTo>
                    <a:pt x="594" y="277"/>
                  </a:lnTo>
                  <a:lnTo>
                    <a:pt x="581" y="272"/>
                  </a:lnTo>
                  <a:lnTo>
                    <a:pt x="614" y="252"/>
                  </a:lnTo>
                  <a:lnTo>
                    <a:pt x="651" y="243"/>
                  </a:lnTo>
                  <a:lnTo>
                    <a:pt x="436" y="157"/>
                  </a:lnTo>
                  <a:lnTo>
                    <a:pt x="277" y="80"/>
                  </a:lnTo>
                  <a:lnTo>
                    <a:pt x="155" y="1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7" name="Freeform 163"/>
            <p:cNvSpPr>
              <a:spLocks/>
            </p:cNvSpPr>
            <p:nvPr/>
          </p:nvSpPr>
          <p:spPr bwMode="auto">
            <a:xfrm>
              <a:off x="1554" y="2429"/>
              <a:ext cx="56" cy="34"/>
            </a:xfrm>
            <a:custGeom>
              <a:avLst/>
              <a:gdLst>
                <a:gd name="T0" fmla="*/ 8 w 87"/>
                <a:gd name="T1" fmla="*/ 1 h 50"/>
                <a:gd name="T2" fmla="*/ 10 w 87"/>
                <a:gd name="T3" fmla="*/ 2 h 50"/>
                <a:gd name="T4" fmla="*/ 9 w 87"/>
                <a:gd name="T5" fmla="*/ 3 h 50"/>
                <a:gd name="T6" fmla="*/ 10 w 87"/>
                <a:gd name="T7" fmla="*/ 7 h 50"/>
                <a:gd name="T8" fmla="*/ 8 w 87"/>
                <a:gd name="T9" fmla="*/ 7 h 50"/>
                <a:gd name="T10" fmla="*/ 5 w 87"/>
                <a:gd name="T11" fmla="*/ 7 h 50"/>
                <a:gd name="T12" fmla="*/ 3 w 87"/>
                <a:gd name="T13" fmla="*/ 7 h 50"/>
                <a:gd name="T14" fmla="*/ 0 w 87"/>
                <a:gd name="T15" fmla="*/ 5 h 50"/>
                <a:gd name="T16" fmla="*/ 3 w 87"/>
                <a:gd name="T17" fmla="*/ 2 h 50"/>
                <a:gd name="T18" fmla="*/ 5 w 87"/>
                <a:gd name="T19" fmla="*/ 3 h 50"/>
                <a:gd name="T20" fmla="*/ 6 w 87"/>
                <a:gd name="T21" fmla="*/ 2 h 50"/>
                <a:gd name="T22" fmla="*/ 4 w 87"/>
                <a:gd name="T23" fmla="*/ 0 h 50"/>
                <a:gd name="T24" fmla="*/ 6 w 87"/>
                <a:gd name="T25" fmla="*/ 1 h 50"/>
                <a:gd name="T26" fmla="*/ 8 w 87"/>
                <a:gd name="T27" fmla="*/ 1 h 50"/>
                <a:gd name="T28" fmla="*/ 8 w 87"/>
                <a:gd name="T29" fmla="*/ 1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7" h="50">
                  <a:moveTo>
                    <a:pt x="72" y="2"/>
                  </a:moveTo>
                  <a:lnTo>
                    <a:pt x="87" y="15"/>
                  </a:lnTo>
                  <a:lnTo>
                    <a:pt x="80" y="22"/>
                  </a:lnTo>
                  <a:lnTo>
                    <a:pt x="85" y="48"/>
                  </a:lnTo>
                  <a:lnTo>
                    <a:pt x="68" y="50"/>
                  </a:lnTo>
                  <a:lnTo>
                    <a:pt x="43" y="42"/>
                  </a:lnTo>
                  <a:lnTo>
                    <a:pt x="23" y="43"/>
                  </a:lnTo>
                  <a:lnTo>
                    <a:pt x="0" y="32"/>
                  </a:lnTo>
                  <a:lnTo>
                    <a:pt x="23" y="17"/>
                  </a:lnTo>
                  <a:lnTo>
                    <a:pt x="47" y="22"/>
                  </a:lnTo>
                  <a:lnTo>
                    <a:pt x="50" y="17"/>
                  </a:lnTo>
                  <a:lnTo>
                    <a:pt x="33" y="0"/>
                  </a:lnTo>
                  <a:lnTo>
                    <a:pt x="60" y="3"/>
                  </a:lnTo>
                  <a:lnTo>
                    <a:pt x="72" y="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8" name="Freeform 164"/>
            <p:cNvSpPr>
              <a:spLocks/>
            </p:cNvSpPr>
            <p:nvPr/>
          </p:nvSpPr>
          <p:spPr bwMode="auto">
            <a:xfrm>
              <a:off x="1554" y="2429"/>
              <a:ext cx="56" cy="34"/>
            </a:xfrm>
            <a:custGeom>
              <a:avLst/>
              <a:gdLst>
                <a:gd name="T0" fmla="*/ 8 w 87"/>
                <a:gd name="T1" fmla="*/ 1 h 50"/>
                <a:gd name="T2" fmla="*/ 10 w 87"/>
                <a:gd name="T3" fmla="*/ 2 h 50"/>
                <a:gd name="T4" fmla="*/ 9 w 87"/>
                <a:gd name="T5" fmla="*/ 3 h 50"/>
                <a:gd name="T6" fmla="*/ 10 w 87"/>
                <a:gd name="T7" fmla="*/ 7 h 50"/>
                <a:gd name="T8" fmla="*/ 8 w 87"/>
                <a:gd name="T9" fmla="*/ 7 h 50"/>
                <a:gd name="T10" fmla="*/ 5 w 87"/>
                <a:gd name="T11" fmla="*/ 7 h 50"/>
                <a:gd name="T12" fmla="*/ 3 w 87"/>
                <a:gd name="T13" fmla="*/ 7 h 50"/>
                <a:gd name="T14" fmla="*/ 0 w 87"/>
                <a:gd name="T15" fmla="*/ 5 h 50"/>
                <a:gd name="T16" fmla="*/ 3 w 87"/>
                <a:gd name="T17" fmla="*/ 2 h 50"/>
                <a:gd name="T18" fmla="*/ 5 w 87"/>
                <a:gd name="T19" fmla="*/ 3 h 50"/>
                <a:gd name="T20" fmla="*/ 6 w 87"/>
                <a:gd name="T21" fmla="*/ 2 h 50"/>
                <a:gd name="T22" fmla="*/ 4 w 87"/>
                <a:gd name="T23" fmla="*/ 0 h 50"/>
                <a:gd name="T24" fmla="*/ 6 w 87"/>
                <a:gd name="T25" fmla="*/ 1 h 50"/>
                <a:gd name="T26" fmla="*/ 8 w 87"/>
                <a:gd name="T27" fmla="*/ 1 h 50"/>
                <a:gd name="T28" fmla="*/ 8 w 87"/>
                <a:gd name="T29" fmla="*/ 1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7" h="50">
                  <a:moveTo>
                    <a:pt x="72" y="2"/>
                  </a:moveTo>
                  <a:lnTo>
                    <a:pt x="87" y="15"/>
                  </a:lnTo>
                  <a:lnTo>
                    <a:pt x="80" y="22"/>
                  </a:lnTo>
                  <a:lnTo>
                    <a:pt x="85" y="48"/>
                  </a:lnTo>
                  <a:lnTo>
                    <a:pt x="68" y="50"/>
                  </a:lnTo>
                  <a:lnTo>
                    <a:pt x="43" y="42"/>
                  </a:lnTo>
                  <a:lnTo>
                    <a:pt x="23" y="43"/>
                  </a:lnTo>
                  <a:lnTo>
                    <a:pt x="0" y="32"/>
                  </a:lnTo>
                  <a:lnTo>
                    <a:pt x="23" y="17"/>
                  </a:lnTo>
                  <a:lnTo>
                    <a:pt x="47" y="22"/>
                  </a:lnTo>
                  <a:lnTo>
                    <a:pt x="50" y="17"/>
                  </a:lnTo>
                  <a:lnTo>
                    <a:pt x="33" y="0"/>
                  </a:lnTo>
                  <a:lnTo>
                    <a:pt x="60" y="3"/>
                  </a:lnTo>
                  <a:lnTo>
                    <a:pt x="72" y="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9" name="Freeform 165"/>
            <p:cNvSpPr>
              <a:spLocks/>
            </p:cNvSpPr>
            <p:nvPr/>
          </p:nvSpPr>
          <p:spPr bwMode="auto">
            <a:xfrm>
              <a:off x="1599" y="2427"/>
              <a:ext cx="52" cy="37"/>
            </a:xfrm>
            <a:custGeom>
              <a:avLst/>
              <a:gdLst>
                <a:gd name="T0" fmla="*/ 0 w 82"/>
                <a:gd name="T1" fmla="*/ 1 h 54"/>
                <a:gd name="T2" fmla="*/ 1 w 82"/>
                <a:gd name="T3" fmla="*/ 0 h 54"/>
                <a:gd name="T4" fmla="*/ 4 w 82"/>
                <a:gd name="T5" fmla="*/ 1 h 54"/>
                <a:gd name="T6" fmla="*/ 5 w 82"/>
                <a:gd name="T7" fmla="*/ 3 h 54"/>
                <a:gd name="T8" fmla="*/ 7 w 82"/>
                <a:gd name="T9" fmla="*/ 3 h 54"/>
                <a:gd name="T10" fmla="*/ 8 w 82"/>
                <a:gd name="T11" fmla="*/ 7 h 54"/>
                <a:gd name="T12" fmla="*/ 8 w 82"/>
                <a:gd name="T13" fmla="*/ 8 h 54"/>
                <a:gd name="T14" fmla="*/ 5 w 82"/>
                <a:gd name="T15" fmla="*/ 6 h 54"/>
                <a:gd name="T16" fmla="*/ 3 w 82"/>
                <a:gd name="T17" fmla="*/ 8 h 54"/>
                <a:gd name="T18" fmla="*/ 3 w 82"/>
                <a:gd name="T19" fmla="*/ 8 h 54"/>
                <a:gd name="T20" fmla="*/ 2 w 82"/>
                <a:gd name="T21" fmla="*/ 8 h 54"/>
                <a:gd name="T22" fmla="*/ 1 w 82"/>
                <a:gd name="T23" fmla="*/ 3 h 54"/>
                <a:gd name="T24" fmla="*/ 2 w 82"/>
                <a:gd name="T25" fmla="*/ 3 h 54"/>
                <a:gd name="T26" fmla="*/ 0 w 82"/>
                <a:gd name="T27" fmla="*/ 1 h 54"/>
                <a:gd name="T28" fmla="*/ 0 w 82"/>
                <a:gd name="T29" fmla="*/ 1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2" h="54">
                  <a:moveTo>
                    <a:pt x="0" y="4"/>
                  </a:moveTo>
                  <a:lnTo>
                    <a:pt x="13" y="0"/>
                  </a:lnTo>
                  <a:lnTo>
                    <a:pt x="45" y="5"/>
                  </a:lnTo>
                  <a:lnTo>
                    <a:pt x="50" y="24"/>
                  </a:lnTo>
                  <a:lnTo>
                    <a:pt x="73" y="25"/>
                  </a:lnTo>
                  <a:lnTo>
                    <a:pt x="82" y="45"/>
                  </a:lnTo>
                  <a:lnTo>
                    <a:pt x="75" y="49"/>
                  </a:lnTo>
                  <a:lnTo>
                    <a:pt x="50" y="40"/>
                  </a:lnTo>
                  <a:lnTo>
                    <a:pt x="33" y="54"/>
                  </a:lnTo>
                  <a:lnTo>
                    <a:pt x="23" y="49"/>
                  </a:lnTo>
                  <a:lnTo>
                    <a:pt x="15" y="49"/>
                  </a:lnTo>
                  <a:lnTo>
                    <a:pt x="8" y="24"/>
                  </a:lnTo>
                  <a:lnTo>
                    <a:pt x="15" y="1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0" name="Freeform 166"/>
            <p:cNvSpPr>
              <a:spLocks/>
            </p:cNvSpPr>
            <p:nvPr/>
          </p:nvSpPr>
          <p:spPr bwMode="auto">
            <a:xfrm>
              <a:off x="1599" y="2427"/>
              <a:ext cx="52" cy="37"/>
            </a:xfrm>
            <a:custGeom>
              <a:avLst/>
              <a:gdLst>
                <a:gd name="T0" fmla="*/ 0 w 82"/>
                <a:gd name="T1" fmla="*/ 1 h 54"/>
                <a:gd name="T2" fmla="*/ 1 w 82"/>
                <a:gd name="T3" fmla="*/ 0 h 54"/>
                <a:gd name="T4" fmla="*/ 4 w 82"/>
                <a:gd name="T5" fmla="*/ 1 h 54"/>
                <a:gd name="T6" fmla="*/ 5 w 82"/>
                <a:gd name="T7" fmla="*/ 3 h 54"/>
                <a:gd name="T8" fmla="*/ 7 w 82"/>
                <a:gd name="T9" fmla="*/ 3 h 54"/>
                <a:gd name="T10" fmla="*/ 8 w 82"/>
                <a:gd name="T11" fmla="*/ 7 h 54"/>
                <a:gd name="T12" fmla="*/ 8 w 82"/>
                <a:gd name="T13" fmla="*/ 8 h 54"/>
                <a:gd name="T14" fmla="*/ 5 w 82"/>
                <a:gd name="T15" fmla="*/ 6 h 54"/>
                <a:gd name="T16" fmla="*/ 3 w 82"/>
                <a:gd name="T17" fmla="*/ 8 h 54"/>
                <a:gd name="T18" fmla="*/ 3 w 82"/>
                <a:gd name="T19" fmla="*/ 8 h 54"/>
                <a:gd name="T20" fmla="*/ 2 w 82"/>
                <a:gd name="T21" fmla="*/ 8 h 54"/>
                <a:gd name="T22" fmla="*/ 1 w 82"/>
                <a:gd name="T23" fmla="*/ 3 h 54"/>
                <a:gd name="T24" fmla="*/ 2 w 82"/>
                <a:gd name="T25" fmla="*/ 3 h 54"/>
                <a:gd name="T26" fmla="*/ 0 w 82"/>
                <a:gd name="T27" fmla="*/ 1 h 54"/>
                <a:gd name="T28" fmla="*/ 0 w 82"/>
                <a:gd name="T29" fmla="*/ 1 h 5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2" h="54">
                  <a:moveTo>
                    <a:pt x="0" y="4"/>
                  </a:moveTo>
                  <a:lnTo>
                    <a:pt x="13" y="0"/>
                  </a:lnTo>
                  <a:lnTo>
                    <a:pt x="45" y="5"/>
                  </a:lnTo>
                  <a:lnTo>
                    <a:pt x="50" y="24"/>
                  </a:lnTo>
                  <a:lnTo>
                    <a:pt x="73" y="25"/>
                  </a:lnTo>
                  <a:lnTo>
                    <a:pt x="82" y="45"/>
                  </a:lnTo>
                  <a:lnTo>
                    <a:pt x="75" y="49"/>
                  </a:lnTo>
                  <a:lnTo>
                    <a:pt x="50" y="40"/>
                  </a:lnTo>
                  <a:lnTo>
                    <a:pt x="33" y="54"/>
                  </a:lnTo>
                  <a:lnTo>
                    <a:pt x="23" y="49"/>
                  </a:lnTo>
                  <a:lnTo>
                    <a:pt x="15" y="49"/>
                  </a:lnTo>
                  <a:lnTo>
                    <a:pt x="8" y="24"/>
                  </a:lnTo>
                  <a:lnTo>
                    <a:pt x="15" y="19"/>
                  </a:lnTo>
                  <a:lnTo>
                    <a:pt x="0" y="4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1" name="Freeform 167"/>
            <p:cNvSpPr>
              <a:spLocks/>
            </p:cNvSpPr>
            <p:nvPr/>
          </p:nvSpPr>
          <p:spPr bwMode="auto">
            <a:xfrm>
              <a:off x="1034" y="2059"/>
              <a:ext cx="343" cy="405"/>
            </a:xfrm>
            <a:custGeom>
              <a:avLst/>
              <a:gdLst>
                <a:gd name="T0" fmla="*/ 1 w 533"/>
                <a:gd name="T1" fmla="*/ 1 h 610"/>
                <a:gd name="T2" fmla="*/ 3 w 533"/>
                <a:gd name="T3" fmla="*/ 15 h 610"/>
                <a:gd name="T4" fmla="*/ 0 w 533"/>
                <a:gd name="T5" fmla="*/ 15 h 610"/>
                <a:gd name="T6" fmla="*/ 3 w 533"/>
                <a:gd name="T7" fmla="*/ 22 h 610"/>
                <a:gd name="T8" fmla="*/ 2 w 533"/>
                <a:gd name="T9" fmla="*/ 29 h 610"/>
                <a:gd name="T10" fmla="*/ 6 w 533"/>
                <a:gd name="T11" fmla="*/ 33 h 610"/>
                <a:gd name="T12" fmla="*/ 6 w 533"/>
                <a:gd name="T13" fmla="*/ 28 h 610"/>
                <a:gd name="T14" fmla="*/ 5 w 533"/>
                <a:gd name="T15" fmla="*/ 17 h 610"/>
                <a:gd name="T16" fmla="*/ 5 w 533"/>
                <a:gd name="T17" fmla="*/ 7 h 610"/>
                <a:gd name="T18" fmla="*/ 7 w 533"/>
                <a:gd name="T19" fmla="*/ 11 h 610"/>
                <a:gd name="T20" fmla="*/ 10 w 533"/>
                <a:gd name="T21" fmla="*/ 22 h 610"/>
                <a:gd name="T22" fmla="*/ 10 w 533"/>
                <a:gd name="T23" fmla="*/ 27 h 610"/>
                <a:gd name="T24" fmla="*/ 10 w 533"/>
                <a:gd name="T25" fmla="*/ 30 h 610"/>
                <a:gd name="T26" fmla="*/ 15 w 533"/>
                <a:gd name="T27" fmla="*/ 45 h 610"/>
                <a:gd name="T28" fmla="*/ 15 w 533"/>
                <a:gd name="T29" fmla="*/ 58 h 610"/>
                <a:gd name="T30" fmla="*/ 23 w 533"/>
                <a:gd name="T31" fmla="*/ 65 h 610"/>
                <a:gd name="T32" fmla="*/ 37 w 533"/>
                <a:gd name="T33" fmla="*/ 72 h 610"/>
                <a:gd name="T34" fmla="*/ 41 w 533"/>
                <a:gd name="T35" fmla="*/ 79 h 610"/>
                <a:gd name="T36" fmla="*/ 48 w 533"/>
                <a:gd name="T37" fmla="*/ 76 h 610"/>
                <a:gd name="T38" fmla="*/ 48 w 533"/>
                <a:gd name="T39" fmla="*/ 71 h 610"/>
                <a:gd name="T40" fmla="*/ 53 w 533"/>
                <a:gd name="T41" fmla="*/ 72 h 610"/>
                <a:gd name="T42" fmla="*/ 55 w 533"/>
                <a:gd name="T43" fmla="*/ 71 h 610"/>
                <a:gd name="T44" fmla="*/ 57 w 533"/>
                <a:gd name="T45" fmla="*/ 66 h 610"/>
                <a:gd name="T46" fmla="*/ 59 w 533"/>
                <a:gd name="T47" fmla="*/ 62 h 610"/>
                <a:gd name="T48" fmla="*/ 51 w 533"/>
                <a:gd name="T49" fmla="*/ 62 h 610"/>
                <a:gd name="T50" fmla="*/ 48 w 533"/>
                <a:gd name="T51" fmla="*/ 68 h 610"/>
                <a:gd name="T52" fmla="*/ 41 w 533"/>
                <a:gd name="T53" fmla="*/ 66 h 610"/>
                <a:gd name="T54" fmla="*/ 33 w 533"/>
                <a:gd name="T55" fmla="*/ 61 h 610"/>
                <a:gd name="T56" fmla="*/ 33 w 533"/>
                <a:gd name="T57" fmla="*/ 52 h 610"/>
                <a:gd name="T58" fmla="*/ 36 w 533"/>
                <a:gd name="T59" fmla="*/ 45 h 610"/>
                <a:gd name="T60" fmla="*/ 33 w 533"/>
                <a:gd name="T61" fmla="*/ 39 h 610"/>
                <a:gd name="T62" fmla="*/ 26 w 533"/>
                <a:gd name="T63" fmla="*/ 28 h 610"/>
                <a:gd name="T64" fmla="*/ 24 w 533"/>
                <a:gd name="T65" fmla="*/ 21 h 610"/>
                <a:gd name="T66" fmla="*/ 19 w 533"/>
                <a:gd name="T67" fmla="*/ 15 h 610"/>
                <a:gd name="T68" fmla="*/ 11 w 533"/>
                <a:gd name="T69" fmla="*/ 13 h 610"/>
                <a:gd name="T70" fmla="*/ 1 w 533"/>
                <a:gd name="T71" fmla="*/ 0 h 6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33" h="610">
                  <a:moveTo>
                    <a:pt x="11" y="0"/>
                  </a:moveTo>
                  <a:lnTo>
                    <a:pt x="11" y="10"/>
                  </a:lnTo>
                  <a:lnTo>
                    <a:pt x="5" y="31"/>
                  </a:lnTo>
                  <a:lnTo>
                    <a:pt x="28" y="121"/>
                  </a:lnTo>
                  <a:lnTo>
                    <a:pt x="16" y="135"/>
                  </a:lnTo>
                  <a:lnTo>
                    <a:pt x="0" y="121"/>
                  </a:lnTo>
                  <a:lnTo>
                    <a:pt x="11" y="170"/>
                  </a:lnTo>
                  <a:lnTo>
                    <a:pt x="21" y="173"/>
                  </a:lnTo>
                  <a:lnTo>
                    <a:pt x="33" y="193"/>
                  </a:lnTo>
                  <a:lnTo>
                    <a:pt x="20" y="228"/>
                  </a:lnTo>
                  <a:lnTo>
                    <a:pt x="53" y="285"/>
                  </a:lnTo>
                  <a:lnTo>
                    <a:pt x="58" y="258"/>
                  </a:lnTo>
                  <a:lnTo>
                    <a:pt x="46" y="241"/>
                  </a:lnTo>
                  <a:lnTo>
                    <a:pt x="50" y="216"/>
                  </a:lnTo>
                  <a:lnTo>
                    <a:pt x="36" y="156"/>
                  </a:lnTo>
                  <a:lnTo>
                    <a:pt x="48" y="130"/>
                  </a:lnTo>
                  <a:lnTo>
                    <a:pt x="31" y="96"/>
                  </a:lnTo>
                  <a:lnTo>
                    <a:pt x="40" y="56"/>
                  </a:lnTo>
                  <a:lnTo>
                    <a:pt x="50" y="60"/>
                  </a:lnTo>
                  <a:lnTo>
                    <a:pt x="66" y="81"/>
                  </a:lnTo>
                  <a:lnTo>
                    <a:pt x="76" y="161"/>
                  </a:lnTo>
                  <a:lnTo>
                    <a:pt x="86" y="168"/>
                  </a:lnTo>
                  <a:lnTo>
                    <a:pt x="81" y="188"/>
                  </a:lnTo>
                  <a:lnTo>
                    <a:pt x="88" y="213"/>
                  </a:lnTo>
                  <a:lnTo>
                    <a:pt x="100" y="216"/>
                  </a:lnTo>
                  <a:lnTo>
                    <a:pt x="88" y="230"/>
                  </a:lnTo>
                  <a:lnTo>
                    <a:pt x="108" y="251"/>
                  </a:lnTo>
                  <a:lnTo>
                    <a:pt x="136" y="346"/>
                  </a:lnTo>
                  <a:lnTo>
                    <a:pt x="106" y="383"/>
                  </a:lnTo>
                  <a:lnTo>
                    <a:pt x="140" y="450"/>
                  </a:lnTo>
                  <a:lnTo>
                    <a:pt x="170" y="466"/>
                  </a:lnTo>
                  <a:lnTo>
                    <a:pt x="205" y="501"/>
                  </a:lnTo>
                  <a:lnTo>
                    <a:pt x="288" y="553"/>
                  </a:lnTo>
                  <a:lnTo>
                    <a:pt x="335" y="560"/>
                  </a:lnTo>
                  <a:lnTo>
                    <a:pt x="362" y="578"/>
                  </a:lnTo>
                  <a:lnTo>
                    <a:pt x="372" y="610"/>
                  </a:lnTo>
                  <a:lnTo>
                    <a:pt x="380" y="598"/>
                  </a:lnTo>
                  <a:lnTo>
                    <a:pt x="432" y="585"/>
                  </a:lnTo>
                  <a:lnTo>
                    <a:pt x="420" y="565"/>
                  </a:lnTo>
                  <a:lnTo>
                    <a:pt x="435" y="548"/>
                  </a:lnTo>
                  <a:lnTo>
                    <a:pt x="460" y="558"/>
                  </a:lnTo>
                  <a:lnTo>
                    <a:pt x="480" y="556"/>
                  </a:lnTo>
                  <a:lnTo>
                    <a:pt x="493" y="563"/>
                  </a:lnTo>
                  <a:lnTo>
                    <a:pt x="503" y="550"/>
                  </a:lnTo>
                  <a:lnTo>
                    <a:pt x="515" y="540"/>
                  </a:lnTo>
                  <a:lnTo>
                    <a:pt x="515" y="518"/>
                  </a:lnTo>
                  <a:lnTo>
                    <a:pt x="533" y="503"/>
                  </a:lnTo>
                  <a:lnTo>
                    <a:pt x="532" y="481"/>
                  </a:lnTo>
                  <a:lnTo>
                    <a:pt x="510" y="475"/>
                  </a:lnTo>
                  <a:lnTo>
                    <a:pt x="463" y="481"/>
                  </a:lnTo>
                  <a:lnTo>
                    <a:pt x="447" y="515"/>
                  </a:lnTo>
                  <a:lnTo>
                    <a:pt x="430" y="528"/>
                  </a:lnTo>
                  <a:lnTo>
                    <a:pt x="395" y="516"/>
                  </a:lnTo>
                  <a:lnTo>
                    <a:pt x="368" y="516"/>
                  </a:lnTo>
                  <a:lnTo>
                    <a:pt x="318" y="488"/>
                  </a:lnTo>
                  <a:lnTo>
                    <a:pt x="303" y="471"/>
                  </a:lnTo>
                  <a:lnTo>
                    <a:pt x="315" y="433"/>
                  </a:lnTo>
                  <a:lnTo>
                    <a:pt x="297" y="403"/>
                  </a:lnTo>
                  <a:lnTo>
                    <a:pt x="307" y="366"/>
                  </a:lnTo>
                  <a:lnTo>
                    <a:pt x="327" y="351"/>
                  </a:lnTo>
                  <a:lnTo>
                    <a:pt x="335" y="328"/>
                  </a:lnTo>
                  <a:lnTo>
                    <a:pt x="303" y="296"/>
                  </a:lnTo>
                  <a:lnTo>
                    <a:pt x="277" y="215"/>
                  </a:lnTo>
                  <a:lnTo>
                    <a:pt x="238" y="216"/>
                  </a:lnTo>
                  <a:lnTo>
                    <a:pt x="221" y="195"/>
                  </a:lnTo>
                  <a:lnTo>
                    <a:pt x="220" y="156"/>
                  </a:lnTo>
                  <a:lnTo>
                    <a:pt x="201" y="126"/>
                  </a:lnTo>
                  <a:lnTo>
                    <a:pt x="168" y="116"/>
                  </a:lnTo>
                  <a:lnTo>
                    <a:pt x="165" y="126"/>
                  </a:lnTo>
                  <a:lnTo>
                    <a:pt x="98" y="96"/>
                  </a:lnTo>
                  <a:lnTo>
                    <a:pt x="65" y="33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2" name="Freeform 168"/>
            <p:cNvSpPr>
              <a:spLocks/>
            </p:cNvSpPr>
            <p:nvPr/>
          </p:nvSpPr>
          <p:spPr bwMode="auto">
            <a:xfrm>
              <a:off x="1034" y="2059"/>
              <a:ext cx="343" cy="405"/>
            </a:xfrm>
            <a:custGeom>
              <a:avLst/>
              <a:gdLst>
                <a:gd name="T0" fmla="*/ 1 w 533"/>
                <a:gd name="T1" fmla="*/ 1 h 610"/>
                <a:gd name="T2" fmla="*/ 3 w 533"/>
                <a:gd name="T3" fmla="*/ 15 h 610"/>
                <a:gd name="T4" fmla="*/ 0 w 533"/>
                <a:gd name="T5" fmla="*/ 15 h 610"/>
                <a:gd name="T6" fmla="*/ 3 w 533"/>
                <a:gd name="T7" fmla="*/ 22 h 610"/>
                <a:gd name="T8" fmla="*/ 2 w 533"/>
                <a:gd name="T9" fmla="*/ 29 h 610"/>
                <a:gd name="T10" fmla="*/ 6 w 533"/>
                <a:gd name="T11" fmla="*/ 33 h 610"/>
                <a:gd name="T12" fmla="*/ 6 w 533"/>
                <a:gd name="T13" fmla="*/ 28 h 610"/>
                <a:gd name="T14" fmla="*/ 5 w 533"/>
                <a:gd name="T15" fmla="*/ 17 h 610"/>
                <a:gd name="T16" fmla="*/ 5 w 533"/>
                <a:gd name="T17" fmla="*/ 7 h 610"/>
                <a:gd name="T18" fmla="*/ 7 w 533"/>
                <a:gd name="T19" fmla="*/ 11 h 610"/>
                <a:gd name="T20" fmla="*/ 10 w 533"/>
                <a:gd name="T21" fmla="*/ 22 h 610"/>
                <a:gd name="T22" fmla="*/ 10 w 533"/>
                <a:gd name="T23" fmla="*/ 27 h 610"/>
                <a:gd name="T24" fmla="*/ 10 w 533"/>
                <a:gd name="T25" fmla="*/ 30 h 610"/>
                <a:gd name="T26" fmla="*/ 15 w 533"/>
                <a:gd name="T27" fmla="*/ 45 h 610"/>
                <a:gd name="T28" fmla="*/ 15 w 533"/>
                <a:gd name="T29" fmla="*/ 58 h 610"/>
                <a:gd name="T30" fmla="*/ 23 w 533"/>
                <a:gd name="T31" fmla="*/ 65 h 610"/>
                <a:gd name="T32" fmla="*/ 37 w 533"/>
                <a:gd name="T33" fmla="*/ 72 h 610"/>
                <a:gd name="T34" fmla="*/ 41 w 533"/>
                <a:gd name="T35" fmla="*/ 79 h 610"/>
                <a:gd name="T36" fmla="*/ 48 w 533"/>
                <a:gd name="T37" fmla="*/ 76 h 610"/>
                <a:gd name="T38" fmla="*/ 48 w 533"/>
                <a:gd name="T39" fmla="*/ 71 h 610"/>
                <a:gd name="T40" fmla="*/ 53 w 533"/>
                <a:gd name="T41" fmla="*/ 72 h 610"/>
                <a:gd name="T42" fmla="*/ 55 w 533"/>
                <a:gd name="T43" fmla="*/ 71 h 610"/>
                <a:gd name="T44" fmla="*/ 57 w 533"/>
                <a:gd name="T45" fmla="*/ 66 h 610"/>
                <a:gd name="T46" fmla="*/ 59 w 533"/>
                <a:gd name="T47" fmla="*/ 62 h 610"/>
                <a:gd name="T48" fmla="*/ 51 w 533"/>
                <a:gd name="T49" fmla="*/ 62 h 610"/>
                <a:gd name="T50" fmla="*/ 48 w 533"/>
                <a:gd name="T51" fmla="*/ 68 h 610"/>
                <a:gd name="T52" fmla="*/ 41 w 533"/>
                <a:gd name="T53" fmla="*/ 66 h 610"/>
                <a:gd name="T54" fmla="*/ 33 w 533"/>
                <a:gd name="T55" fmla="*/ 61 h 610"/>
                <a:gd name="T56" fmla="*/ 33 w 533"/>
                <a:gd name="T57" fmla="*/ 52 h 610"/>
                <a:gd name="T58" fmla="*/ 36 w 533"/>
                <a:gd name="T59" fmla="*/ 45 h 610"/>
                <a:gd name="T60" fmla="*/ 33 w 533"/>
                <a:gd name="T61" fmla="*/ 39 h 610"/>
                <a:gd name="T62" fmla="*/ 26 w 533"/>
                <a:gd name="T63" fmla="*/ 28 h 610"/>
                <a:gd name="T64" fmla="*/ 24 w 533"/>
                <a:gd name="T65" fmla="*/ 21 h 610"/>
                <a:gd name="T66" fmla="*/ 19 w 533"/>
                <a:gd name="T67" fmla="*/ 15 h 610"/>
                <a:gd name="T68" fmla="*/ 11 w 533"/>
                <a:gd name="T69" fmla="*/ 13 h 610"/>
                <a:gd name="T70" fmla="*/ 1 w 533"/>
                <a:gd name="T71" fmla="*/ 0 h 61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33" h="610">
                  <a:moveTo>
                    <a:pt x="11" y="0"/>
                  </a:moveTo>
                  <a:lnTo>
                    <a:pt x="11" y="10"/>
                  </a:lnTo>
                  <a:lnTo>
                    <a:pt x="5" y="31"/>
                  </a:lnTo>
                  <a:lnTo>
                    <a:pt x="28" y="121"/>
                  </a:lnTo>
                  <a:lnTo>
                    <a:pt x="16" y="135"/>
                  </a:lnTo>
                  <a:lnTo>
                    <a:pt x="0" y="121"/>
                  </a:lnTo>
                  <a:lnTo>
                    <a:pt x="11" y="170"/>
                  </a:lnTo>
                  <a:lnTo>
                    <a:pt x="21" y="173"/>
                  </a:lnTo>
                  <a:lnTo>
                    <a:pt x="33" y="193"/>
                  </a:lnTo>
                  <a:lnTo>
                    <a:pt x="20" y="228"/>
                  </a:lnTo>
                  <a:lnTo>
                    <a:pt x="53" y="285"/>
                  </a:lnTo>
                  <a:lnTo>
                    <a:pt x="58" y="258"/>
                  </a:lnTo>
                  <a:lnTo>
                    <a:pt x="46" y="241"/>
                  </a:lnTo>
                  <a:lnTo>
                    <a:pt x="50" y="216"/>
                  </a:lnTo>
                  <a:lnTo>
                    <a:pt x="36" y="156"/>
                  </a:lnTo>
                  <a:lnTo>
                    <a:pt x="48" y="130"/>
                  </a:lnTo>
                  <a:lnTo>
                    <a:pt x="31" y="96"/>
                  </a:lnTo>
                  <a:lnTo>
                    <a:pt x="40" y="56"/>
                  </a:lnTo>
                  <a:lnTo>
                    <a:pt x="50" y="60"/>
                  </a:lnTo>
                  <a:lnTo>
                    <a:pt x="66" y="81"/>
                  </a:lnTo>
                  <a:lnTo>
                    <a:pt x="76" y="161"/>
                  </a:lnTo>
                  <a:lnTo>
                    <a:pt x="86" y="168"/>
                  </a:lnTo>
                  <a:lnTo>
                    <a:pt x="81" y="188"/>
                  </a:lnTo>
                  <a:lnTo>
                    <a:pt x="88" y="213"/>
                  </a:lnTo>
                  <a:lnTo>
                    <a:pt x="100" y="216"/>
                  </a:lnTo>
                  <a:lnTo>
                    <a:pt x="88" y="230"/>
                  </a:lnTo>
                  <a:lnTo>
                    <a:pt x="108" y="251"/>
                  </a:lnTo>
                  <a:lnTo>
                    <a:pt x="136" y="346"/>
                  </a:lnTo>
                  <a:lnTo>
                    <a:pt x="106" y="383"/>
                  </a:lnTo>
                  <a:lnTo>
                    <a:pt x="140" y="450"/>
                  </a:lnTo>
                  <a:lnTo>
                    <a:pt x="170" y="466"/>
                  </a:lnTo>
                  <a:lnTo>
                    <a:pt x="205" y="501"/>
                  </a:lnTo>
                  <a:lnTo>
                    <a:pt x="288" y="553"/>
                  </a:lnTo>
                  <a:lnTo>
                    <a:pt x="335" y="560"/>
                  </a:lnTo>
                  <a:lnTo>
                    <a:pt x="362" y="578"/>
                  </a:lnTo>
                  <a:lnTo>
                    <a:pt x="372" y="610"/>
                  </a:lnTo>
                  <a:lnTo>
                    <a:pt x="380" y="598"/>
                  </a:lnTo>
                  <a:lnTo>
                    <a:pt x="432" y="585"/>
                  </a:lnTo>
                  <a:lnTo>
                    <a:pt x="420" y="565"/>
                  </a:lnTo>
                  <a:lnTo>
                    <a:pt x="435" y="548"/>
                  </a:lnTo>
                  <a:lnTo>
                    <a:pt x="460" y="558"/>
                  </a:lnTo>
                  <a:lnTo>
                    <a:pt x="480" y="556"/>
                  </a:lnTo>
                  <a:lnTo>
                    <a:pt x="493" y="563"/>
                  </a:lnTo>
                  <a:lnTo>
                    <a:pt x="503" y="550"/>
                  </a:lnTo>
                  <a:lnTo>
                    <a:pt x="515" y="540"/>
                  </a:lnTo>
                  <a:lnTo>
                    <a:pt x="515" y="518"/>
                  </a:lnTo>
                  <a:lnTo>
                    <a:pt x="533" y="503"/>
                  </a:lnTo>
                  <a:lnTo>
                    <a:pt x="532" y="481"/>
                  </a:lnTo>
                  <a:lnTo>
                    <a:pt x="510" y="475"/>
                  </a:lnTo>
                  <a:lnTo>
                    <a:pt x="463" y="481"/>
                  </a:lnTo>
                  <a:lnTo>
                    <a:pt x="447" y="515"/>
                  </a:lnTo>
                  <a:lnTo>
                    <a:pt x="430" y="528"/>
                  </a:lnTo>
                  <a:lnTo>
                    <a:pt x="395" y="516"/>
                  </a:lnTo>
                  <a:lnTo>
                    <a:pt x="368" y="516"/>
                  </a:lnTo>
                  <a:lnTo>
                    <a:pt x="318" y="488"/>
                  </a:lnTo>
                  <a:lnTo>
                    <a:pt x="303" y="471"/>
                  </a:lnTo>
                  <a:lnTo>
                    <a:pt x="315" y="433"/>
                  </a:lnTo>
                  <a:lnTo>
                    <a:pt x="297" y="403"/>
                  </a:lnTo>
                  <a:lnTo>
                    <a:pt x="307" y="366"/>
                  </a:lnTo>
                  <a:lnTo>
                    <a:pt x="327" y="351"/>
                  </a:lnTo>
                  <a:lnTo>
                    <a:pt x="335" y="328"/>
                  </a:lnTo>
                  <a:lnTo>
                    <a:pt x="303" y="296"/>
                  </a:lnTo>
                  <a:lnTo>
                    <a:pt x="277" y="215"/>
                  </a:lnTo>
                  <a:lnTo>
                    <a:pt x="238" y="216"/>
                  </a:lnTo>
                  <a:lnTo>
                    <a:pt x="221" y="195"/>
                  </a:lnTo>
                  <a:lnTo>
                    <a:pt x="220" y="156"/>
                  </a:lnTo>
                  <a:lnTo>
                    <a:pt x="201" y="126"/>
                  </a:lnTo>
                  <a:lnTo>
                    <a:pt x="168" y="116"/>
                  </a:lnTo>
                  <a:lnTo>
                    <a:pt x="165" y="126"/>
                  </a:lnTo>
                  <a:lnTo>
                    <a:pt x="98" y="96"/>
                  </a:lnTo>
                  <a:lnTo>
                    <a:pt x="65" y="33"/>
                  </a:lnTo>
                  <a:lnTo>
                    <a:pt x="1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3" name="Freeform 169"/>
            <p:cNvSpPr>
              <a:spLocks/>
            </p:cNvSpPr>
            <p:nvPr/>
          </p:nvSpPr>
          <p:spPr bwMode="auto">
            <a:xfrm>
              <a:off x="1330" y="2427"/>
              <a:ext cx="23" cy="31"/>
            </a:xfrm>
            <a:custGeom>
              <a:avLst/>
              <a:gdLst>
                <a:gd name="T0" fmla="*/ 5 w 35"/>
                <a:gd name="T1" fmla="*/ 1 h 47"/>
                <a:gd name="T2" fmla="*/ 3 w 35"/>
                <a:gd name="T3" fmla="*/ 4 h 47"/>
                <a:gd name="T4" fmla="*/ 2 w 35"/>
                <a:gd name="T5" fmla="*/ 6 h 47"/>
                <a:gd name="T6" fmla="*/ 0 w 35"/>
                <a:gd name="T7" fmla="*/ 5 h 47"/>
                <a:gd name="T8" fmla="*/ 1 w 35"/>
                <a:gd name="T9" fmla="*/ 3 h 47"/>
                <a:gd name="T10" fmla="*/ 1 w 35"/>
                <a:gd name="T11" fmla="*/ 0 h 47"/>
                <a:gd name="T12" fmla="*/ 3 w 35"/>
                <a:gd name="T13" fmla="*/ 0 h 47"/>
                <a:gd name="T14" fmla="*/ 5 w 35"/>
                <a:gd name="T15" fmla="*/ 1 h 47"/>
                <a:gd name="T16" fmla="*/ 5 w 35"/>
                <a:gd name="T17" fmla="*/ 1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" h="47">
                  <a:moveTo>
                    <a:pt x="35" y="7"/>
                  </a:moveTo>
                  <a:lnTo>
                    <a:pt x="27" y="32"/>
                  </a:lnTo>
                  <a:lnTo>
                    <a:pt x="15" y="47"/>
                  </a:lnTo>
                  <a:lnTo>
                    <a:pt x="0" y="42"/>
                  </a:lnTo>
                  <a:lnTo>
                    <a:pt x="10" y="24"/>
                  </a:lnTo>
                  <a:lnTo>
                    <a:pt x="12" y="0"/>
                  </a:lnTo>
                  <a:lnTo>
                    <a:pt x="20" y="0"/>
                  </a:lnTo>
                  <a:lnTo>
                    <a:pt x="35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" name="Freeform 170"/>
            <p:cNvSpPr>
              <a:spLocks/>
            </p:cNvSpPr>
            <p:nvPr/>
          </p:nvSpPr>
          <p:spPr bwMode="auto">
            <a:xfrm>
              <a:off x="1330" y="2427"/>
              <a:ext cx="23" cy="31"/>
            </a:xfrm>
            <a:custGeom>
              <a:avLst/>
              <a:gdLst>
                <a:gd name="T0" fmla="*/ 5 w 35"/>
                <a:gd name="T1" fmla="*/ 1 h 47"/>
                <a:gd name="T2" fmla="*/ 3 w 35"/>
                <a:gd name="T3" fmla="*/ 4 h 47"/>
                <a:gd name="T4" fmla="*/ 2 w 35"/>
                <a:gd name="T5" fmla="*/ 6 h 47"/>
                <a:gd name="T6" fmla="*/ 0 w 35"/>
                <a:gd name="T7" fmla="*/ 5 h 47"/>
                <a:gd name="T8" fmla="*/ 1 w 35"/>
                <a:gd name="T9" fmla="*/ 3 h 47"/>
                <a:gd name="T10" fmla="*/ 1 w 35"/>
                <a:gd name="T11" fmla="*/ 0 h 47"/>
                <a:gd name="T12" fmla="*/ 3 w 35"/>
                <a:gd name="T13" fmla="*/ 0 h 47"/>
                <a:gd name="T14" fmla="*/ 5 w 35"/>
                <a:gd name="T15" fmla="*/ 1 h 47"/>
                <a:gd name="T16" fmla="*/ 5 w 35"/>
                <a:gd name="T17" fmla="*/ 1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" h="47">
                  <a:moveTo>
                    <a:pt x="35" y="7"/>
                  </a:moveTo>
                  <a:lnTo>
                    <a:pt x="27" y="32"/>
                  </a:lnTo>
                  <a:lnTo>
                    <a:pt x="15" y="47"/>
                  </a:lnTo>
                  <a:lnTo>
                    <a:pt x="0" y="42"/>
                  </a:lnTo>
                  <a:lnTo>
                    <a:pt x="10" y="24"/>
                  </a:lnTo>
                  <a:lnTo>
                    <a:pt x="12" y="0"/>
                  </a:lnTo>
                  <a:lnTo>
                    <a:pt x="20" y="0"/>
                  </a:lnTo>
                  <a:lnTo>
                    <a:pt x="35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" name="Freeform 171"/>
            <p:cNvSpPr>
              <a:spLocks/>
            </p:cNvSpPr>
            <p:nvPr/>
          </p:nvSpPr>
          <p:spPr bwMode="auto">
            <a:xfrm>
              <a:off x="1272" y="2423"/>
              <a:ext cx="70" cy="62"/>
            </a:xfrm>
            <a:custGeom>
              <a:avLst/>
              <a:gdLst>
                <a:gd name="T0" fmla="*/ 12 w 108"/>
                <a:gd name="T1" fmla="*/ 7 h 95"/>
                <a:gd name="T2" fmla="*/ 12 w 108"/>
                <a:gd name="T3" fmla="*/ 7 h 95"/>
                <a:gd name="T4" fmla="*/ 10 w 108"/>
                <a:gd name="T5" fmla="*/ 8 h 95"/>
                <a:gd name="T6" fmla="*/ 9 w 108"/>
                <a:gd name="T7" fmla="*/ 10 h 95"/>
                <a:gd name="T8" fmla="*/ 7 w 108"/>
                <a:gd name="T9" fmla="*/ 11 h 95"/>
                <a:gd name="T10" fmla="*/ 3 w 108"/>
                <a:gd name="T11" fmla="*/ 10 h 95"/>
                <a:gd name="T12" fmla="*/ 0 w 108"/>
                <a:gd name="T13" fmla="*/ 7 h 95"/>
                <a:gd name="T14" fmla="*/ 1 w 108"/>
                <a:gd name="T15" fmla="*/ 6 h 95"/>
                <a:gd name="T16" fmla="*/ 6 w 108"/>
                <a:gd name="T17" fmla="*/ 5 h 95"/>
                <a:gd name="T18" fmla="*/ 5 w 108"/>
                <a:gd name="T19" fmla="*/ 2 h 95"/>
                <a:gd name="T20" fmla="*/ 7 w 108"/>
                <a:gd name="T21" fmla="*/ 0 h 95"/>
                <a:gd name="T22" fmla="*/ 10 w 108"/>
                <a:gd name="T23" fmla="*/ 1 h 95"/>
                <a:gd name="T24" fmla="*/ 12 w 108"/>
                <a:gd name="T25" fmla="*/ 1 h 95"/>
                <a:gd name="T26" fmla="*/ 12 w 108"/>
                <a:gd name="T27" fmla="*/ 4 h 95"/>
                <a:gd name="T28" fmla="*/ 10 w 108"/>
                <a:gd name="T29" fmla="*/ 5 h 95"/>
                <a:gd name="T30" fmla="*/ 12 w 108"/>
                <a:gd name="T31" fmla="*/ 7 h 95"/>
                <a:gd name="T32" fmla="*/ 12 w 108"/>
                <a:gd name="T33" fmla="*/ 7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8" h="95">
                  <a:moveTo>
                    <a:pt x="105" y="55"/>
                  </a:moveTo>
                  <a:lnTo>
                    <a:pt x="108" y="60"/>
                  </a:lnTo>
                  <a:lnTo>
                    <a:pt x="86" y="68"/>
                  </a:lnTo>
                  <a:lnTo>
                    <a:pt x="80" y="82"/>
                  </a:lnTo>
                  <a:lnTo>
                    <a:pt x="61" y="95"/>
                  </a:lnTo>
                  <a:lnTo>
                    <a:pt x="25" y="87"/>
                  </a:lnTo>
                  <a:lnTo>
                    <a:pt x="0" y="62"/>
                  </a:lnTo>
                  <a:lnTo>
                    <a:pt x="8" y="50"/>
                  </a:lnTo>
                  <a:lnTo>
                    <a:pt x="60" y="37"/>
                  </a:lnTo>
                  <a:lnTo>
                    <a:pt x="48" y="17"/>
                  </a:lnTo>
                  <a:lnTo>
                    <a:pt x="61" y="0"/>
                  </a:lnTo>
                  <a:lnTo>
                    <a:pt x="88" y="10"/>
                  </a:lnTo>
                  <a:lnTo>
                    <a:pt x="100" y="8"/>
                  </a:lnTo>
                  <a:lnTo>
                    <a:pt x="98" y="33"/>
                  </a:lnTo>
                  <a:lnTo>
                    <a:pt x="88" y="48"/>
                  </a:lnTo>
                  <a:lnTo>
                    <a:pt x="105" y="5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6" name="Freeform 172"/>
            <p:cNvSpPr>
              <a:spLocks/>
            </p:cNvSpPr>
            <p:nvPr/>
          </p:nvSpPr>
          <p:spPr bwMode="auto">
            <a:xfrm>
              <a:off x="1272" y="2423"/>
              <a:ext cx="70" cy="62"/>
            </a:xfrm>
            <a:custGeom>
              <a:avLst/>
              <a:gdLst>
                <a:gd name="T0" fmla="*/ 12 w 108"/>
                <a:gd name="T1" fmla="*/ 7 h 95"/>
                <a:gd name="T2" fmla="*/ 12 w 108"/>
                <a:gd name="T3" fmla="*/ 7 h 95"/>
                <a:gd name="T4" fmla="*/ 10 w 108"/>
                <a:gd name="T5" fmla="*/ 8 h 95"/>
                <a:gd name="T6" fmla="*/ 9 w 108"/>
                <a:gd name="T7" fmla="*/ 10 h 95"/>
                <a:gd name="T8" fmla="*/ 7 w 108"/>
                <a:gd name="T9" fmla="*/ 11 h 95"/>
                <a:gd name="T10" fmla="*/ 3 w 108"/>
                <a:gd name="T11" fmla="*/ 10 h 95"/>
                <a:gd name="T12" fmla="*/ 0 w 108"/>
                <a:gd name="T13" fmla="*/ 7 h 95"/>
                <a:gd name="T14" fmla="*/ 1 w 108"/>
                <a:gd name="T15" fmla="*/ 6 h 95"/>
                <a:gd name="T16" fmla="*/ 6 w 108"/>
                <a:gd name="T17" fmla="*/ 5 h 95"/>
                <a:gd name="T18" fmla="*/ 5 w 108"/>
                <a:gd name="T19" fmla="*/ 2 h 95"/>
                <a:gd name="T20" fmla="*/ 7 w 108"/>
                <a:gd name="T21" fmla="*/ 0 h 95"/>
                <a:gd name="T22" fmla="*/ 10 w 108"/>
                <a:gd name="T23" fmla="*/ 1 h 95"/>
                <a:gd name="T24" fmla="*/ 12 w 108"/>
                <a:gd name="T25" fmla="*/ 1 h 95"/>
                <a:gd name="T26" fmla="*/ 12 w 108"/>
                <a:gd name="T27" fmla="*/ 4 h 95"/>
                <a:gd name="T28" fmla="*/ 10 w 108"/>
                <a:gd name="T29" fmla="*/ 5 h 95"/>
                <a:gd name="T30" fmla="*/ 12 w 108"/>
                <a:gd name="T31" fmla="*/ 7 h 95"/>
                <a:gd name="T32" fmla="*/ 12 w 108"/>
                <a:gd name="T33" fmla="*/ 7 h 9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8" h="95">
                  <a:moveTo>
                    <a:pt x="105" y="55"/>
                  </a:moveTo>
                  <a:lnTo>
                    <a:pt x="108" y="60"/>
                  </a:lnTo>
                  <a:lnTo>
                    <a:pt x="86" y="68"/>
                  </a:lnTo>
                  <a:lnTo>
                    <a:pt x="80" y="82"/>
                  </a:lnTo>
                  <a:lnTo>
                    <a:pt x="61" y="95"/>
                  </a:lnTo>
                  <a:lnTo>
                    <a:pt x="25" y="87"/>
                  </a:lnTo>
                  <a:lnTo>
                    <a:pt x="0" y="62"/>
                  </a:lnTo>
                  <a:lnTo>
                    <a:pt x="8" y="50"/>
                  </a:lnTo>
                  <a:lnTo>
                    <a:pt x="60" y="37"/>
                  </a:lnTo>
                  <a:lnTo>
                    <a:pt x="48" y="17"/>
                  </a:lnTo>
                  <a:lnTo>
                    <a:pt x="61" y="0"/>
                  </a:lnTo>
                  <a:lnTo>
                    <a:pt x="88" y="10"/>
                  </a:lnTo>
                  <a:lnTo>
                    <a:pt x="100" y="8"/>
                  </a:lnTo>
                  <a:lnTo>
                    <a:pt x="98" y="33"/>
                  </a:lnTo>
                  <a:lnTo>
                    <a:pt x="88" y="48"/>
                  </a:lnTo>
                  <a:lnTo>
                    <a:pt x="105" y="5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7" name="Freeform 173"/>
            <p:cNvSpPr>
              <a:spLocks/>
            </p:cNvSpPr>
            <p:nvPr/>
          </p:nvSpPr>
          <p:spPr bwMode="auto">
            <a:xfrm>
              <a:off x="1324" y="2464"/>
              <a:ext cx="79" cy="43"/>
            </a:xfrm>
            <a:custGeom>
              <a:avLst/>
              <a:gdLst>
                <a:gd name="T0" fmla="*/ 3 w 121"/>
                <a:gd name="T1" fmla="*/ 0 h 66"/>
                <a:gd name="T2" fmla="*/ 1 w 121"/>
                <a:gd name="T3" fmla="*/ 1 h 66"/>
                <a:gd name="T4" fmla="*/ 0 w 121"/>
                <a:gd name="T5" fmla="*/ 3 h 66"/>
                <a:gd name="T6" fmla="*/ 3 w 121"/>
                <a:gd name="T7" fmla="*/ 4 h 66"/>
                <a:gd name="T8" fmla="*/ 4 w 121"/>
                <a:gd name="T9" fmla="*/ 7 h 66"/>
                <a:gd name="T10" fmla="*/ 5 w 121"/>
                <a:gd name="T11" fmla="*/ 8 h 66"/>
                <a:gd name="T12" fmla="*/ 8 w 121"/>
                <a:gd name="T13" fmla="*/ 7 h 66"/>
                <a:gd name="T14" fmla="*/ 9 w 121"/>
                <a:gd name="T15" fmla="*/ 7 h 66"/>
                <a:gd name="T16" fmla="*/ 14 w 121"/>
                <a:gd name="T17" fmla="*/ 3 h 66"/>
                <a:gd name="T18" fmla="*/ 14 w 121"/>
                <a:gd name="T19" fmla="*/ 3 h 66"/>
                <a:gd name="T20" fmla="*/ 4 w 121"/>
                <a:gd name="T21" fmla="*/ 1 h 66"/>
                <a:gd name="T22" fmla="*/ 3 w 121"/>
                <a:gd name="T23" fmla="*/ 0 h 66"/>
                <a:gd name="T24" fmla="*/ 3 w 121"/>
                <a:gd name="T25" fmla="*/ 0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1" h="66">
                  <a:moveTo>
                    <a:pt x="28" y="0"/>
                  </a:moveTo>
                  <a:lnTo>
                    <a:pt x="6" y="5"/>
                  </a:lnTo>
                  <a:lnTo>
                    <a:pt x="0" y="21"/>
                  </a:lnTo>
                  <a:lnTo>
                    <a:pt x="31" y="33"/>
                  </a:lnTo>
                  <a:lnTo>
                    <a:pt x="33" y="61"/>
                  </a:lnTo>
                  <a:lnTo>
                    <a:pt x="35" y="66"/>
                  </a:lnTo>
                  <a:lnTo>
                    <a:pt x="65" y="58"/>
                  </a:lnTo>
                  <a:lnTo>
                    <a:pt x="78" y="60"/>
                  </a:lnTo>
                  <a:lnTo>
                    <a:pt x="121" y="30"/>
                  </a:lnTo>
                  <a:lnTo>
                    <a:pt x="118" y="25"/>
                  </a:lnTo>
                  <a:lnTo>
                    <a:pt x="33" y="1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8" name="Freeform 174"/>
            <p:cNvSpPr>
              <a:spLocks/>
            </p:cNvSpPr>
            <p:nvPr/>
          </p:nvSpPr>
          <p:spPr bwMode="auto">
            <a:xfrm>
              <a:off x="1324" y="2464"/>
              <a:ext cx="79" cy="43"/>
            </a:xfrm>
            <a:custGeom>
              <a:avLst/>
              <a:gdLst>
                <a:gd name="T0" fmla="*/ 3 w 121"/>
                <a:gd name="T1" fmla="*/ 0 h 66"/>
                <a:gd name="T2" fmla="*/ 1 w 121"/>
                <a:gd name="T3" fmla="*/ 1 h 66"/>
                <a:gd name="T4" fmla="*/ 0 w 121"/>
                <a:gd name="T5" fmla="*/ 3 h 66"/>
                <a:gd name="T6" fmla="*/ 3 w 121"/>
                <a:gd name="T7" fmla="*/ 4 h 66"/>
                <a:gd name="T8" fmla="*/ 4 w 121"/>
                <a:gd name="T9" fmla="*/ 7 h 66"/>
                <a:gd name="T10" fmla="*/ 5 w 121"/>
                <a:gd name="T11" fmla="*/ 8 h 66"/>
                <a:gd name="T12" fmla="*/ 8 w 121"/>
                <a:gd name="T13" fmla="*/ 7 h 66"/>
                <a:gd name="T14" fmla="*/ 9 w 121"/>
                <a:gd name="T15" fmla="*/ 7 h 66"/>
                <a:gd name="T16" fmla="*/ 14 w 121"/>
                <a:gd name="T17" fmla="*/ 3 h 66"/>
                <a:gd name="T18" fmla="*/ 14 w 121"/>
                <a:gd name="T19" fmla="*/ 3 h 66"/>
                <a:gd name="T20" fmla="*/ 4 w 121"/>
                <a:gd name="T21" fmla="*/ 1 h 66"/>
                <a:gd name="T22" fmla="*/ 3 w 121"/>
                <a:gd name="T23" fmla="*/ 0 h 66"/>
                <a:gd name="T24" fmla="*/ 3 w 121"/>
                <a:gd name="T25" fmla="*/ 0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1" h="66">
                  <a:moveTo>
                    <a:pt x="28" y="0"/>
                  </a:moveTo>
                  <a:lnTo>
                    <a:pt x="6" y="5"/>
                  </a:lnTo>
                  <a:lnTo>
                    <a:pt x="0" y="21"/>
                  </a:lnTo>
                  <a:lnTo>
                    <a:pt x="31" y="33"/>
                  </a:lnTo>
                  <a:lnTo>
                    <a:pt x="33" y="61"/>
                  </a:lnTo>
                  <a:lnTo>
                    <a:pt x="35" y="66"/>
                  </a:lnTo>
                  <a:lnTo>
                    <a:pt x="65" y="58"/>
                  </a:lnTo>
                  <a:lnTo>
                    <a:pt x="78" y="60"/>
                  </a:lnTo>
                  <a:lnTo>
                    <a:pt x="121" y="30"/>
                  </a:lnTo>
                  <a:lnTo>
                    <a:pt x="118" y="25"/>
                  </a:lnTo>
                  <a:lnTo>
                    <a:pt x="33" y="10"/>
                  </a:lnTo>
                  <a:lnTo>
                    <a:pt x="2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9" name="Freeform 175"/>
            <p:cNvSpPr>
              <a:spLocks/>
            </p:cNvSpPr>
            <p:nvPr/>
          </p:nvSpPr>
          <p:spPr bwMode="auto">
            <a:xfrm>
              <a:off x="1310" y="2477"/>
              <a:ext cx="36" cy="26"/>
            </a:xfrm>
            <a:custGeom>
              <a:avLst/>
              <a:gdLst>
                <a:gd name="T0" fmla="*/ 3 w 52"/>
                <a:gd name="T1" fmla="*/ 0 h 41"/>
                <a:gd name="T2" fmla="*/ 8 w 52"/>
                <a:gd name="T3" fmla="*/ 1 h 41"/>
                <a:gd name="T4" fmla="*/ 8 w 52"/>
                <a:gd name="T5" fmla="*/ 4 h 41"/>
                <a:gd name="T6" fmla="*/ 3 w 52"/>
                <a:gd name="T7" fmla="*/ 3 h 41"/>
                <a:gd name="T8" fmla="*/ 0 w 52"/>
                <a:gd name="T9" fmla="*/ 1 h 41"/>
                <a:gd name="T10" fmla="*/ 3 w 52"/>
                <a:gd name="T11" fmla="*/ 0 h 41"/>
                <a:gd name="T12" fmla="*/ 3 w 52"/>
                <a:gd name="T13" fmla="*/ 0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41">
                  <a:moveTo>
                    <a:pt x="17" y="0"/>
                  </a:moveTo>
                  <a:lnTo>
                    <a:pt x="50" y="13"/>
                  </a:lnTo>
                  <a:lnTo>
                    <a:pt x="52" y="41"/>
                  </a:lnTo>
                  <a:lnTo>
                    <a:pt x="22" y="30"/>
                  </a:lnTo>
                  <a:lnTo>
                    <a:pt x="0" y="13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" name="Freeform 176"/>
            <p:cNvSpPr>
              <a:spLocks/>
            </p:cNvSpPr>
            <p:nvPr/>
          </p:nvSpPr>
          <p:spPr bwMode="auto">
            <a:xfrm>
              <a:off x="1310" y="2477"/>
              <a:ext cx="36" cy="26"/>
            </a:xfrm>
            <a:custGeom>
              <a:avLst/>
              <a:gdLst>
                <a:gd name="T0" fmla="*/ 3 w 52"/>
                <a:gd name="T1" fmla="*/ 0 h 41"/>
                <a:gd name="T2" fmla="*/ 8 w 52"/>
                <a:gd name="T3" fmla="*/ 1 h 41"/>
                <a:gd name="T4" fmla="*/ 8 w 52"/>
                <a:gd name="T5" fmla="*/ 4 h 41"/>
                <a:gd name="T6" fmla="*/ 3 w 52"/>
                <a:gd name="T7" fmla="*/ 3 h 41"/>
                <a:gd name="T8" fmla="*/ 0 w 52"/>
                <a:gd name="T9" fmla="*/ 1 h 41"/>
                <a:gd name="T10" fmla="*/ 3 w 52"/>
                <a:gd name="T11" fmla="*/ 0 h 41"/>
                <a:gd name="T12" fmla="*/ 3 w 52"/>
                <a:gd name="T13" fmla="*/ 0 h 4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41">
                  <a:moveTo>
                    <a:pt x="17" y="0"/>
                  </a:moveTo>
                  <a:lnTo>
                    <a:pt x="50" y="13"/>
                  </a:lnTo>
                  <a:lnTo>
                    <a:pt x="52" y="41"/>
                  </a:lnTo>
                  <a:lnTo>
                    <a:pt x="22" y="30"/>
                  </a:lnTo>
                  <a:lnTo>
                    <a:pt x="0" y="13"/>
                  </a:lnTo>
                  <a:lnTo>
                    <a:pt x="1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1" name="Freeform 177"/>
            <p:cNvSpPr>
              <a:spLocks/>
            </p:cNvSpPr>
            <p:nvPr/>
          </p:nvSpPr>
          <p:spPr bwMode="auto">
            <a:xfrm>
              <a:off x="1348" y="2484"/>
              <a:ext cx="72" cy="68"/>
            </a:xfrm>
            <a:custGeom>
              <a:avLst/>
              <a:gdLst>
                <a:gd name="T0" fmla="*/ 3 w 115"/>
                <a:gd name="T1" fmla="*/ 13 h 102"/>
                <a:gd name="T2" fmla="*/ 5 w 115"/>
                <a:gd name="T3" fmla="*/ 13 h 102"/>
                <a:gd name="T4" fmla="*/ 6 w 115"/>
                <a:gd name="T5" fmla="*/ 13 h 102"/>
                <a:gd name="T6" fmla="*/ 7 w 115"/>
                <a:gd name="T7" fmla="*/ 13 h 102"/>
                <a:gd name="T8" fmla="*/ 7 w 115"/>
                <a:gd name="T9" fmla="*/ 10 h 102"/>
                <a:gd name="T10" fmla="*/ 11 w 115"/>
                <a:gd name="T11" fmla="*/ 4 h 102"/>
                <a:gd name="T12" fmla="*/ 11 w 115"/>
                <a:gd name="T13" fmla="*/ 2 h 102"/>
                <a:gd name="T14" fmla="*/ 8 w 115"/>
                <a:gd name="T15" fmla="*/ 0 h 102"/>
                <a:gd name="T16" fmla="*/ 4 w 115"/>
                <a:gd name="T17" fmla="*/ 4 h 102"/>
                <a:gd name="T18" fmla="*/ 3 w 115"/>
                <a:gd name="T19" fmla="*/ 3 h 102"/>
                <a:gd name="T20" fmla="*/ 0 w 115"/>
                <a:gd name="T21" fmla="*/ 5 h 102"/>
                <a:gd name="T22" fmla="*/ 3 w 115"/>
                <a:gd name="T23" fmla="*/ 10 h 102"/>
                <a:gd name="T24" fmla="*/ 3 w 115"/>
                <a:gd name="T25" fmla="*/ 11 h 102"/>
                <a:gd name="T26" fmla="*/ 3 w 115"/>
                <a:gd name="T27" fmla="*/ 13 h 102"/>
                <a:gd name="T28" fmla="*/ 3 w 115"/>
                <a:gd name="T29" fmla="*/ 13 h 1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5" h="102">
                  <a:moveTo>
                    <a:pt x="31" y="95"/>
                  </a:moveTo>
                  <a:lnTo>
                    <a:pt x="55" y="102"/>
                  </a:lnTo>
                  <a:lnTo>
                    <a:pt x="61" y="94"/>
                  </a:lnTo>
                  <a:lnTo>
                    <a:pt x="73" y="95"/>
                  </a:lnTo>
                  <a:lnTo>
                    <a:pt x="75" y="75"/>
                  </a:lnTo>
                  <a:lnTo>
                    <a:pt x="115" y="30"/>
                  </a:lnTo>
                  <a:lnTo>
                    <a:pt x="115" y="15"/>
                  </a:lnTo>
                  <a:lnTo>
                    <a:pt x="86" y="0"/>
                  </a:lnTo>
                  <a:lnTo>
                    <a:pt x="43" y="29"/>
                  </a:lnTo>
                  <a:lnTo>
                    <a:pt x="30" y="27"/>
                  </a:lnTo>
                  <a:lnTo>
                    <a:pt x="0" y="35"/>
                  </a:lnTo>
                  <a:lnTo>
                    <a:pt x="25" y="79"/>
                  </a:lnTo>
                  <a:lnTo>
                    <a:pt x="31" y="87"/>
                  </a:lnTo>
                  <a:lnTo>
                    <a:pt x="31" y="9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2" name="Freeform 178"/>
            <p:cNvSpPr>
              <a:spLocks/>
            </p:cNvSpPr>
            <p:nvPr/>
          </p:nvSpPr>
          <p:spPr bwMode="auto">
            <a:xfrm>
              <a:off x="1348" y="2484"/>
              <a:ext cx="72" cy="68"/>
            </a:xfrm>
            <a:custGeom>
              <a:avLst/>
              <a:gdLst>
                <a:gd name="T0" fmla="*/ 3 w 115"/>
                <a:gd name="T1" fmla="*/ 13 h 102"/>
                <a:gd name="T2" fmla="*/ 5 w 115"/>
                <a:gd name="T3" fmla="*/ 13 h 102"/>
                <a:gd name="T4" fmla="*/ 6 w 115"/>
                <a:gd name="T5" fmla="*/ 13 h 102"/>
                <a:gd name="T6" fmla="*/ 7 w 115"/>
                <a:gd name="T7" fmla="*/ 13 h 102"/>
                <a:gd name="T8" fmla="*/ 7 w 115"/>
                <a:gd name="T9" fmla="*/ 10 h 102"/>
                <a:gd name="T10" fmla="*/ 11 w 115"/>
                <a:gd name="T11" fmla="*/ 4 h 102"/>
                <a:gd name="T12" fmla="*/ 11 w 115"/>
                <a:gd name="T13" fmla="*/ 2 h 102"/>
                <a:gd name="T14" fmla="*/ 8 w 115"/>
                <a:gd name="T15" fmla="*/ 0 h 102"/>
                <a:gd name="T16" fmla="*/ 4 w 115"/>
                <a:gd name="T17" fmla="*/ 4 h 102"/>
                <a:gd name="T18" fmla="*/ 3 w 115"/>
                <a:gd name="T19" fmla="*/ 3 h 102"/>
                <a:gd name="T20" fmla="*/ 0 w 115"/>
                <a:gd name="T21" fmla="*/ 5 h 102"/>
                <a:gd name="T22" fmla="*/ 3 w 115"/>
                <a:gd name="T23" fmla="*/ 10 h 102"/>
                <a:gd name="T24" fmla="*/ 3 w 115"/>
                <a:gd name="T25" fmla="*/ 11 h 102"/>
                <a:gd name="T26" fmla="*/ 3 w 115"/>
                <a:gd name="T27" fmla="*/ 13 h 102"/>
                <a:gd name="T28" fmla="*/ 3 w 115"/>
                <a:gd name="T29" fmla="*/ 13 h 1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5" h="102">
                  <a:moveTo>
                    <a:pt x="31" y="95"/>
                  </a:moveTo>
                  <a:lnTo>
                    <a:pt x="55" y="102"/>
                  </a:lnTo>
                  <a:lnTo>
                    <a:pt x="61" y="94"/>
                  </a:lnTo>
                  <a:lnTo>
                    <a:pt x="73" y="95"/>
                  </a:lnTo>
                  <a:lnTo>
                    <a:pt x="75" y="75"/>
                  </a:lnTo>
                  <a:lnTo>
                    <a:pt x="115" y="30"/>
                  </a:lnTo>
                  <a:lnTo>
                    <a:pt x="115" y="15"/>
                  </a:lnTo>
                  <a:lnTo>
                    <a:pt x="86" y="0"/>
                  </a:lnTo>
                  <a:lnTo>
                    <a:pt x="43" y="29"/>
                  </a:lnTo>
                  <a:lnTo>
                    <a:pt x="30" y="27"/>
                  </a:lnTo>
                  <a:lnTo>
                    <a:pt x="0" y="35"/>
                  </a:lnTo>
                  <a:lnTo>
                    <a:pt x="25" y="79"/>
                  </a:lnTo>
                  <a:lnTo>
                    <a:pt x="31" y="87"/>
                  </a:lnTo>
                  <a:lnTo>
                    <a:pt x="31" y="9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3" name="Freeform 179"/>
            <p:cNvSpPr>
              <a:spLocks/>
            </p:cNvSpPr>
            <p:nvPr/>
          </p:nvSpPr>
          <p:spPr bwMode="auto">
            <a:xfrm>
              <a:off x="1366" y="2547"/>
              <a:ext cx="37" cy="47"/>
            </a:xfrm>
            <a:custGeom>
              <a:avLst/>
              <a:gdLst>
                <a:gd name="T0" fmla="*/ 1 w 61"/>
                <a:gd name="T1" fmla="*/ 1 h 71"/>
                <a:gd name="T2" fmla="*/ 2 w 61"/>
                <a:gd name="T3" fmla="*/ 1 h 71"/>
                <a:gd name="T4" fmla="*/ 2 w 61"/>
                <a:gd name="T5" fmla="*/ 0 h 71"/>
                <a:gd name="T6" fmla="*/ 4 w 61"/>
                <a:gd name="T7" fmla="*/ 1 h 71"/>
                <a:gd name="T8" fmla="*/ 3 w 61"/>
                <a:gd name="T9" fmla="*/ 4 h 71"/>
                <a:gd name="T10" fmla="*/ 5 w 61"/>
                <a:gd name="T11" fmla="*/ 6 h 71"/>
                <a:gd name="T12" fmla="*/ 5 w 61"/>
                <a:gd name="T13" fmla="*/ 7 h 71"/>
                <a:gd name="T14" fmla="*/ 5 w 61"/>
                <a:gd name="T15" fmla="*/ 9 h 71"/>
                <a:gd name="T16" fmla="*/ 4 w 61"/>
                <a:gd name="T17" fmla="*/ 9 h 71"/>
                <a:gd name="T18" fmla="*/ 0 w 61"/>
                <a:gd name="T19" fmla="*/ 2 h 71"/>
                <a:gd name="T20" fmla="*/ 1 w 61"/>
                <a:gd name="T21" fmla="*/ 1 h 71"/>
                <a:gd name="T22" fmla="*/ 1 w 61"/>
                <a:gd name="T23" fmla="*/ 1 h 7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1" h="71">
                  <a:moveTo>
                    <a:pt x="1" y="1"/>
                  </a:moveTo>
                  <a:lnTo>
                    <a:pt x="25" y="8"/>
                  </a:lnTo>
                  <a:lnTo>
                    <a:pt x="31" y="0"/>
                  </a:lnTo>
                  <a:lnTo>
                    <a:pt x="43" y="1"/>
                  </a:lnTo>
                  <a:lnTo>
                    <a:pt x="38" y="31"/>
                  </a:lnTo>
                  <a:lnTo>
                    <a:pt x="60" y="48"/>
                  </a:lnTo>
                  <a:lnTo>
                    <a:pt x="61" y="55"/>
                  </a:lnTo>
                  <a:lnTo>
                    <a:pt x="56" y="71"/>
                  </a:lnTo>
                  <a:lnTo>
                    <a:pt x="53" y="70"/>
                  </a:lnTo>
                  <a:lnTo>
                    <a:pt x="0" y="13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4" name="Freeform 180"/>
            <p:cNvSpPr>
              <a:spLocks/>
            </p:cNvSpPr>
            <p:nvPr/>
          </p:nvSpPr>
          <p:spPr bwMode="auto">
            <a:xfrm>
              <a:off x="1366" y="2547"/>
              <a:ext cx="37" cy="47"/>
            </a:xfrm>
            <a:custGeom>
              <a:avLst/>
              <a:gdLst>
                <a:gd name="T0" fmla="*/ 1 w 61"/>
                <a:gd name="T1" fmla="*/ 1 h 71"/>
                <a:gd name="T2" fmla="*/ 2 w 61"/>
                <a:gd name="T3" fmla="*/ 1 h 71"/>
                <a:gd name="T4" fmla="*/ 2 w 61"/>
                <a:gd name="T5" fmla="*/ 0 h 71"/>
                <a:gd name="T6" fmla="*/ 4 w 61"/>
                <a:gd name="T7" fmla="*/ 1 h 71"/>
                <a:gd name="T8" fmla="*/ 3 w 61"/>
                <a:gd name="T9" fmla="*/ 4 h 71"/>
                <a:gd name="T10" fmla="*/ 5 w 61"/>
                <a:gd name="T11" fmla="*/ 6 h 71"/>
                <a:gd name="T12" fmla="*/ 5 w 61"/>
                <a:gd name="T13" fmla="*/ 7 h 71"/>
                <a:gd name="T14" fmla="*/ 5 w 61"/>
                <a:gd name="T15" fmla="*/ 9 h 71"/>
                <a:gd name="T16" fmla="*/ 4 w 61"/>
                <a:gd name="T17" fmla="*/ 9 h 71"/>
                <a:gd name="T18" fmla="*/ 0 w 61"/>
                <a:gd name="T19" fmla="*/ 2 h 71"/>
                <a:gd name="T20" fmla="*/ 1 w 61"/>
                <a:gd name="T21" fmla="*/ 1 h 71"/>
                <a:gd name="T22" fmla="*/ 1 w 61"/>
                <a:gd name="T23" fmla="*/ 1 h 7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1" h="71">
                  <a:moveTo>
                    <a:pt x="1" y="1"/>
                  </a:moveTo>
                  <a:lnTo>
                    <a:pt x="25" y="8"/>
                  </a:lnTo>
                  <a:lnTo>
                    <a:pt x="31" y="0"/>
                  </a:lnTo>
                  <a:lnTo>
                    <a:pt x="43" y="1"/>
                  </a:lnTo>
                  <a:lnTo>
                    <a:pt x="38" y="31"/>
                  </a:lnTo>
                  <a:lnTo>
                    <a:pt x="60" y="48"/>
                  </a:lnTo>
                  <a:lnTo>
                    <a:pt x="61" y="55"/>
                  </a:lnTo>
                  <a:lnTo>
                    <a:pt x="56" y="71"/>
                  </a:lnTo>
                  <a:lnTo>
                    <a:pt x="53" y="70"/>
                  </a:lnTo>
                  <a:lnTo>
                    <a:pt x="0" y="13"/>
                  </a:lnTo>
                  <a:lnTo>
                    <a:pt x="1" y="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5" name="Freeform 181"/>
            <p:cNvSpPr>
              <a:spLocks/>
            </p:cNvSpPr>
            <p:nvPr/>
          </p:nvSpPr>
          <p:spPr bwMode="auto">
            <a:xfrm>
              <a:off x="1403" y="2578"/>
              <a:ext cx="87" cy="51"/>
            </a:xfrm>
            <a:custGeom>
              <a:avLst/>
              <a:gdLst>
                <a:gd name="T0" fmla="*/ 1 w 137"/>
                <a:gd name="T1" fmla="*/ 0 h 77"/>
                <a:gd name="T2" fmla="*/ 3 w 137"/>
                <a:gd name="T3" fmla="*/ 2 h 77"/>
                <a:gd name="T4" fmla="*/ 10 w 137"/>
                <a:gd name="T5" fmla="*/ 1 h 77"/>
                <a:gd name="T6" fmla="*/ 13 w 137"/>
                <a:gd name="T7" fmla="*/ 3 h 77"/>
                <a:gd name="T8" fmla="*/ 14 w 137"/>
                <a:gd name="T9" fmla="*/ 9 h 77"/>
                <a:gd name="T10" fmla="*/ 13 w 137"/>
                <a:gd name="T11" fmla="*/ 10 h 77"/>
                <a:gd name="T12" fmla="*/ 10 w 137"/>
                <a:gd name="T13" fmla="*/ 7 h 77"/>
                <a:gd name="T14" fmla="*/ 11 w 137"/>
                <a:gd name="T15" fmla="*/ 6 h 77"/>
                <a:gd name="T16" fmla="*/ 11 w 137"/>
                <a:gd name="T17" fmla="*/ 6 h 77"/>
                <a:gd name="T18" fmla="*/ 9 w 137"/>
                <a:gd name="T19" fmla="*/ 3 h 77"/>
                <a:gd name="T20" fmla="*/ 8 w 137"/>
                <a:gd name="T21" fmla="*/ 4 h 77"/>
                <a:gd name="T22" fmla="*/ 5 w 137"/>
                <a:gd name="T23" fmla="*/ 4 h 77"/>
                <a:gd name="T24" fmla="*/ 7 w 137"/>
                <a:gd name="T25" fmla="*/ 6 h 77"/>
                <a:gd name="T26" fmla="*/ 6 w 137"/>
                <a:gd name="T27" fmla="*/ 7 h 77"/>
                <a:gd name="T28" fmla="*/ 0 w 137"/>
                <a:gd name="T29" fmla="*/ 3 h 77"/>
                <a:gd name="T30" fmla="*/ 1 w 137"/>
                <a:gd name="T31" fmla="*/ 1 h 77"/>
                <a:gd name="T32" fmla="*/ 1 w 137"/>
                <a:gd name="T33" fmla="*/ 0 h 77"/>
                <a:gd name="T34" fmla="*/ 1 w 137"/>
                <a:gd name="T35" fmla="*/ 0 h 7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7" h="77">
                  <a:moveTo>
                    <a:pt x="5" y="0"/>
                  </a:moveTo>
                  <a:lnTo>
                    <a:pt x="30" y="17"/>
                  </a:lnTo>
                  <a:lnTo>
                    <a:pt x="89" y="2"/>
                  </a:lnTo>
                  <a:lnTo>
                    <a:pt x="129" y="27"/>
                  </a:lnTo>
                  <a:lnTo>
                    <a:pt x="137" y="67"/>
                  </a:lnTo>
                  <a:lnTo>
                    <a:pt x="124" y="77"/>
                  </a:lnTo>
                  <a:lnTo>
                    <a:pt x="99" y="53"/>
                  </a:lnTo>
                  <a:lnTo>
                    <a:pt x="107" y="45"/>
                  </a:lnTo>
                  <a:lnTo>
                    <a:pt x="109" y="42"/>
                  </a:lnTo>
                  <a:lnTo>
                    <a:pt x="85" y="23"/>
                  </a:lnTo>
                  <a:lnTo>
                    <a:pt x="74" y="28"/>
                  </a:lnTo>
                  <a:lnTo>
                    <a:pt x="50" y="30"/>
                  </a:lnTo>
                  <a:lnTo>
                    <a:pt x="72" y="48"/>
                  </a:lnTo>
                  <a:lnTo>
                    <a:pt x="57" y="53"/>
                  </a:lnTo>
                  <a:lnTo>
                    <a:pt x="0" y="23"/>
                  </a:lnTo>
                  <a:lnTo>
                    <a:pt x="7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6" name="Freeform 182"/>
            <p:cNvSpPr>
              <a:spLocks/>
            </p:cNvSpPr>
            <p:nvPr/>
          </p:nvSpPr>
          <p:spPr bwMode="auto">
            <a:xfrm>
              <a:off x="1403" y="2578"/>
              <a:ext cx="87" cy="51"/>
            </a:xfrm>
            <a:custGeom>
              <a:avLst/>
              <a:gdLst>
                <a:gd name="T0" fmla="*/ 1 w 137"/>
                <a:gd name="T1" fmla="*/ 0 h 77"/>
                <a:gd name="T2" fmla="*/ 3 w 137"/>
                <a:gd name="T3" fmla="*/ 2 h 77"/>
                <a:gd name="T4" fmla="*/ 10 w 137"/>
                <a:gd name="T5" fmla="*/ 1 h 77"/>
                <a:gd name="T6" fmla="*/ 13 w 137"/>
                <a:gd name="T7" fmla="*/ 3 h 77"/>
                <a:gd name="T8" fmla="*/ 14 w 137"/>
                <a:gd name="T9" fmla="*/ 9 h 77"/>
                <a:gd name="T10" fmla="*/ 13 w 137"/>
                <a:gd name="T11" fmla="*/ 10 h 77"/>
                <a:gd name="T12" fmla="*/ 10 w 137"/>
                <a:gd name="T13" fmla="*/ 7 h 77"/>
                <a:gd name="T14" fmla="*/ 11 w 137"/>
                <a:gd name="T15" fmla="*/ 6 h 77"/>
                <a:gd name="T16" fmla="*/ 11 w 137"/>
                <a:gd name="T17" fmla="*/ 6 h 77"/>
                <a:gd name="T18" fmla="*/ 9 w 137"/>
                <a:gd name="T19" fmla="*/ 3 h 77"/>
                <a:gd name="T20" fmla="*/ 8 w 137"/>
                <a:gd name="T21" fmla="*/ 4 h 77"/>
                <a:gd name="T22" fmla="*/ 5 w 137"/>
                <a:gd name="T23" fmla="*/ 4 h 77"/>
                <a:gd name="T24" fmla="*/ 7 w 137"/>
                <a:gd name="T25" fmla="*/ 6 h 77"/>
                <a:gd name="T26" fmla="*/ 6 w 137"/>
                <a:gd name="T27" fmla="*/ 7 h 77"/>
                <a:gd name="T28" fmla="*/ 0 w 137"/>
                <a:gd name="T29" fmla="*/ 3 h 77"/>
                <a:gd name="T30" fmla="*/ 1 w 137"/>
                <a:gd name="T31" fmla="*/ 1 h 77"/>
                <a:gd name="T32" fmla="*/ 1 w 137"/>
                <a:gd name="T33" fmla="*/ 0 h 77"/>
                <a:gd name="T34" fmla="*/ 1 w 137"/>
                <a:gd name="T35" fmla="*/ 0 h 7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7" h="77">
                  <a:moveTo>
                    <a:pt x="5" y="0"/>
                  </a:moveTo>
                  <a:lnTo>
                    <a:pt x="30" y="17"/>
                  </a:lnTo>
                  <a:lnTo>
                    <a:pt x="89" y="2"/>
                  </a:lnTo>
                  <a:lnTo>
                    <a:pt x="129" y="27"/>
                  </a:lnTo>
                  <a:lnTo>
                    <a:pt x="137" y="67"/>
                  </a:lnTo>
                  <a:lnTo>
                    <a:pt x="124" y="77"/>
                  </a:lnTo>
                  <a:lnTo>
                    <a:pt x="99" y="53"/>
                  </a:lnTo>
                  <a:lnTo>
                    <a:pt x="107" y="45"/>
                  </a:lnTo>
                  <a:lnTo>
                    <a:pt x="109" y="42"/>
                  </a:lnTo>
                  <a:lnTo>
                    <a:pt x="85" y="23"/>
                  </a:lnTo>
                  <a:lnTo>
                    <a:pt x="74" y="28"/>
                  </a:lnTo>
                  <a:lnTo>
                    <a:pt x="50" y="30"/>
                  </a:lnTo>
                  <a:lnTo>
                    <a:pt x="72" y="48"/>
                  </a:lnTo>
                  <a:lnTo>
                    <a:pt x="57" y="53"/>
                  </a:lnTo>
                  <a:lnTo>
                    <a:pt x="0" y="23"/>
                  </a:lnTo>
                  <a:lnTo>
                    <a:pt x="7" y="7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87" name="Group 183"/>
            <p:cNvGrpSpPr>
              <a:grpSpLocks/>
            </p:cNvGrpSpPr>
            <p:nvPr/>
          </p:nvGrpSpPr>
          <p:grpSpPr bwMode="auto">
            <a:xfrm>
              <a:off x="2339" y="2419"/>
              <a:ext cx="432" cy="348"/>
              <a:chOff x="1200" y="2133"/>
              <a:chExt cx="218" cy="268"/>
            </a:xfrm>
          </p:grpSpPr>
          <p:sp>
            <p:nvSpPr>
              <p:cNvPr id="501" name="Freeform 184"/>
              <p:cNvSpPr>
                <a:spLocks/>
              </p:cNvSpPr>
              <p:nvPr/>
            </p:nvSpPr>
            <p:spPr bwMode="auto">
              <a:xfrm>
                <a:off x="1211" y="2234"/>
                <a:ext cx="70" cy="63"/>
              </a:xfrm>
              <a:custGeom>
                <a:avLst/>
                <a:gdLst>
                  <a:gd name="T0" fmla="*/ 1 w 164"/>
                  <a:gd name="T1" fmla="*/ 1 h 116"/>
                  <a:gd name="T2" fmla="*/ 3 w 164"/>
                  <a:gd name="T3" fmla="*/ 0 h 116"/>
                  <a:gd name="T4" fmla="*/ 2 w 164"/>
                  <a:gd name="T5" fmla="*/ 1 h 116"/>
                  <a:gd name="T6" fmla="*/ 1 w 164"/>
                  <a:gd name="T7" fmla="*/ 1 h 116"/>
                  <a:gd name="T8" fmla="*/ 1 w 164"/>
                  <a:gd name="T9" fmla="*/ 3 h 116"/>
                  <a:gd name="T10" fmla="*/ 1 w 164"/>
                  <a:gd name="T11" fmla="*/ 4 h 116"/>
                  <a:gd name="T12" fmla="*/ 1 w 164"/>
                  <a:gd name="T13" fmla="*/ 5 h 116"/>
                  <a:gd name="T14" fmla="*/ 0 w 164"/>
                  <a:gd name="T15" fmla="*/ 5 h 116"/>
                  <a:gd name="T16" fmla="*/ 0 w 164"/>
                  <a:gd name="T17" fmla="*/ 5 h 116"/>
                  <a:gd name="T18" fmla="*/ 1 w 164"/>
                  <a:gd name="T19" fmla="*/ 1 h 116"/>
                  <a:gd name="T20" fmla="*/ 1 w 164"/>
                  <a:gd name="T21" fmla="*/ 1 h 116"/>
                  <a:gd name="T22" fmla="*/ 1 w 164"/>
                  <a:gd name="T23" fmla="*/ 1 h 1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4" h="116">
                    <a:moveTo>
                      <a:pt x="90" y="5"/>
                    </a:moveTo>
                    <a:lnTo>
                      <a:pt x="164" y="0"/>
                    </a:lnTo>
                    <a:lnTo>
                      <a:pt x="157" y="18"/>
                    </a:lnTo>
                    <a:lnTo>
                      <a:pt x="105" y="23"/>
                    </a:lnTo>
                    <a:lnTo>
                      <a:pt x="94" y="70"/>
                    </a:lnTo>
                    <a:lnTo>
                      <a:pt x="70" y="75"/>
                    </a:lnTo>
                    <a:lnTo>
                      <a:pt x="65" y="108"/>
                    </a:lnTo>
                    <a:lnTo>
                      <a:pt x="3" y="116"/>
                    </a:lnTo>
                    <a:lnTo>
                      <a:pt x="0" y="106"/>
                    </a:lnTo>
                    <a:lnTo>
                      <a:pt x="62" y="26"/>
                    </a:lnTo>
                    <a:lnTo>
                      <a:pt x="90" y="5"/>
                    </a:lnTo>
                    <a:close/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2" name="Freeform 185"/>
              <p:cNvSpPr>
                <a:spLocks/>
              </p:cNvSpPr>
              <p:nvPr/>
            </p:nvSpPr>
            <p:spPr bwMode="auto">
              <a:xfrm>
                <a:off x="1211" y="2234"/>
                <a:ext cx="70" cy="63"/>
              </a:xfrm>
              <a:custGeom>
                <a:avLst/>
                <a:gdLst>
                  <a:gd name="T0" fmla="*/ 1 w 164"/>
                  <a:gd name="T1" fmla="*/ 1 h 116"/>
                  <a:gd name="T2" fmla="*/ 3 w 164"/>
                  <a:gd name="T3" fmla="*/ 0 h 116"/>
                  <a:gd name="T4" fmla="*/ 2 w 164"/>
                  <a:gd name="T5" fmla="*/ 1 h 116"/>
                  <a:gd name="T6" fmla="*/ 1 w 164"/>
                  <a:gd name="T7" fmla="*/ 1 h 116"/>
                  <a:gd name="T8" fmla="*/ 1 w 164"/>
                  <a:gd name="T9" fmla="*/ 3 h 116"/>
                  <a:gd name="T10" fmla="*/ 1 w 164"/>
                  <a:gd name="T11" fmla="*/ 4 h 116"/>
                  <a:gd name="T12" fmla="*/ 1 w 164"/>
                  <a:gd name="T13" fmla="*/ 5 h 116"/>
                  <a:gd name="T14" fmla="*/ 0 w 164"/>
                  <a:gd name="T15" fmla="*/ 5 h 116"/>
                  <a:gd name="T16" fmla="*/ 0 w 164"/>
                  <a:gd name="T17" fmla="*/ 5 h 116"/>
                  <a:gd name="T18" fmla="*/ 1 w 164"/>
                  <a:gd name="T19" fmla="*/ 1 h 116"/>
                  <a:gd name="T20" fmla="*/ 1 w 164"/>
                  <a:gd name="T21" fmla="*/ 1 h 116"/>
                  <a:gd name="T22" fmla="*/ 1 w 164"/>
                  <a:gd name="T23" fmla="*/ 1 h 1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64" h="116">
                    <a:moveTo>
                      <a:pt x="90" y="5"/>
                    </a:moveTo>
                    <a:lnTo>
                      <a:pt x="164" y="0"/>
                    </a:lnTo>
                    <a:lnTo>
                      <a:pt x="157" y="18"/>
                    </a:lnTo>
                    <a:lnTo>
                      <a:pt x="105" y="23"/>
                    </a:lnTo>
                    <a:lnTo>
                      <a:pt x="94" y="70"/>
                    </a:lnTo>
                    <a:lnTo>
                      <a:pt x="70" y="75"/>
                    </a:lnTo>
                    <a:lnTo>
                      <a:pt x="65" y="108"/>
                    </a:lnTo>
                    <a:lnTo>
                      <a:pt x="3" y="116"/>
                    </a:lnTo>
                    <a:lnTo>
                      <a:pt x="0" y="106"/>
                    </a:lnTo>
                    <a:lnTo>
                      <a:pt x="62" y="26"/>
                    </a:lnTo>
                    <a:lnTo>
                      <a:pt x="90" y="5"/>
                    </a:lnTo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3" name="Freeform 186"/>
              <p:cNvSpPr>
                <a:spLocks/>
              </p:cNvSpPr>
              <p:nvPr/>
            </p:nvSpPr>
            <p:spPr bwMode="auto">
              <a:xfrm>
                <a:off x="1249" y="2145"/>
                <a:ext cx="93" cy="91"/>
              </a:xfrm>
              <a:custGeom>
                <a:avLst/>
                <a:gdLst>
                  <a:gd name="T0" fmla="*/ 0 w 218"/>
                  <a:gd name="T1" fmla="*/ 8 h 167"/>
                  <a:gd name="T2" fmla="*/ 1 w 218"/>
                  <a:gd name="T3" fmla="*/ 5 h 167"/>
                  <a:gd name="T4" fmla="*/ 1 w 218"/>
                  <a:gd name="T5" fmla="*/ 4 h 167"/>
                  <a:gd name="T6" fmla="*/ 1 w 218"/>
                  <a:gd name="T7" fmla="*/ 3 h 167"/>
                  <a:gd name="T8" fmla="*/ 2 w 218"/>
                  <a:gd name="T9" fmla="*/ 1 h 167"/>
                  <a:gd name="T10" fmla="*/ 2 w 218"/>
                  <a:gd name="T11" fmla="*/ 0 h 167"/>
                  <a:gd name="T12" fmla="*/ 3 w 218"/>
                  <a:gd name="T13" fmla="*/ 1 h 167"/>
                  <a:gd name="T14" fmla="*/ 3 w 218"/>
                  <a:gd name="T15" fmla="*/ 1 h 167"/>
                  <a:gd name="T16" fmla="*/ 3 w 218"/>
                  <a:gd name="T17" fmla="*/ 3 h 167"/>
                  <a:gd name="T18" fmla="*/ 3 w 218"/>
                  <a:gd name="T19" fmla="*/ 3 h 167"/>
                  <a:gd name="T20" fmla="*/ 2 w 218"/>
                  <a:gd name="T21" fmla="*/ 5 h 167"/>
                  <a:gd name="T22" fmla="*/ 1 w 218"/>
                  <a:gd name="T23" fmla="*/ 6 h 167"/>
                  <a:gd name="T24" fmla="*/ 1 w 218"/>
                  <a:gd name="T25" fmla="*/ 8 h 167"/>
                  <a:gd name="T26" fmla="*/ 0 w 218"/>
                  <a:gd name="T27" fmla="*/ 8 h 167"/>
                  <a:gd name="T28" fmla="*/ 0 w 218"/>
                  <a:gd name="T29" fmla="*/ 8 h 167"/>
                  <a:gd name="T30" fmla="*/ 0 w 218"/>
                  <a:gd name="T31" fmla="*/ 8 h 16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18" h="167">
                    <a:moveTo>
                      <a:pt x="0" y="167"/>
                    </a:moveTo>
                    <a:lnTo>
                      <a:pt x="71" y="112"/>
                    </a:lnTo>
                    <a:lnTo>
                      <a:pt x="73" y="90"/>
                    </a:lnTo>
                    <a:lnTo>
                      <a:pt x="101" y="53"/>
                    </a:lnTo>
                    <a:lnTo>
                      <a:pt x="145" y="28"/>
                    </a:lnTo>
                    <a:lnTo>
                      <a:pt x="158" y="0"/>
                    </a:lnTo>
                    <a:lnTo>
                      <a:pt x="195" y="18"/>
                    </a:lnTo>
                    <a:lnTo>
                      <a:pt x="218" y="15"/>
                    </a:lnTo>
                    <a:lnTo>
                      <a:pt x="216" y="65"/>
                    </a:lnTo>
                    <a:lnTo>
                      <a:pt x="191" y="70"/>
                    </a:lnTo>
                    <a:lnTo>
                      <a:pt x="143" y="115"/>
                    </a:lnTo>
                    <a:lnTo>
                      <a:pt x="96" y="125"/>
                    </a:lnTo>
                    <a:lnTo>
                      <a:pt x="75" y="162"/>
                    </a:lnTo>
                    <a:lnTo>
                      <a:pt x="3" y="167"/>
                    </a:lnTo>
                    <a:lnTo>
                      <a:pt x="0" y="167"/>
                    </a:lnTo>
                    <a:close/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4" name="Freeform 187"/>
              <p:cNvSpPr>
                <a:spLocks/>
              </p:cNvSpPr>
              <p:nvPr/>
            </p:nvSpPr>
            <p:spPr bwMode="auto">
              <a:xfrm>
                <a:off x="1249" y="2145"/>
                <a:ext cx="93" cy="91"/>
              </a:xfrm>
              <a:custGeom>
                <a:avLst/>
                <a:gdLst>
                  <a:gd name="T0" fmla="*/ 0 w 218"/>
                  <a:gd name="T1" fmla="*/ 8 h 167"/>
                  <a:gd name="T2" fmla="*/ 1 w 218"/>
                  <a:gd name="T3" fmla="*/ 5 h 167"/>
                  <a:gd name="T4" fmla="*/ 1 w 218"/>
                  <a:gd name="T5" fmla="*/ 4 h 167"/>
                  <a:gd name="T6" fmla="*/ 1 w 218"/>
                  <a:gd name="T7" fmla="*/ 3 h 167"/>
                  <a:gd name="T8" fmla="*/ 2 w 218"/>
                  <a:gd name="T9" fmla="*/ 1 h 167"/>
                  <a:gd name="T10" fmla="*/ 2 w 218"/>
                  <a:gd name="T11" fmla="*/ 0 h 167"/>
                  <a:gd name="T12" fmla="*/ 3 w 218"/>
                  <a:gd name="T13" fmla="*/ 1 h 167"/>
                  <a:gd name="T14" fmla="*/ 3 w 218"/>
                  <a:gd name="T15" fmla="*/ 1 h 167"/>
                  <a:gd name="T16" fmla="*/ 3 w 218"/>
                  <a:gd name="T17" fmla="*/ 3 h 167"/>
                  <a:gd name="T18" fmla="*/ 3 w 218"/>
                  <a:gd name="T19" fmla="*/ 3 h 167"/>
                  <a:gd name="T20" fmla="*/ 2 w 218"/>
                  <a:gd name="T21" fmla="*/ 5 h 167"/>
                  <a:gd name="T22" fmla="*/ 1 w 218"/>
                  <a:gd name="T23" fmla="*/ 6 h 167"/>
                  <a:gd name="T24" fmla="*/ 1 w 218"/>
                  <a:gd name="T25" fmla="*/ 8 h 167"/>
                  <a:gd name="T26" fmla="*/ 0 w 218"/>
                  <a:gd name="T27" fmla="*/ 8 h 167"/>
                  <a:gd name="T28" fmla="*/ 0 w 218"/>
                  <a:gd name="T29" fmla="*/ 8 h 167"/>
                  <a:gd name="T30" fmla="*/ 0 w 218"/>
                  <a:gd name="T31" fmla="*/ 8 h 16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18" h="167">
                    <a:moveTo>
                      <a:pt x="0" y="167"/>
                    </a:moveTo>
                    <a:lnTo>
                      <a:pt x="71" y="112"/>
                    </a:lnTo>
                    <a:lnTo>
                      <a:pt x="73" y="90"/>
                    </a:lnTo>
                    <a:lnTo>
                      <a:pt x="101" y="53"/>
                    </a:lnTo>
                    <a:lnTo>
                      <a:pt x="145" y="28"/>
                    </a:lnTo>
                    <a:lnTo>
                      <a:pt x="158" y="0"/>
                    </a:lnTo>
                    <a:lnTo>
                      <a:pt x="195" y="18"/>
                    </a:lnTo>
                    <a:lnTo>
                      <a:pt x="218" y="15"/>
                    </a:lnTo>
                    <a:lnTo>
                      <a:pt x="216" y="65"/>
                    </a:lnTo>
                    <a:lnTo>
                      <a:pt x="191" y="70"/>
                    </a:lnTo>
                    <a:lnTo>
                      <a:pt x="143" y="115"/>
                    </a:lnTo>
                    <a:lnTo>
                      <a:pt x="96" y="125"/>
                    </a:lnTo>
                    <a:lnTo>
                      <a:pt x="75" y="162"/>
                    </a:lnTo>
                    <a:lnTo>
                      <a:pt x="3" y="167"/>
                    </a:lnTo>
                    <a:lnTo>
                      <a:pt x="0" y="167"/>
                    </a:lnTo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5" name="Freeform 188"/>
              <p:cNvSpPr>
                <a:spLocks/>
              </p:cNvSpPr>
              <p:nvPr/>
            </p:nvSpPr>
            <p:spPr bwMode="auto">
              <a:xfrm>
                <a:off x="1209" y="2234"/>
                <a:ext cx="95" cy="128"/>
              </a:xfrm>
              <a:custGeom>
                <a:avLst/>
                <a:gdLst>
                  <a:gd name="T0" fmla="*/ 3 w 224"/>
                  <a:gd name="T1" fmla="*/ 0 h 233"/>
                  <a:gd name="T2" fmla="*/ 3 w 224"/>
                  <a:gd name="T3" fmla="*/ 2 h 233"/>
                  <a:gd name="T4" fmla="*/ 3 w 224"/>
                  <a:gd name="T5" fmla="*/ 2 h 233"/>
                  <a:gd name="T6" fmla="*/ 3 w 224"/>
                  <a:gd name="T7" fmla="*/ 10 h 233"/>
                  <a:gd name="T8" fmla="*/ 3 w 224"/>
                  <a:gd name="T9" fmla="*/ 10 h 233"/>
                  <a:gd name="T10" fmla="*/ 3 w 224"/>
                  <a:gd name="T11" fmla="*/ 10 h 233"/>
                  <a:gd name="T12" fmla="*/ 2 w 224"/>
                  <a:gd name="T13" fmla="*/ 11 h 233"/>
                  <a:gd name="T14" fmla="*/ 2 w 224"/>
                  <a:gd name="T15" fmla="*/ 10 h 233"/>
                  <a:gd name="T16" fmla="*/ 2 w 224"/>
                  <a:gd name="T17" fmla="*/ 11 h 233"/>
                  <a:gd name="T18" fmla="*/ 1 w 224"/>
                  <a:gd name="T19" fmla="*/ 11 h 233"/>
                  <a:gd name="T20" fmla="*/ 1 w 224"/>
                  <a:gd name="T21" fmla="*/ 10 h 233"/>
                  <a:gd name="T22" fmla="*/ 1 w 224"/>
                  <a:gd name="T23" fmla="*/ 12 h 233"/>
                  <a:gd name="T24" fmla="*/ 1 w 224"/>
                  <a:gd name="T25" fmla="*/ 12 h 233"/>
                  <a:gd name="T26" fmla="*/ 0 w 224"/>
                  <a:gd name="T27" fmla="*/ 10 h 233"/>
                  <a:gd name="T28" fmla="*/ 0 w 224"/>
                  <a:gd name="T29" fmla="*/ 10 h 233"/>
                  <a:gd name="T30" fmla="*/ 0 w 224"/>
                  <a:gd name="T31" fmla="*/ 10 h 233"/>
                  <a:gd name="T32" fmla="*/ 0 w 224"/>
                  <a:gd name="T33" fmla="*/ 10 h 233"/>
                  <a:gd name="T34" fmla="*/ 0 w 224"/>
                  <a:gd name="T35" fmla="*/ 7 h 233"/>
                  <a:gd name="T36" fmla="*/ 0 w 224"/>
                  <a:gd name="T37" fmla="*/ 7 h 233"/>
                  <a:gd name="T38" fmla="*/ 0 w 224"/>
                  <a:gd name="T39" fmla="*/ 5 h 233"/>
                  <a:gd name="T40" fmla="*/ 1 w 224"/>
                  <a:gd name="T41" fmla="*/ 5 h 233"/>
                  <a:gd name="T42" fmla="*/ 1 w 224"/>
                  <a:gd name="T43" fmla="*/ 4 h 233"/>
                  <a:gd name="T44" fmla="*/ 1 w 224"/>
                  <a:gd name="T45" fmla="*/ 4 h 233"/>
                  <a:gd name="T46" fmla="*/ 1 w 224"/>
                  <a:gd name="T47" fmla="*/ 1 h 233"/>
                  <a:gd name="T48" fmla="*/ 2 w 224"/>
                  <a:gd name="T49" fmla="*/ 1 h 233"/>
                  <a:gd name="T50" fmla="*/ 3 w 224"/>
                  <a:gd name="T51" fmla="*/ 0 h 233"/>
                  <a:gd name="T52" fmla="*/ 3 w 224"/>
                  <a:gd name="T53" fmla="*/ 0 h 23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24" h="233">
                    <a:moveTo>
                      <a:pt x="169" y="0"/>
                    </a:moveTo>
                    <a:lnTo>
                      <a:pt x="224" y="41"/>
                    </a:lnTo>
                    <a:lnTo>
                      <a:pt x="195" y="40"/>
                    </a:lnTo>
                    <a:lnTo>
                      <a:pt x="182" y="191"/>
                    </a:lnTo>
                    <a:lnTo>
                      <a:pt x="200" y="191"/>
                    </a:lnTo>
                    <a:lnTo>
                      <a:pt x="199" y="213"/>
                    </a:lnTo>
                    <a:lnTo>
                      <a:pt x="135" y="215"/>
                    </a:lnTo>
                    <a:lnTo>
                      <a:pt x="129" y="203"/>
                    </a:lnTo>
                    <a:lnTo>
                      <a:pt x="120" y="223"/>
                    </a:lnTo>
                    <a:lnTo>
                      <a:pt x="97" y="225"/>
                    </a:lnTo>
                    <a:lnTo>
                      <a:pt x="92" y="213"/>
                    </a:lnTo>
                    <a:lnTo>
                      <a:pt x="87" y="233"/>
                    </a:lnTo>
                    <a:lnTo>
                      <a:pt x="73" y="233"/>
                    </a:lnTo>
                    <a:lnTo>
                      <a:pt x="35" y="200"/>
                    </a:lnTo>
                    <a:lnTo>
                      <a:pt x="20" y="210"/>
                    </a:lnTo>
                    <a:lnTo>
                      <a:pt x="0" y="210"/>
                    </a:lnTo>
                    <a:lnTo>
                      <a:pt x="10" y="193"/>
                    </a:lnTo>
                    <a:lnTo>
                      <a:pt x="8" y="145"/>
                    </a:lnTo>
                    <a:lnTo>
                      <a:pt x="15" y="131"/>
                    </a:lnTo>
                    <a:lnTo>
                      <a:pt x="10" y="116"/>
                    </a:lnTo>
                    <a:lnTo>
                      <a:pt x="70" y="108"/>
                    </a:lnTo>
                    <a:lnTo>
                      <a:pt x="75" y="75"/>
                    </a:lnTo>
                    <a:lnTo>
                      <a:pt x="99" y="70"/>
                    </a:lnTo>
                    <a:lnTo>
                      <a:pt x="110" y="23"/>
                    </a:lnTo>
                    <a:lnTo>
                      <a:pt x="162" y="18"/>
                    </a:lnTo>
                    <a:lnTo>
                      <a:pt x="169" y="0"/>
                    </a:lnTo>
                    <a:close/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6" name="Freeform 189"/>
              <p:cNvSpPr>
                <a:spLocks/>
              </p:cNvSpPr>
              <p:nvPr/>
            </p:nvSpPr>
            <p:spPr bwMode="auto">
              <a:xfrm>
                <a:off x="1209" y="2234"/>
                <a:ext cx="95" cy="128"/>
              </a:xfrm>
              <a:custGeom>
                <a:avLst/>
                <a:gdLst>
                  <a:gd name="T0" fmla="*/ 3 w 224"/>
                  <a:gd name="T1" fmla="*/ 0 h 233"/>
                  <a:gd name="T2" fmla="*/ 3 w 224"/>
                  <a:gd name="T3" fmla="*/ 2 h 233"/>
                  <a:gd name="T4" fmla="*/ 3 w 224"/>
                  <a:gd name="T5" fmla="*/ 2 h 233"/>
                  <a:gd name="T6" fmla="*/ 3 w 224"/>
                  <a:gd name="T7" fmla="*/ 10 h 233"/>
                  <a:gd name="T8" fmla="*/ 3 w 224"/>
                  <a:gd name="T9" fmla="*/ 10 h 233"/>
                  <a:gd name="T10" fmla="*/ 3 w 224"/>
                  <a:gd name="T11" fmla="*/ 10 h 233"/>
                  <a:gd name="T12" fmla="*/ 2 w 224"/>
                  <a:gd name="T13" fmla="*/ 11 h 233"/>
                  <a:gd name="T14" fmla="*/ 2 w 224"/>
                  <a:gd name="T15" fmla="*/ 10 h 233"/>
                  <a:gd name="T16" fmla="*/ 2 w 224"/>
                  <a:gd name="T17" fmla="*/ 11 h 233"/>
                  <a:gd name="T18" fmla="*/ 1 w 224"/>
                  <a:gd name="T19" fmla="*/ 11 h 233"/>
                  <a:gd name="T20" fmla="*/ 1 w 224"/>
                  <a:gd name="T21" fmla="*/ 10 h 233"/>
                  <a:gd name="T22" fmla="*/ 1 w 224"/>
                  <a:gd name="T23" fmla="*/ 12 h 233"/>
                  <a:gd name="T24" fmla="*/ 1 w 224"/>
                  <a:gd name="T25" fmla="*/ 12 h 233"/>
                  <a:gd name="T26" fmla="*/ 0 w 224"/>
                  <a:gd name="T27" fmla="*/ 10 h 233"/>
                  <a:gd name="T28" fmla="*/ 0 w 224"/>
                  <a:gd name="T29" fmla="*/ 10 h 233"/>
                  <a:gd name="T30" fmla="*/ 0 w 224"/>
                  <a:gd name="T31" fmla="*/ 10 h 233"/>
                  <a:gd name="T32" fmla="*/ 0 w 224"/>
                  <a:gd name="T33" fmla="*/ 10 h 233"/>
                  <a:gd name="T34" fmla="*/ 0 w 224"/>
                  <a:gd name="T35" fmla="*/ 7 h 233"/>
                  <a:gd name="T36" fmla="*/ 0 w 224"/>
                  <a:gd name="T37" fmla="*/ 7 h 233"/>
                  <a:gd name="T38" fmla="*/ 0 w 224"/>
                  <a:gd name="T39" fmla="*/ 5 h 233"/>
                  <a:gd name="T40" fmla="*/ 1 w 224"/>
                  <a:gd name="T41" fmla="*/ 5 h 233"/>
                  <a:gd name="T42" fmla="*/ 1 w 224"/>
                  <a:gd name="T43" fmla="*/ 4 h 233"/>
                  <a:gd name="T44" fmla="*/ 1 w 224"/>
                  <a:gd name="T45" fmla="*/ 4 h 233"/>
                  <a:gd name="T46" fmla="*/ 1 w 224"/>
                  <a:gd name="T47" fmla="*/ 1 h 233"/>
                  <a:gd name="T48" fmla="*/ 2 w 224"/>
                  <a:gd name="T49" fmla="*/ 1 h 233"/>
                  <a:gd name="T50" fmla="*/ 3 w 224"/>
                  <a:gd name="T51" fmla="*/ 0 h 233"/>
                  <a:gd name="T52" fmla="*/ 3 w 224"/>
                  <a:gd name="T53" fmla="*/ 0 h 23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24" h="233">
                    <a:moveTo>
                      <a:pt x="169" y="0"/>
                    </a:moveTo>
                    <a:lnTo>
                      <a:pt x="224" y="41"/>
                    </a:lnTo>
                    <a:lnTo>
                      <a:pt x="195" y="40"/>
                    </a:lnTo>
                    <a:lnTo>
                      <a:pt x="182" y="191"/>
                    </a:lnTo>
                    <a:lnTo>
                      <a:pt x="200" y="191"/>
                    </a:lnTo>
                    <a:lnTo>
                      <a:pt x="199" y="213"/>
                    </a:lnTo>
                    <a:lnTo>
                      <a:pt x="135" y="215"/>
                    </a:lnTo>
                    <a:lnTo>
                      <a:pt x="129" y="203"/>
                    </a:lnTo>
                    <a:lnTo>
                      <a:pt x="120" y="223"/>
                    </a:lnTo>
                    <a:lnTo>
                      <a:pt x="97" y="225"/>
                    </a:lnTo>
                    <a:lnTo>
                      <a:pt x="92" y="213"/>
                    </a:lnTo>
                    <a:lnTo>
                      <a:pt x="87" y="233"/>
                    </a:lnTo>
                    <a:lnTo>
                      <a:pt x="73" y="233"/>
                    </a:lnTo>
                    <a:lnTo>
                      <a:pt x="35" y="200"/>
                    </a:lnTo>
                    <a:lnTo>
                      <a:pt x="20" y="210"/>
                    </a:lnTo>
                    <a:lnTo>
                      <a:pt x="0" y="210"/>
                    </a:lnTo>
                    <a:lnTo>
                      <a:pt x="10" y="193"/>
                    </a:lnTo>
                    <a:lnTo>
                      <a:pt x="8" y="145"/>
                    </a:lnTo>
                    <a:lnTo>
                      <a:pt x="15" y="131"/>
                    </a:lnTo>
                    <a:lnTo>
                      <a:pt x="10" y="116"/>
                    </a:lnTo>
                    <a:lnTo>
                      <a:pt x="70" y="108"/>
                    </a:lnTo>
                    <a:lnTo>
                      <a:pt x="75" y="75"/>
                    </a:lnTo>
                    <a:lnTo>
                      <a:pt x="99" y="70"/>
                    </a:lnTo>
                    <a:lnTo>
                      <a:pt x="110" y="23"/>
                    </a:lnTo>
                    <a:lnTo>
                      <a:pt x="162" y="18"/>
                    </a:lnTo>
                    <a:lnTo>
                      <a:pt x="169" y="0"/>
                    </a:lnTo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7" name="Freeform 190"/>
              <p:cNvSpPr>
                <a:spLocks/>
              </p:cNvSpPr>
              <p:nvPr/>
            </p:nvSpPr>
            <p:spPr bwMode="auto">
              <a:xfrm>
                <a:off x="1281" y="2133"/>
                <a:ext cx="137" cy="183"/>
              </a:xfrm>
              <a:custGeom>
                <a:avLst/>
                <a:gdLst>
                  <a:gd name="T0" fmla="*/ 0 w 321"/>
                  <a:gd name="T1" fmla="*/ 9 h 334"/>
                  <a:gd name="T2" fmla="*/ 3 w 321"/>
                  <a:gd name="T3" fmla="*/ 15 h 334"/>
                  <a:gd name="T4" fmla="*/ 3 w 321"/>
                  <a:gd name="T5" fmla="*/ 15 h 334"/>
                  <a:gd name="T6" fmla="*/ 3 w 321"/>
                  <a:gd name="T7" fmla="*/ 16 h 334"/>
                  <a:gd name="T8" fmla="*/ 3 w 321"/>
                  <a:gd name="T9" fmla="*/ 16 h 334"/>
                  <a:gd name="T10" fmla="*/ 5 w 321"/>
                  <a:gd name="T11" fmla="*/ 13 h 334"/>
                  <a:gd name="T12" fmla="*/ 4 w 321"/>
                  <a:gd name="T13" fmla="*/ 12 h 334"/>
                  <a:gd name="T14" fmla="*/ 4 w 321"/>
                  <a:gd name="T15" fmla="*/ 10 h 334"/>
                  <a:gd name="T16" fmla="*/ 4 w 321"/>
                  <a:gd name="T17" fmla="*/ 8 h 334"/>
                  <a:gd name="T18" fmla="*/ 4 w 321"/>
                  <a:gd name="T19" fmla="*/ 7 h 334"/>
                  <a:gd name="T20" fmla="*/ 4 w 321"/>
                  <a:gd name="T21" fmla="*/ 6 h 334"/>
                  <a:gd name="T22" fmla="*/ 4 w 321"/>
                  <a:gd name="T23" fmla="*/ 3 h 334"/>
                  <a:gd name="T24" fmla="*/ 4 w 321"/>
                  <a:gd name="T25" fmla="*/ 2 h 334"/>
                  <a:gd name="T26" fmla="*/ 4 w 321"/>
                  <a:gd name="T27" fmla="*/ 0 h 334"/>
                  <a:gd name="T28" fmla="*/ 3 w 321"/>
                  <a:gd name="T29" fmla="*/ 1 h 334"/>
                  <a:gd name="T30" fmla="*/ 3 w 321"/>
                  <a:gd name="T31" fmla="*/ 1 h 334"/>
                  <a:gd name="T32" fmla="*/ 2 w 321"/>
                  <a:gd name="T33" fmla="*/ 2 h 334"/>
                  <a:gd name="T34" fmla="*/ 2 w 321"/>
                  <a:gd name="T35" fmla="*/ 4 h 334"/>
                  <a:gd name="T36" fmla="*/ 2 w 321"/>
                  <a:gd name="T37" fmla="*/ 4 h 334"/>
                  <a:gd name="T38" fmla="*/ 1 w 321"/>
                  <a:gd name="T39" fmla="*/ 7 h 334"/>
                  <a:gd name="T40" fmla="*/ 0 w 321"/>
                  <a:gd name="T41" fmla="*/ 7 h 334"/>
                  <a:gd name="T42" fmla="*/ 0 w 321"/>
                  <a:gd name="T43" fmla="*/ 9 h 334"/>
                  <a:gd name="T44" fmla="*/ 0 w 321"/>
                  <a:gd name="T45" fmla="*/ 9 h 33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21" h="334">
                    <a:moveTo>
                      <a:pt x="0" y="184"/>
                    </a:moveTo>
                    <a:lnTo>
                      <a:pt x="165" y="309"/>
                    </a:lnTo>
                    <a:lnTo>
                      <a:pt x="175" y="312"/>
                    </a:lnTo>
                    <a:lnTo>
                      <a:pt x="176" y="327"/>
                    </a:lnTo>
                    <a:lnTo>
                      <a:pt x="188" y="334"/>
                    </a:lnTo>
                    <a:lnTo>
                      <a:pt x="321" y="257"/>
                    </a:lnTo>
                    <a:lnTo>
                      <a:pt x="303" y="242"/>
                    </a:lnTo>
                    <a:lnTo>
                      <a:pt x="285" y="202"/>
                    </a:lnTo>
                    <a:lnTo>
                      <a:pt x="296" y="174"/>
                    </a:lnTo>
                    <a:lnTo>
                      <a:pt x="295" y="129"/>
                    </a:lnTo>
                    <a:lnTo>
                      <a:pt x="301" y="120"/>
                    </a:lnTo>
                    <a:lnTo>
                      <a:pt x="271" y="55"/>
                    </a:lnTo>
                    <a:lnTo>
                      <a:pt x="285" y="42"/>
                    </a:lnTo>
                    <a:lnTo>
                      <a:pt x="290" y="0"/>
                    </a:lnTo>
                    <a:lnTo>
                      <a:pt x="246" y="5"/>
                    </a:lnTo>
                    <a:lnTo>
                      <a:pt x="215" y="2"/>
                    </a:lnTo>
                    <a:lnTo>
                      <a:pt x="143" y="35"/>
                    </a:lnTo>
                    <a:lnTo>
                      <a:pt x="141" y="85"/>
                    </a:lnTo>
                    <a:lnTo>
                      <a:pt x="116" y="92"/>
                    </a:lnTo>
                    <a:lnTo>
                      <a:pt x="68" y="137"/>
                    </a:lnTo>
                    <a:lnTo>
                      <a:pt x="21" y="147"/>
                    </a:lnTo>
                    <a:lnTo>
                      <a:pt x="0" y="184"/>
                    </a:lnTo>
                    <a:close/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8" name="Freeform 191"/>
              <p:cNvSpPr>
                <a:spLocks/>
              </p:cNvSpPr>
              <p:nvPr/>
            </p:nvSpPr>
            <p:spPr bwMode="auto">
              <a:xfrm>
                <a:off x="1281" y="2133"/>
                <a:ext cx="137" cy="183"/>
              </a:xfrm>
              <a:custGeom>
                <a:avLst/>
                <a:gdLst>
                  <a:gd name="T0" fmla="*/ 0 w 321"/>
                  <a:gd name="T1" fmla="*/ 9 h 334"/>
                  <a:gd name="T2" fmla="*/ 3 w 321"/>
                  <a:gd name="T3" fmla="*/ 15 h 334"/>
                  <a:gd name="T4" fmla="*/ 3 w 321"/>
                  <a:gd name="T5" fmla="*/ 15 h 334"/>
                  <a:gd name="T6" fmla="*/ 3 w 321"/>
                  <a:gd name="T7" fmla="*/ 16 h 334"/>
                  <a:gd name="T8" fmla="*/ 3 w 321"/>
                  <a:gd name="T9" fmla="*/ 16 h 334"/>
                  <a:gd name="T10" fmla="*/ 5 w 321"/>
                  <a:gd name="T11" fmla="*/ 13 h 334"/>
                  <a:gd name="T12" fmla="*/ 4 w 321"/>
                  <a:gd name="T13" fmla="*/ 12 h 334"/>
                  <a:gd name="T14" fmla="*/ 4 w 321"/>
                  <a:gd name="T15" fmla="*/ 10 h 334"/>
                  <a:gd name="T16" fmla="*/ 4 w 321"/>
                  <a:gd name="T17" fmla="*/ 8 h 334"/>
                  <a:gd name="T18" fmla="*/ 4 w 321"/>
                  <a:gd name="T19" fmla="*/ 7 h 334"/>
                  <a:gd name="T20" fmla="*/ 4 w 321"/>
                  <a:gd name="T21" fmla="*/ 6 h 334"/>
                  <a:gd name="T22" fmla="*/ 4 w 321"/>
                  <a:gd name="T23" fmla="*/ 3 h 334"/>
                  <a:gd name="T24" fmla="*/ 4 w 321"/>
                  <a:gd name="T25" fmla="*/ 2 h 334"/>
                  <a:gd name="T26" fmla="*/ 4 w 321"/>
                  <a:gd name="T27" fmla="*/ 0 h 334"/>
                  <a:gd name="T28" fmla="*/ 3 w 321"/>
                  <a:gd name="T29" fmla="*/ 1 h 334"/>
                  <a:gd name="T30" fmla="*/ 3 w 321"/>
                  <a:gd name="T31" fmla="*/ 1 h 334"/>
                  <a:gd name="T32" fmla="*/ 2 w 321"/>
                  <a:gd name="T33" fmla="*/ 2 h 334"/>
                  <a:gd name="T34" fmla="*/ 2 w 321"/>
                  <a:gd name="T35" fmla="*/ 4 h 334"/>
                  <a:gd name="T36" fmla="*/ 2 w 321"/>
                  <a:gd name="T37" fmla="*/ 4 h 334"/>
                  <a:gd name="T38" fmla="*/ 1 w 321"/>
                  <a:gd name="T39" fmla="*/ 7 h 334"/>
                  <a:gd name="T40" fmla="*/ 0 w 321"/>
                  <a:gd name="T41" fmla="*/ 7 h 334"/>
                  <a:gd name="T42" fmla="*/ 0 w 321"/>
                  <a:gd name="T43" fmla="*/ 9 h 334"/>
                  <a:gd name="T44" fmla="*/ 0 w 321"/>
                  <a:gd name="T45" fmla="*/ 9 h 33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21" h="334">
                    <a:moveTo>
                      <a:pt x="0" y="184"/>
                    </a:moveTo>
                    <a:lnTo>
                      <a:pt x="165" y="309"/>
                    </a:lnTo>
                    <a:lnTo>
                      <a:pt x="175" y="312"/>
                    </a:lnTo>
                    <a:lnTo>
                      <a:pt x="176" y="327"/>
                    </a:lnTo>
                    <a:lnTo>
                      <a:pt x="188" y="334"/>
                    </a:lnTo>
                    <a:lnTo>
                      <a:pt x="321" y="257"/>
                    </a:lnTo>
                    <a:lnTo>
                      <a:pt x="303" y="242"/>
                    </a:lnTo>
                    <a:lnTo>
                      <a:pt x="285" y="202"/>
                    </a:lnTo>
                    <a:lnTo>
                      <a:pt x="296" y="174"/>
                    </a:lnTo>
                    <a:lnTo>
                      <a:pt x="295" y="129"/>
                    </a:lnTo>
                    <a:lnTo>
                      <a:pt x="301" y="120"/>
                    </a:lnTo>
                    <a:lnTo>
                      <a:pt x="271" y="55"/>
                    </a:lnTo>
                    <a:lnTo>
                      <a:pt x="285" y="42"/>
                    </a:lnTo>
                    <a:lnTo>
                      <a:pt x="290" y="0"/>
                    </a:lnTo>
                    <a:lnTo>
                      <a:pt x="246" y="5"/>
                    </a:lnTo>
                    <a:lnTo>
                      <a:pt x="215" y="2"/>
                    </a:lnTo>
                    <a:lnTo>
                      <a:pt x="143" y="35"/>
                    </a:lnTo>
                    <a:lnTo>
                      <a:pt x="141" y="85"/>
                    </a:lnTo>
                    <a:lnTo>
                      <a:pt x="116" y="92"/>
                    </a:lnTo>
                    <a:lnTo>
                      <a:pt x="68" y="137"/>
                    </a:lnTo>
                    <a:lnTo>
                      <a:pt x="21" y="147"/>
                    </a:lnTo>
                    <a:lnTo>
                      <a:pt x="0" y="184"/>
                    </a:lnTo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09" name="Freeform 192"/>
              <p:cNvSpPr>
                <a:spLocks/>
              </p:cNvSpPr>
              <p:nvPr/>
            </p:nvSpPr>
            <p:spPr bwMode="auto">
              <a:xfrm>
                <a:off x="1202" y="2385"/>
                <a:ext cx="25" cy="16"/>
              </a:xfrm>
              <a:custGeom>
                <a:avLst/>
                <a:gdLst>
                  <a:gd name="T0" fmla="*/ 1 w 59"/>
                  <a:gd name="T1" fmla="*/ 0 h 30"/>
                  <a:gd name="T2" fmla="*/ 1 w 59"/>
                  <a:gd name="T3" fmla="*/ 1 h 30"/>
                  <a:gd name="T4" fmla="*/ 0 w 59"/>
                  <a:gd name="T5" fmla="*/ 1 h 30"/>
                  <a:gd name="T6" fmla="*/ 0 w 59"/>
                  <a:gd name="T7" fmla="*/ 2 h 30"/>
                  <a:gd name="T8" fmla="*/ 0 w 59"/>
                  <a:gd name="T9" fmla="*/ 1 h 30"/>
                  <a:gd name="T10" fmla="*/ 1 w 59"/>
                  <a:gd name="T11" fmla="*/ 0 h 30"/>
                  <a:gd name="T12" fmla="*/ 1 w 59"/>
                  <a:gd name="T13" fmla="*/ 0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9" h="30">
                    <a:moveTo>
                      <a:pt x="57" y="0"/>
                    </a:moveTo>
                    <a:lnTo>
                      <a:pt x="59" y="11"/>
                    </a:lnTo>
                    <a:lnTo>
                      <a:pt x="35" y="13"/>
                    </a:lnTo>
                    <a:lnTo>
                      <a:pt x="30" y="30"/>
                    </a:lnTo>
                    <a:lnTo>
                      <a:pt x="0" y="3"/>
                    </a:lnTo>
                    <a:lnTo>
                      <a:pt x="57" y="0"/>
                    </a:lnTo>
                    <a:close/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0" name="Freeform 193"/>
              <p:cNvSpPr>
                <a:spLocks/>
              </p:cNvSpPr>
              <p:nvPr/>
            </p:nvSpPr>
            <p:spPr bwMode="auto">
              <a:xfrm>
                <a:off x="1202" y="2385"/>
                <a:ext cx="25" cy="16"/>
              </a:xfrm>
              <a:custGeom>
                <a:avLst/>
                <a:gdLst>
                  <a:gd name="T0" fmla="*/ 1 w 59"/>
                  <a:gd name="T1" fmla="*/ 0 h 30"/>
                  <a:gd name="T2" fmla="*/ 1 w 59"/>
                  <a:gd name="T3" fmla="*/ 1 h 30"/>
                  <a:gd name="T4" fmla="*/ 0 w 59"/>
                  <a:gd name="T5" fmla="*/ 1 h 30"/>
                  <a:gd name="T6" fmla="*/ 0 w 59"/>
                  <a:gd name="T7" fmla="*/ 2 h 30"/>
                  <a:gd name="T8" fmla="*/ 0 w 59"/>
                  <a:gd name="T9" fmla="*/ 1 h 30"/>
                  <a:gd name="T10" fmla="*/ 1 w 59"/>
                  <a:gd name="T11" fmla="*/ 0 h 30"/>
                  <a:gd name="T12" fmla="*/ 1 w 59"/>
                  <a:gd name="T13" fmla="*/ 0 h 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9" h="30">
                    <a:moveTo>
                      <a:pt x="57" y="0"/>
                    </a:moveTo>
                    <a:lnTo>
                      <a:pt x="59" y="11"/>
                    </a:lnTo>
                    <a:lnTo>
                      <a:pt x="35" y="13"/>
                    </a:lnTo>
                    <a:lnTo>
                      <a:pt x="30" y="30"/>
                    </a:lnTo>
                    <a:lnTo>
                      <a:pt x="0" y="3"/>
                    </a:lnTo>
                    <a:lnTo>
                      <a:pt x="57" y="0"/>
                    </a:lnTo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511" name="Freeform 194"/>
              <p:cNvSpPr>
                <a:spLocks/>
              </p:cNvSpPr>
              <p:nvPr/>
            </p:nvSpPr>
            <p:spPr bwMode="auto">
              <a:xfrm>
                <a:off x="1200" y="2343"/>
                <a:ext cx="40" cy="43"/>
              </a:xfrm>
              <a:custGeom>
                <a:avLst/>
                <a:gdLst>
                  <a:gd name="T0" fmla="*/ 0 w 93"/>
                  <a:gd name="T1" fmla="*/ 2 h 80"/>
                  <a:gd name="T2" fmla="*/ 0 w 93"/>
                  <a:gd name="T3" fmla="*/ 2 h 80"/>
                  <a:gd name="T4" fmla="*/ 0 w 93"/>
                  <a:gd name="T5" fmla="*/ 1 h 80"/>
                  <a:gd name="T6" fmla="*/ 0 w 93"/>
                  <a:gd name="T7" fmla="*/ 1 h 80"/>
                  <a:gd name="T8" fmla="*/ 1 w 93"/>
                  <a:gd name="T9" fmla="*/ 0 h 80"/>
                  <a:gd name="T10" fmla="*/ 1 w 93"/>
                  <a:gd name="T11" fmla="*/ 2 h 80"/>
                  <a:gd name="T12" fmla="*/ 1 w 93"/>
                  <a:gd name="T13" fmla="*/ 3 h 80"/>
                  <a:gd name="T14" fmla="*/ 0 w 93"/>
                  <a:gd name="T15" fmla="*/ 3 h 80"/>
                  <a:gd name="T16" fmla="*/ 0 w 93"/>
                  <a:gd name="T17" fmla="*/ 3 h 80"/>
                  <a:gd name="T18" fmla="*/ 1 w 93"/>
                  <a:gd name="T19" fmla="*/ 2 h 80"/>
                  <a:gd name="T20" fmla="*/ 0 w 93"/>
                  <a:gd name="T21" fmla="*/ 2 h 80"/>
                  <a:gd name="T22" fmla="*/ 0 w 93"/>
                  <a:gd name="T23" fmla="*/ 2 h 8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3" h="80">
                    <a:moveTo>
                      <a:pt x="2" y="47"/>
                    </a:moveTo>
                    <a:lnTo>
                      <a:pt x="0" y="35"/>
                    </a:lnTo>
                    <a:lnTo>
                      <a:pt x="22" y="7"/>
                    </a:lnTo>
                    <a:lnTo>
                      <a:pt x="37" y="12"/>
                    </a:lnTo>
                    <a:lnTo>
                      <a:pt x="55" y="0"/>
                    </a:lnTo>
                    <a:lnTo>
                      <a:pt x="93" y="35"/>
                    </a:lnTo>
                    <a:lnTo>
                      <a:pt x="87" y="73"/>
                    </a:lnTo>
                    <a:lnTo>
                      <a:pt x="3" y="80"/>
                    </a:lnTo>
                    <a:lnTo>
                      <a:pt x="3" y="70"/>
                    </a:lnTo>
                    <a:lnTo>
                      <a:pt x="68" y="48"/>
                    </a:lnTo>
                    <a:lnTo>
                      <a:pt x="2" y="47"/>
                    </a:lnTo>
                    <a:close/>
                  </a:path>
                </a:pathLst>
              </a:custGeom>
              <a:solidFill>
                <a:srgbClr val="EAEAEA"/>
              </a:solidFill>
              <a:ln w="317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88" name="Freeform 195"/>
            <p:cNvSpPr>
              <a:spLocks/>
            </p:cNvSpPr>
            <p:nvPr/>
          </p:nvSpPr>
          <p:spPr bwMode="auto">
            <a:xfrm>
              <a:off x="2323" y="2691"/>
              <a:ext cx="80" cy="66"/>
            </a:xfrm>
            <a:custGeom>
              <a:avLst/>
              <a:gdLst>
                <a:gd name="T0" fmla="*/ 2 w 93"/>
                <a:gd name="T1" fmla="*/ 17 h 80"/>
                <a:gd name="T2" fmla="*/ 0 w 93"/>
                <a:gd name="T3" fmla="*/ 14 h 80"/>
                <a:gd name="T4" fmla="*/ 10 w 93"/>
                <a:gd name="T5" fmla="*/ 2 h 80"/>
                <a:gd name="T6" fmla="*/ 18 w 93"/>
                <a:gd name="T7" fmla="*/ 5 h 80"/>
                <a:gd name="T8" fmla="*/ 25 w 93"/>
                <a:gd name="T9" fmla="*/ 0 h 80"/>
                <a:gd name="T10" fmla="*/ 44 w 93"/>
                <a:gd name="T11" fmla="*/ 14 h 80"/>
                <a:gd name="T12" fmla="*/ 41 w 93"/>
                <a:gd name="T13" fmla="*/ 28 h 80"/>
                <a:gd name="T14" fmla="*/ 3 w 93"/>
                <a:gd name="T15" fmla="*/ 31 h 80"/>
                <a:gd name="T16" fmla="*/ 3 w 93"/>
                <a:gd name="T17" fmla="*/ 27 h 80"/>
                <a:gd name="T18" fmla="*/ 32 w 93"/>
                <a:gd name="T19" fmla="*/ 18 h 80"/>
                <a:gd name="T20" fmla="*/ 2 w 93"/>
                <a:gd name="T21" fmla="*/ 17 h 80"/>
                <a:gd name="T22" fmla="*/ 2 w 93"/>
                <a:gd name="T23" fmla="*/ 17 h 8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93" h="80">
                  <a:moveTo>
                    <a:pt x="2" y="47"/>
                  </a:moveTo>
                  <a:lnTo>
                    <a:pt x="0" y="35"/>
                  </a:lnTo>
                  <a:lnTo>
                    <a:pt x="22" y="7"/>
                  </a:lnTo>
                  <a:lnTo>
                    <a:pt x="37" y="12"/>
                  </a:lnTo>
                  <a:lnTo>
                    <a:pt x="55" y="0"/>
                  </a:lnTo>
                  <a:lnTo>
                    <a:pt x="93" y="35"/>
                  </a:lnTo>
                  <a:lnTo>
                    <a:pt x="87" y="73"/>
                  </a:lnTo>
                  <a:lnTo>
                    <a:pt x="3" y="80"/>
                  </a:lnTo>
                  <a:lnTo>
                    <a:pt x="3" y="70"/>
                  </a:lnTo>
                  <a:lnTo>
                    <a:pt x="68" y="48"/>
                  </a:lnTo>
                  <a:lnTo>
                    <a:pt x="2" y="4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9" name="Freeform 196"/>
            <p:cNvSpPr>
              <a:spLocks/>
            </p:cNvSpPr>
            <p:nvPr/>
          </p:nvSpPr>
          <p:spPr bwMode="auto">
            <a:xfrm>
              <a:off x="2323" y="2729"/>
              <a:ext cx="59" cy="19"/>
            </a:xfrm>
            <a:custGeom>
              <a:avLst/>
              <a:gdLst>
                <a:gd name="T0" fmla="*/ 0 w 68"/>
                <a:gd name="T1" fmla="*/ 0 h 21"/>
                <a:gd name="T2" fmla="*/ 33 w 68"/>
                <a:gd name="T3" fmla="*/ 1 h 21"/>
                <a:gd name="T4" fmla="*/ 2 w 68"/>
                <a:gd name="T5" fmla="*/ 13 h 21"/>
                <a:gd name="T6" fmla="*/ 0 w 68"/>
                <a:gd name="T7" fmla="*/ 0 h 21"/>
                <a:gd name="T8" fmla="*/ 0 w 68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8" h="21">
                  <a:moveTo>
                    <a:pt x="0" y="0"/>
                  </a:moveTo>
                  <a:lnTo>
                    <a:pt x="68" y="1"/>
                  </a:lnTo>
                  <a:lnTo>
                    <a:pt x="2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0" name="Freeform 197"/>
            <p:cNvSpPr>
              <a:spLocks/>
            </p:cNvSpPr>
            <p:nvPr/>
          </p:nvSpPr>
          <p:spPr bwMode="auto">
            <a:xfrm>
              <a:off x="2323" y="2729"/>
              <a:ext cx="59" cy="19"/>
            </a:xfrm>
            <a:custGeom>
              <a:avLst/>
              <a:gdLst>
                <a:gd name="T0" fmla="*/ 0 w 68"/>
                <a:gd name="T1" fmla="*/ 0 h 21"/>
                <a:gd name="T2" fmla="*/ 33 w 68"/>
                <a:gd name="T3" fmla="*/ 1 h 21"/>
                <a:gd name="T4" fmla="*/ 2 w 68"/>
                <a:gd name="T5" fmla="*/ 13 h 21"/>
                <a:gd name="T6" fmla="*/ 0 w 68"/>
                <a:gd name="T7" fmla="*/ 0 h 21"/>
                <a:gd name="T8" fmla="*/ 0 w 68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8" h="21">
                  <a:moveTo>
                    <a:pt x="0" y="0"/>
                  </a:moveTo>
                  <a:lnTo>
                    <a:pt x="68" y="1"/>
                  </a:lnTo>
                  <a:lnTo>
                    <a:pt x="2" y="21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1" name="Freeform 198"/>
            <p:cNvSpPr>
              <a:spLocks/>
            </p:cNvSpPr>
            <p:nvPr/>
          </p:nvSpPr>
          <p:spPr bwMode="auto">
            <a:xfrm>
              <a:off x="2398" y="2558"/>
              <a:ext cx="253" cy="225"/>
            </a:xfrm>
            <a:custGeom>
              <a:avLst/>
              <a:gdLst>
                <a:gd name="T0" fmla="*/ 0 w 295"/>
                <a:gd name="T1" fmla="*/ 98 h 268"/>
                <a:gd name="T2" fmla="*/ 2 w 295"/>
                <a:gd name="T3" fmla="*/ 100 h 268"/>
                <a:gd name="T4" fmla="*/ 25 w 295"/>
                <a:gd name="T5" fmla="*/ 102 h 268"/>
                <a:gd name="T6" fmla="*/ 33 w 295"/>
                <a:gd name="T7" fmla="*/ 108 h 268"/>
                <a:gd name="T8" fmla="*/ 34 w 295"/>
                <a:gd name="T9" fmla="*/ 108 h 268"/>
                <a:gd name="T10" fmla="*/ 38 w 295"/>
                <a:gd name="T11" fmla="*/ 112 h 268"/>
                <a:gd name="T12" fmla="*/ 51 w 295"/>
                <a:gd name="T13" fmla="*/ 111 h 268"/>
                <a:gd name="T14" fmla="*/ 66 w 295"/>
                <a:gd name="T15" fmla="*/ 95 h 268"/>
                <a:gd name="T16" fmla="*/ 77 w 295"/>
                <a:gd name="T17" fmla="*/ 92 h 268"/>
                <a:gd name="T18" fmla="*/ 79 w 295"/>
                <a:gd name="T19" fmla="*/ 87 h 268"/>
                <a:gd name="T20" fmla="*/ 106 w 295"/>
                <a:gd name="T21" fmla="*/ 77 h 268"/>
                <a:gd name="T22" fmla="*/ 129 w 295"/>
                <a:gd name="T23" fmla="*/ 69 h 268"/>
                <a:gd name="T24" fmla="*/ 137 w 295"/>
                <a:gd name="T25" fmla="*/ 46 h 268"/>
                <a:gd name="T26" fmla="*/ 130 w 295"/>
                <a:gd name="T27" fmla="*/ 42 h 268"/>
                <a:gd name="T28" fmla="*/ 130 w 295"/>
                <a:gd name="T29" fmla="*/ 37 h 268"/>
                <a:gd name="T30" fmla="*/ 73 w 295"/>
                <a:gd name="T31" fmla="*/ 0 h 268"/>
                <a:gd name="T32" fmla="*/ 59 w 295"/>
                <a:gd name="T33" fmla="*/ 0 h 268"/>
                <a:gd name="T34" fmla="*/ 53 w 295"/>
                <a:gd name="T35" fmla="*/ 64 h 268"/>
                <a:gd name="T36" fmla="*/ 63 w 295"/>
                <a:gd name="T37" fmla="*/ 64 h 268"/>
                <a:gd name="T38" fmla="*/ 63 w 295"/>
                <a:gd name="T39" fmla="*/ 72 h 268"/>
                <a:gd name="T40" fmla="*/ 33 w 295"/>
                <a:gd name="T41" fmla="*/ 72 h 268"/>
                <a:gd name="T42" fmla="*/ 29 w 295"/>
                <a:gd name="T43" fmla="*/ 68 h 268"/>
                <a:gd name="T44" fmla="*/ 27 w 295"/>
                <a:gd name="T45" fmla="*/ 76 h 268"/>
                <a:gd name="T46" fmla="*/ 15 w 295"/>
                <a:gd name="T47" fmla="*/ 77 h 268"/>
                <a:gd name="T48" fmla="*/ 13 w 295"/>
                <a:gd name="T49" fmla="*/ 72 h 268"/>
                <a:gd name="T50" fmla="*/ 10 w 295"/>
                <a:gd name="T51" fmla="*/ 81 h 268"/>
                <a:gd name="T52" fmla="*/ 3 w 295"/>
                <a:gd name="T53" fmla="*/ 81 h 268"/>
                <a:gd name="T54" fmla="*/ 0 w 295"/>
                <a:gd name="T55" fmla="*/ 98 h 268"/>
                <a:gd name="T56" fmla="*/ 0 w 295"/>
                <a:gd name="T57" fmla="*/ 98 h 26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95" h="268">
                  <a:moveTo>
                    <a:pt x="0" y="233"/>
                  </a:moveTo>
                  <a:lnTo>
                    <a:pt x="2" y="240"/>
                  </a:lnTo>
                  <a:lnTo>
                    <a:pt x="55" y="245"/>
                  </a:lnTo>
                  <a:lnTo>
                    <a:pt x="69" y="261"/>
                  </a:lnTo>
                  <a:lnTo>
                    <a:pt x="75" y="261"/>
                  </a:lnTo>
                  <a:lnTo>
                    <a:pt x="80" y="268"/>
                  </a:lnTo>
                  <a:lnTo>
                    <a:pt x="110" y="266"/>
                  </a:lnTo>
                  <a:lnTo>
                    <a:pt x="142" y="226"/>
                  </a:lnTo>
                  <a:lnTo>
                    <a:pt x="167" y="220"/>
                  </a:lnTo>
                  <a:lnTo>
                    <a:pt x="170" y="210"/>
                  </a:lnTo>
                  <a:lnTo>
                    <a:pt x="230" y="186"/>
                  </a:lnTo>
                  <a:lnTo>
                    <a:pt x="277" y="166"/>
                  </a:lnTo>
                  <a:lnTo>
                    <a:pt x="295" y="110"/>
                  </a:lnTo>
                  <a:lnTo>
                    <a:pt x="279" y="100"/>
                  </a:lnTo>
                  <a:lnTo>
                    <a:pt x="279" y="88"/>
                  </a:lnTo>
                  <a:lnTo>
                    <a:pt x="157" y="0"/>
                  </a:lnTo>
                  <a:lnTo>
                    <a:pt x="130" y="0"/>
                  </a:lnTo>
                  <a:lnTo>
                    <a:pt x="114" y="153"/>
                  </a:lnTo>
                  <a:lnTo>
                    <a:pt x="135" y="151"/>
                  </a:lnTo>
                  <a:lnTo>
                    <a:pt x="134" y="173"/>
                  </a:lnTo>
                  <a:lnTo>
                    <a:pt x="70" y="175"/>
                  </a:lnTo>
                  <a:lnTo>
                    <a:pt x="64" y="163"/>
                  </a:lnTo>
                  <a:lnTo>
                    <a:pt x="57" y="180"/>
                  </a:lnTo>
                  <a:lnTo>
                    <a:pt x="32" y="185"/>
                  </a:lnTo>
                  <a:lnTo>
                    <a:pt x="27" y="173"/>
                  </a:lnTo>
                  <a:lnTo>
                    <a:pt x="22" y="193"/>
                  </a:lnTo>
                  <a:lnTo>
                    <a:pt x="8" y="193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2" name="Freeform 199"/>
            <p:cNvSpPr>
              <a:spLocks/>
            </p:cNvSpPr>
            <p:nvPr/>
          </p:nvSpPr>
          <p:spPr bwMode="auto">
            <a:xfrm>
              <a:off x="2398" y="2558"/>
              <a:ext cx="253" cy="225"/>
            </a:xfrm>
            <a:custGeom>
              <a:avLst/>
              <a:gdLst>
                <a:gd name="T0" fmla="*/ 0 w 295"/>
                <a:gd name="T1" fmla="*/ 98 h 268"/>
                <a:gd name="T2" fmla="*/ 2 w 295"/>
                <a:gd name="T3" fmla="*/ 100 h 268"/>
                <a:gd name="T4" fmla="*/ 25 w 295"/>
                <a:gd name="T5" fmla="*/ 102 h 268"/>
                <a:gd name="T6" fmla="*/ 33 w 295"/>
                <a:gd name="T7" fmla="*/ 108 h 268"/>
                <a:gd name="T8" fmla="*/ 34 w 295"/>
                <a:gd name="T9" fmla="*/ 108 h 268"/>
                <a:gd name="T10" fmla="*/ 38 w 295"/>
                <a:gd name="T11" fmla="*/ 112 h 268"/>
                <a:gd name="T12" fmla="*/ 51 w 295"/>
                <a:gd name="T13" fmla="*/ 111 h 268"/>
                <a:gd name="T14" fmla="*/ 66 w 295"/>
                <a:gd name="T15" fmla="*/ 95 h 268"/>
                <a:gd name="T16" fmla="*/ 77 w 295"/>
                <a:gd name="T17" fmla="*/ 92 h 268"/>
                <a:gd name="T18" fmla="*/ 79 w 295"/>
                <a:gd name="T19" fmla="*/ 87 h 268"/>
                <a:gd name="T20" fmla="*/ 106 w 295"/>
                <a:gd name="T21" fmla="*/ 77 h 268"/>
                <a:gd name="T22" fmla="*/ 129 w 295"/>
                <a:gd name="T23" fmla="*/ 69 h 268"/>
                <a:gd name="T24" fmla="*/ 137 w 295"/>
                <a:gd name="T25" fmla="*/ 46 h 268"/>
                <a:gd name="T26" fmla="*/ 130 w 295"/>
                <a:gd name="T27" fmla="*/ 42 h 268"/>
                <a:gd name="T28" fmla="*/ 130 w 295"/>
                <a:gd name="T29" fmla="*/ 37 h 268"/>
                <a:gd name="T30" fmla="*/ 73 w 295"/>
                <a:gd name="T31" fmla="*/ 0 h 268"/>
                <a:gd name="T32" fmla="*/ 59 w 295"/>
                <a:gd name="T33" fmla="*/ 0 h 268"/>
                <a:gd name="T34" fmla="*/ 53 w 295"/>
                <a:gd name="T35" fmla="*/ 64 h 268"/>
                <a:gd name="T36" fmla="*/ 63 w 295"/>
                <a:gd name="T37" fmla="*/ 64 h 268"/>
                <a:gd name="T38" fmla="*/ 63 w 295"/>
                <a:gd name="T39" fmla="*/ 72 h 268"/>
                <a:gd name="T40" fmla="*/ 33 w 295"/>
                <a:gd name="T41" fmla="*/ 72 h 268"/>
                <a:gd name="T42" fmla="*/ 29 w 295"/>
                <a:gd name="T43" fmla="*/ 68 h 268"/>
                <a:gd name="T44" fmla="*/ 27 w 295"/>
                <a:gd name="T45" fmla="*/ 76 h 268"/>
                <a:gd name="T46" fmla="*/ 15 w 295"/>
                <a:gd name="T47" fmla="*/ 77 h 268"/>
                <a:gd name="T48" fmla="*/ 13 w 295"/>
                <a:gd name="T49" fmla="*/ 72 h 268"/>
                <a:gd name="T50" fmla="*/ 10 w 295"/>
                <a:gd name="T51" fmla="*/ 81 h 268"/>
                <a:gd name="T52" fmla="*/ 3 w 295"/>
                <a:gd name="T53" fmla="*/ 81 h 268"/>
                <a:gd name="T54" fmla="*/ 0 w 295"/>
                <a:gd name="T55" fmla="*/ 98 h 268"/>
                <a:gd name="T56" fmla="*/ 0 w 295"/>
                <a:gd name="T57" fmla="*/ 98 h 26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95" h="268">
                  <a:moveTo>
                    <a:pt x="0" y="233"/>
                  </a:moveTo>
                  <a:lnTo>
                    <a:pt x="2" y="240"/>
                  </a:lnTo>
                  <a:lnTo>
                    <a:pt x="55" y="245"/>
                  </a:lnTo>
                  <a:lnTo>
                    <a:pt x="69" y="261"/>
                  </a:lnTo>
                  <a:lnTo>
                    <a:pt x="75" y="261"/>
                  </a:lnTo>
                  <a:lnTo>
                    <a:pt x="80" y="268"/>
                  </a:lnTo>
                  <a:lnTo>
                    <a:pt x="110" y="266"/>
                  </a:lnTo>
                  <a:lnTo>
                    <a:pt x="142" y="226"/>
                  </a:lnTo>
                  <a:lnTo>
                    <a:pt x="167" y="220"/>
                  </a:lnTo>
                  <a:lnTo>
                    <a:pt x="170" y="210"/>
                  </a:lnTo>
                  <a:lnTo>
                    <a:pt x="230" y="186"/>
                  </a:lnTo>
                  <a:lnTo>
                    <a:pt x="277" y="166"/>
                  </a:lnTo>
                  <a:lnTo>
                    <a:pt x="295" y="110"/>
                  </a:lnTo>
                  <a:lnTo>
                    <a:pt x="279" y="100"/>
                  </a:lnTo>
                  <a:lnTo>
                    <a:pt x="279" y="88"/>
                  </a:lnTo>
                  <a:lnTo>
                    <a:pt x="157" y="0"/>
                  </a:lnTo>
                  <a:lnTo>
                    <a:pt x="130" y="0"/>
                  </a:lnTo>
                  <a:lnTo>
                    <a:pt x="114" y="153"/>
                  </a:lnTo>
                  <a:lnTo>
                    <a:pt x="135" y="151"/>
                  </a:lnTo>
                  <a:lnTo>
                    <a:pt x="134" y="173"/>
                  </a:lnTo>
                  <a:lnTo>
                    <a:pt x="70" y="175"/>
                  </a:lnTo>
                  <a:lnTo>
                    <a:pt x="64" y="163"/>
                  </a:lnTo>
                  <a:lnTo>
                    <a:pt x="57" y="180"/>
                  </a:lnTo>
                  <a:lnTo>
                    <a:pt x="32" y="185"/>
                  </a:lnTo>
                  <a:lnTo>
                    <a:pt x="27" y="173"/>
                  </a:lnTo>
                  <a:lnTo>
                    <a:pt x="22" y="193"/>
                  </a:lnTo>
                  <a:lnTo>
                    <a:pt x="8" y="193"/>
                  </a:lnTo>
                  <a:lnTo>
                    <a:pt x="0" y="23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3" name="Freeform 200"/>
            <p:cNvSpPr>
              <a:spLocks/>
            </p:cNvSpPr>
            <p:nvPr/>
          </p:nvSpPr>
          <p:spPr bwMode="auto">
            <a:xfrm>
              <a:off x="2720" y="2366"/>
              <a:ext cx="59" cy="105"/>
            </a:xfrm>
            <a:custGeom>
              <a:avLst/>
              <a:gdLst>
                <a:gd name="T0" fmla="*/ 8 w 70"/>
                <a:gd name="T1" fmla="*/ 3 h 126"/>
                <a:gd name="T2" fmla="*/ 6 w 70"/>
                <a:gd name="T3" fmla="*/ 19 h 126"/>
                <a:gd name="T4" fmla="*/ 0 w 70"/>
                <a:gd name="T5" fmla="*/ 25 h 126"/>
                <a:gd name="T6" fmla="*/ 13 w 70"/>
                <a:gd name="T7" fmla="*/ 51 h 126"/>
                <a:gd name="T8" fmla="*/ 30 w 70"/>
                <a:gd name="T9" fmla="*/ 31 h 126"/>
                <a:gd name="T10" fmla="*/ 21 w 70"/>
                <a:gd name="T11" fmla="*/ 25 h 126"/>
                <a:gd name="T12" fmla="*/ 30 w 70"/>
                <a:gd name="T13" fmla="*/ 13 h 126"/>
                <a:gd name="T14" fmla="*/ 22 w 70"/>
                <a:gd name="T15" fmla="*/ 0 h 126"/>
                <a:gd name="T16" fmla="*/ 8 w 70"/>
                <a:gd name="T17" fmla="*/ 3 h 126"/>
                <a:gd name="T18" fmla="*/ 8 w 70"/>
                <a:gd name="T19" fmla="*/ 3 h 1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0" h="126">
                  <a:moveTo>
                    <a:pt x="19" y="6"/>
                  </a:moveTo>
                  <a:lnTo>
                    <a:pt x="14" y="48"/>
                  </a:lnTo>
                  <a:lnTo>
                    <a:pt x="0" y="61"/>
                  </a:lnTo>
                  <a:lnTo>
                    <a:pt x="30" y="126"/>
                  </a:lnTo>
                  <a:lnTo>
                    <a:pt x="69" y="75"/>
                  </a:lnTo>
                  <a:lnTo>
                    <a:pt x="49" y="61"/>
                  </a:lnTo>
                  <a:lnTo>
                    <a:pt x="70" y="30"/>
                  </a:lnTo>
                  <a:lnTo>
                    <a:pt x="52" y="0"/>
                  </a:lnTo>
                  <a:lnTo>
                    <a:pt x="19" y="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4" name="Freeform 201"/>
            <p:cNvSpPr>
              <a:spLocks/>
            </p:cNvSpPr>
            <p:nvPr/>
          </p:nvSpPr>
          <p:spPr bwMode="auto">
            <a:xfrm>
              <a:off x="2720" y="2366"/>
              <a:ext cx="59" cy="105"/>
            </a:xfrm>
            <a:custGeom>
              <a:avLst/>
              <a:gdLst>
                <a:gd name="T0" fmla="*/ 8 w 70"/>
                <a:gd name="T1" fmla="*/ 3 h 126"/>
                <a:gd name="T2" fmla="*/ 6 w 70"/>
                <a:gd name="T3" fmla="*/ 19 h 126"/>
                <a:gd name="T4" fmla="*/ 0 w 70"/>
                <a:gd name="T5" fmla="*/ 25 h 126"/>
                <a:gd name="T6" fmla="*/ 13 w 70"/>
                <a:gd name="T7" fmla="*/ 51 h 126"/>
                <a:gd name="T8" fmla="*/ 30 w 70"/>
                <a:gd name="T9" fmla="*/ 31 h 126"/>
                <a:gd name="T10" fmla="*/ 21 w 70"/>
                <a:gd name="T11" fmla="*/ 25 h 126"/>
                <a:gd name="T12" fmla="*/ 30 w 70"/>
                <a:gd name="T13" fmla="*/ 13 h 126"/>
                <a:gd name="T14" fmla="*/ 22 w 70"/>
                <a:gd name="T15" fmla="*/ 0 h 126"/>
                <a:gd name="T16" fmla="*/ 8 w 70"/>
                <a:gd name="T17" fmla="*/ 3 h 126"/>
                <a:gd name="T18" fmla="*/ 8 w 70"/>
                <a:gd name="T19" fmla="*/ 3 h 1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70" h="126">
                  <a:moveTo>
                    <a:pt x="19" y="6"/>
                  </a:moveTo>
                  <a:lnTo>
                    <a:pt x="14" y="48"/>
                  </a:lnTo>
                  <a:lnTo>
                    <a:pt x="0" y="61"/>
                  </a:lnTo>
                  <a:lnTo>
                    <a:pt x="30" y="126"/>
                  </a:lnTo>
                  <a:lnTo>
                    <a:pt x="69" y="75"/>
                  </a:lnTo>
                  <a:lnTo>
                    <a:pt x="49" y="61"/>
                  </a:lnTo>
                  <a:lnTo>
                    <a:pt x="70" y="30"/>
                  </a:lnTo>
                  <a:lnTo>
                    <a:pt x="52" y="0"/>
                  </a:lnTo>
                  <a:lnTo>
                    <a:pt x="19" y="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5" name="Freeform 202"/>
            <p:cNvSpPr>
              <a:spLocks/>
            </p:cNvSpPr>
            <p:nvPr/>
          </p:nvSpPr>
          <p:spPr bwMode="auto">
            <a:xfrm>
              <a:off x="2353" y="2753"/>
              <a:ext cx="117" cy="74"/>
            </a:xfrm>
            <a:custGeom>
              <a:avLst/>
              <a:gdLst>
                <a:gd name="T0" fmla="*/ 0 w 136"/>
                <a:gd name="T1" fmla="*/ 14 h 87"/>
                <a:gd name="T2" fmla="*/ 3 w 136"/>
                <a:gd name="T3" fmla="*/ 7 h 87"/>
                <a:gd name="T4" fmla="*/ 14 w 136"/>
                <a:gd name="T5" fmla="*/ 6 h 87"/>
                <a:gd name="T6" fmla="*/ 13 w 136"/>
                <a:gd name="T7" fmla="*/ 2 h 87"/>
                <a:gd name="T8" fmla="*/ 25 w 136"/>
                <a:gd name="T9" fmla="*/ 0 h 87"/>
                <a:gd name="T10" fmla="*/ 25 w 136"/>
                <a:gd name="T11" fmla="*/ 3 h 87"/>
                <a:gd name="T12" fmla="*/ 51 w 136"/>
                <a:gd name="T13" fmla="*/ 6 h 87"/>
                <a:gd name="T14" fmla="*/ 57 w 136"/>
                <a:gd name="T15" fmla="*/ 12 h 87"/>
                <a:gd name="T16" fmla="*/ 60 w 136"/>
                <a:gd name="T17" fmla="*/ 12 h 87"/>
                <a:gd name="T18" fmla="*/ 65 w 136"/>
                <a:gd name="T19" fmla="*/ 19 h 87"/>
                <a:gd name="T20" fmla="*/ 56 w 136"/>
                <a:gd name="T21" fmla="*/ 19 h 87"/>
                <a:gd name="T22" fmla="*/ 60 w 136"/>
                <a:gd name="T23" fmla="*/ 34 h 87"/>
                <a:gd name="T24" fmla="*/ 49 w 136"/>
                <a:gd name="T25" fmla="*/ 32 h 87"/>
                <a:gd name="T26" fmla="*/ 51 w 136"/>
                <a:gd name="T27" fmla="*/ 37 h 87"/>
                <a:gd name="T28" fmla="*/ 45 w 136"/>
                <a:gd name="T29" fmla="*/ 39 h 87"/>
                <a:gd name="T30" fmla="*/ 42 w 136"/>
                <a:gd name="T31" fmla="*/ 32 h 87"/>
                <a:gd name="T32" fmla="*/ 39 w 136"/>
                <a:gd name="T33" fmla="*/ 32 h 87"/>
                <a:gd name="T34" fmla="*/ 29 w 136"/>
                <a:gd name="T35" fmla="*/ 16 h 87"/>
                <a:gd name="T36" fmla="*/ 13 w 136"/>
                <a:gd name="T37" fmla="*/ 29 h 87"/>
                <a:gd name="T38" fmla="*/ 10 w 136"/>
                <a:gd name="T39" fmla="*/ 23 h 87"/>
                <a:gd name="T40" fmla="*/ 0 w 136"/>
                <a:gd name="T41" fmla="*/ 14 h 87"/>
                <a:gd name="T42" fmla="*/ 0 w 136"/>
                <a:gd name="T43" fmla="*/ 14 h 8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6" h="87">
                  <a:moveTo>
                    <a:pt x="0" y="33"/>
                  </a:moveTo>
                  <a:lnTo>
                    <a:pt x="5" y="15"/>
                  </a:lnTo>
                  <a:lnTo>
                    <a:pt x="29" y="13"/>
                  </a:lnTo>
                  <a:lnTo>
                    <a:pt x="27" y="2"/>
                  </a:lnTo>
                  <a:lnTo>
                    <a:pt x="52" y="0"/>
                  </a:lnTo>
                  <a:lnTo>
                    <a:pt x="54" y="7"/>
                  </a:lnTo>
                  <a:lnTo>
                    <a:pt x="107" y="12"/>
                  </a:lnTo>
                  <a:lnTo>
                    <a:pt x="121" y="28"/>
                  </a:lnTo>
                  <a:lnTo>
                    <a:pt x="127" y="28"/>
                  </a:lnTo>
                  <a:lnTo>
                    <a:pt x="136" y="43"/>
                  </a:lnTo>
                  <a:lnTo>
                    <a:pt x="117" y="43"/>
                  </a:lnTo>
                  <a:lnTo>
                    <a:pt x="127" y="77"/>
                  </a:lnTo>
                  <a:lnTo>
                    <a:pt x="104" y="73"/>
                  </a:lnTo>
                  <a:lnTo>
                    <a:pt x="107" y="82"/>
                  </a:lnTo>
                  <a:lnTo>
                    <a:pt x="97" y="87"/>
                  </a:lnTo>
                  <a:lnTo>
                    <a:pt x="89" y="73"/>
                  </a:lnTo>
                  <a:lnTo>
                    <a:pt x="82" y="73"/>
                  </a:lnTo>
                  <a:lnTo>
                    <a:pt x="60" y="37"/>
                  </a:lnTo>
                  <a:lnTo>
                    <a:pt x="27" y="65"/>
                  </a:lnTo>
                  <a:lnTo>
                    <a:pt x="22" y="5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6" name="Freeform 203"/>
            <p:cNvSpPr>
              <a:spLocks/>
            </p:cNvSpPr>
            <p:nvPr/>
          </p:nvSpPr>
          <p:spPr bwMode="auto">
            <a:xfrm>
              <a:off x="2353" y="2753"/>
              <a:ext cx="117" cy="74"/>
            </a:xfrm>
            <a:custGeom>
              <a:avLst/>
              <a:gdLst>
                <a:gd name="T0" fmla="*/ 0 w 136"/>
                <a:gd name="T1" fmla="*/ 14 h 87"/>
                <a:gd name="T2" fmla="*/ 3 w 136"/>
                <a:gd name="T3" fmla="*/ 7 h 87"/>
                <a:gd name="T4" fmla="*/ 14 w 136"/>
                <a:gd name="T5" fmla="*/ 6 h 87"/>
                <a:gd name="T6" fmla="*/ 13 w 136"/>
                <a:gd name="T7" fmla="*/ 2 h 87"/>
                <a:gd name="T8" fmla="*/ 25 w 136"/>
                <a:gd name="T9" fmla="*/ 0 h 87"/>
                <a:gd name="T10" fmla="*/ 25 w 136"/>
                <a:gd name="T11" fmla="*/ 3 h 87"/>
                <a:gd name="T12" fmla="*/ 51 w 136"/>
                <a:gd name="T13" fmla="*/ 6 h 87"/>
                <a:gd name="T14" fmla="*/ 57 w 136"/>
                <a:gd name="T15" fmla="*/ 12 h 87"/>
                <a:gd name="T16" fmla="*/ 60 w 136"/>
                <a:gd name="T17" fmla="*/ 12 h 87"/>
                <a:gd name="T18" fmla="*/ 65 w 136"/>
                <a:gd name="T19" fmla="*/ 19 h 87"/>
                <a:gd name="T20" fmla="*/ 56 w 136"/>
                <a:gd name="T21" fmla="*/ 19 h 87"/>
                <a:gd name="T22" fmla="*/ 60 w 136"/>
                <a:gd name="T23" fmla="*/ 34 h 87"/>
                <a:gd name="T24" fmla="*/ 49 w 136"/>
                <a:gd name="T25" fmla="*/ 32 h 87"/>
                <a:gd name="T26" fmla="*/ 51 w 136"/>
                <a:gd name="T27" fmla="*/ 37 h 87"/>
                <a:gd name="T28" fmla="*/ 45 w 136"/>
                <a:gd name="T29" fmla="*/ 39 h 87"/>
                <a:gd name="T30" fmla="*/ 42 w 136"/>
                <a:gd name="T31" fmla="*/ 32 h 87"/>
                <a:gd name="T32" fmla="*/ 39 w 136"/>
                <a:gd name="T33" fmla="*/ 32 h 87"/>
                <a:gd name="T34" fmla="*/ 29 w 136"/>
                <a:gd name="T35" fmla="*/ 16 h 87"/>
                <a:gd name="T36" fmla="*/ 13 w 136"/>
                <a:gd name="T37" fmla="*/ 29 h 87"/>
                <a:gd name="T38" fmla="*/ 10 w 136"/>
                <a:gd name="T39" fmla="*/ 23 h 87"/>
                <a:gd name="T40" fmla="*/ 0 w 136"/>
                <a:gd name="T41" fmla="*/ 14 h 87"/>
                <a:gd name="T42" fmla="*/ 0 w 136"/>
                <a:gd name="T43" fmla="*/ 14 h 8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6" h="87">
                  <a:moveTo>
                    <a:pt x="0" y="33"/>
                  </a:moveTo>
                  <a:lnTo>
                    <a:pt x="5" y="15"/>
                  </a:lnTo>
                  <a:lnTo>
                    <a:pt x="29" y="13"/>
                  </a:lnTo>
                  <a:lnTo>
                    <a:pt x="27" y="2"/>
                  </a:lnTo>
                  <a:lnTo>
                    <a:pt x="52" y="0"/>
                  </a:lnTo>
                  <a:lnTo>
                    <a:pt x="54" y="7"/>
                  </a:lnTo>
                  <a:lnTo>
                    <a:pt x="107" y="12"/>
                  </a:lnTo>
                  <a:lnTo>
                    <a:pt x="121" y="28"/>
                  </a:lnTo>
                  <a:lnTo>
                    <a:pt x="127" y="28"/>
                  </a:lnTo>
                  <a:lnTo>
                    <a:pt x="136" y="43"/>
                  </a:lnTo>
                  <a:lnTo>
                    <a:pt x="117" y="43"/>
                  </a:lnTo>
                  <a:lnTo>
                    <a:pt x="127" y="77"/>
                  </a:lnTo>
                  <a:lnTo>
                    <a:pt x="104" y="73"/>
                  </a:lnTo>
                  <a:lnTo>
                    <a:pt x="107" y="82"/>
                  </a:lnTo>
                  <a:lnTo>
                    <a:pt x="97" y="87"/>
                  </a:lnTo>
                  <a:lnTo>
                    <a:pt x="89" y="73"/>
                  </a:lnTo>
                  <a:lnTo>
                    <a:pt x="82" y="73"/>
                  </a:lnTo>
                  <a:lnTo>
                    <a:pt x="60" y="37"/>
                  </a:lnTo>
                  <a:lnTo>
                    <a:pt x="27" y="65"/>
                  </a:lnTo>
                  <a:lnTo>
                    <a:pt x="22" y="53"/>
                  </a:lnTo>
                  <a:lnTo>
                    <a:pt x="0" y="3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7" name="Freeform 204"/>
            <p:cNvSpPr>
              <a:spLocks/>
            </p:cNvSpPr>
            <p:nvPr/>
          </p:nvSpPr>
          <p:spPr bwMode="auto">
            <a:xfrm>
              <a:off x="2374" y="2784"/>
              <a:ext cx="49" cy="57"/>
            </a:xfrm>
            <a:custGeom>
              <a:avLst/>
              <a:gdLst>
                <a:gd name="T0" fmla="*/ 0 w 55"/>
                <a:gd name="T1" fmla="*/ 11 h 68"/>
                <a:gd name="T2" fmla="*/ 9 w 55"/>
                <a:gd name="T3" fmla="*/ 24 h 68"/>
                <a:gd name="T4" fmla="*/ 17 w 55"/>
                <a:gd name="T5" fmla="*/ 29 h 68"/>
                <a:gd name="T6" fmla="*/ 31 w 55"/>
                <a:gd name="T7" fmla="*/ 15 h 68"/>
                <a:gd name="T8" fmla="*/ 18 w 55"/>
                <a:gd name="T9" fmla="*/ 0 h 68"/>
                <a:gd name="T10" fmla="*/ 0 w 55"/>
                <a:gd name="T11" fmla="*/ 11 h 68"/>
                <a:gd name="T12" fmla="*/ 0 w 55"/>
                <a:gd name="T13" fmla="*/ 11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5" h="68">
                  <a:moveTo>
                    <a:pt x="0" y="28"/>
                  </a:moveTo>
                  <a:lnTo>
                    <a:pt x="15" y="58"/>
                  </a:lnTo>
                  <a:lnTo>
                    <a:pt x="30" y="68"/>
                  </a:lnTo>
                  <a:lnTo>
                    <a:pt x="55" y="36"/>
                  </a:lnTo>
                  <a:lnTo>
                    <a:pt x="33" y="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8" name="Freeform 205"/>
            <p:cNvSpPr>
              <a:spLocks/>
            </p:cNvSpPr>
            <p:nvPr/>
          </p:nvSpPr>
          <p:spPr bwMode="auto">
            <a:xfrm>
              <a:off x="2374" y="2784"/>
              <a:ext cx="49" cy="57"/>
            </a:xfrm>
            <a:custGeom>
              <a:avLst/>
              <a:gdLst>
                <a:gd name="T0" fmla="*/ 0 w 55"/>
                <a:gd name="T1" fmla="*/ 11 h 68"/>
                <a:gd name="T2" fmla="*/ 9 w 55"/>
                <a:gd name="T3" fmla="*/ 24 h 68"/>
                <a:gd name="T4" fmla="*/ 17 w 55"/>
                <a:gd name="T5" fmla="*/ 29 h 68"/>
                <a:gd name="T6" fmla="*/ 31 w 55"/>
                <a:gd name="T7" fmla="*/ 15 h 68"/>
                <a:gd name="T8" fmla="*/ 18 w 55"/>
                <a:gd name="T9" fmla="*/ 0 h 68"/>
                <a:gd name="T10" fmla="*/ 0 w 55"/>
                <a:gd name="T11" fmla="*/ 11 h 68"/>
                <a:gd name="T12" fmla="*/ 0 w 55"/>
                <a:gd name="T13" fmla="*/ 11 h 6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5" h="68">
                  <a:moveTo>
                    <a:pt x="0" y="28"/>
                  </a:moveTo>
                  <a:lnTo>
                    <a:pt x="15" y="58"/>
                  </a:lnTo>
                  <a:lnTo>
                    <a:pt x="30" y="68"/>
                  </a:lnTo>
                  <a:lnTo>
                    <a:pt x="55" y="36"/>
                  </a:lnTo>
                  <a:lnTo>
                    <a:pt x="33" y="0"/>
                  </a:lnTo>
                  <a:lnTo>
                    <a:pt x="0" y="2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9" name="Freeform 206"/>
            <p:cNvSpPr>
              <a:spLocks/>
            </p:cNvSpPr>
            <p:nvPr/>
          </p:nvSpPr>
          <p:spPr bwMode="auto">
            <a:xfrm>
              <a:off x="2401" y="2814"/>
              <a:ext cx="61" cy="61"/>
            </a:xfrm>
            <a:custGeom>
              <a:avLst/>
              <a:gdLst>
                <a:gd name="T0" fmla="*/ 0 w 70"/>
                <a:gd name="T1" fmla="*/ 14 h 72"/>
                <a:gd name="T2" fmla="*/ 34 w 70"/>
                <a:gd name="T3" fmla="*/ 31 h 72"/>
                <a:gd name="T4" fmla="*/ 35 w 70"/>
                <a:gd name="T5" fmla="*/ 22 h 72"/>
                <a:gd name="T6" fmla="*/ 29 w 70"/>
                <a:gd name="T7" fmla="*/ 15 h 72"/>
                <a:gd name="T8" fmla="*/ 33 w 70"/>
                <a:gd name="T9" fmla="*/ 10 h 72"/>
                <a:gd name="T10" fmla="*/ 25 w 70"/>
                <a:gd name="T11" fmla="*/ 4 h 72"/>
                <a:gd name="T12" fmla="*/ 21 w 70"/>
                <a:gd name="T13" fmla="*/ 6 h 72"/>
                <a:gd name="T14" fmla="*/ 16 w 70"/>
                <a:gd name="T15" fmla="*/ 0 h 72"/>
                <a:gd name="T16" fmla="*/ 13 w 70"/>
                <a:gd name="T17" fmla="*/ 0 h 72"/>
                <a:gd name="T18" fmla="*/ 0 w 70"/>
                <a:gd name="T19" fmla="*/ 14 h 72"/>
                <a:gd name="T20" fmla="*/ 0 w 70"/>
                <a:gd name="T21" fmla="*/ 14 h 7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0" h="72">
                  <a:moveTo>
                    <a:pt x="0" y="32"/>
                  </a:moveTo>
                  <a:lnTo>
                    <a:pt x="69" y="72"/>
                  </a:lnTo>
                  <a:lnTo>
                    <a:pt x="70" y="50"/>
                  </a:lnTo>
                  <a:lnTo>
                    <a:pt x="57" y="35"/>
                  </a:lnTo>
                  <a:lnTo>
                    <a:pt x="65" y="24"/>
                  </a:lnTo>
                  <a:lnTo>
                    <a:pt x="50" y="9"/>
                  </a:lnTo>
                  <a:lnTo>
                    <a:pt x="40" y="14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0" name="Freeform 207"/>
            <p:cNvSpPr>
              <a:spLocks/>
            </p:cNvSpPr>
            <p:nvPr/>
          </p:nvSpPr>
          <p:spPr bwMode="auto">
            <a:xfrm>
              <a:off x="2401" y="2814"/>
              <a:ext cx="61" cy="61"/>
            </a:xfrm>
            <a:custGeom>
              <a:avLst/>
              <a:gdLst>
                <a:gd name="T0" fmla="*/ 0 w 70"/>
                <a:gd name="T1" fmla="*/ 14 h 72"/>
                <a:gd name="T2" fmla="*/ 34 w 70"/>
                <a:gd name="T3" fmla="*/ 31 h 72"/>
                <a:gd name="T4" fmla="*/ 35 w 70"/>
                <a:gd name="T5" fmla="*/ 22 h 72"/>
                <a:gd name="T6" fmla="*/ 29 w 70"/>
                <a:gd name="T7" fmla="*/ 15 h 72"/>
                <a:gd name="T8" fmla="*/ 33 w 70"/>
                <a:gd name="T9" fmla="*/ 10 h 72"/>
                <a:gd name="T10" fmla="*/ 25 w 70"/>
                <a:gd name="T11" fmla="*/ 4 h 72"/>
                <a:gd name="T12" fmla="*/ 21 w 70"/>
                <a:gd name="T13" fmla="*/ 6 h 72"/>
                <a:gd name="T14" fmla="*/ 16 w 70"/>
                <a:gd name="T15" fmla="*/ 0 h 72"/>
                <a:gd name="T16" fmla="*/ 13 w 70"/>
                <a:gd name="T17" fmla="*/ 0 h 72"/>
                <a:gd name="T18" fmla="*/ 0 w 70"/>
                <a:gd name="T19" fmla="*/ 14 h 72"/>
                <a:gd name="T20" fmla="*/ 0 w 70"/>
                <a:gd name="T21" fmla="*/ 14 h 7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0" h="72">
                  <a:moveTo>
                    <a:pt x="0" y="32"/>
                  </a:moveTo>
                  <a:lnTo>
                    <a:pt x="69" y="72"/>
                  </a:lnTo>
                  <a:lnTo>
                    <a:pt x="70" y="50"/>
                  </a:lnTo>
                  <a:lnTo>
                    <a:pt x="57" y="35"/>
                  </a:lnTo>
                  <a:lnTo>
                    <a:pt x="65" y="24"/>
                  </a:lnTo>
                  <a:lnTo>
                    <a:pt x="50" y="9"/>
                  </a:lnTo>
                  <a:lnTo>
                    <a:pt x="40" y="14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0" y="3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208"/>
            <p:cNvSpPr>
              <a:spLocks/>
            </p:cNvSpPr>
            <p:nvPr/>
          </p:nvSpPr>
          <p:spPr bwMode="auto">
            <a:xfrm>
              <a:off x="2445" y="2780"/>
              <a:ext cx="102" cy="95"/>
            </a:xfrm>
            <a:custGeom>
              <a:avLst/>
              <a:gdLst>
                <a:gd name="T0" fmla="*/ 8 w 121"/>
                <a:gd name="T1" fmla="*/ 50 h 112"/>
                <a:gd name="T2" fmla="*/ 30 w 121"/>
                <a:gd name="T3" fmla="*/ 45 h 112"/>
                <a:gd name="T4" fmla="*/ 51 w 121"/>
                <a:gd name="T5" fmla="*/ 48 h 112"/>
                <a:gd name="T6" fmla="*/ 43 w 121"/>
                <a:gd name="T7" fmla="*/ 26 h 112"/>
                <a:gd name="T8" fmla="*/ 50 w 121"/>
                <a:gd name="T9" fmla="*/ 18 h 112"/>
                <a:gd name="T10" fmla="*/ 49 w 121"/>
                <a:gd name="T11" fmla="*/ 13 h 112"/>
                <a:gd name="T12" fmla="*/ 44 w 121"/>
                <a:gd name="T13" fmla="*/ 7 h 112"/>
                <a:gd name="T14" fmla="*/ 30 w 121"/>
                <a:gd name="T15" fmla="*/ 8 h 112"/>
                <a:gd name="T16" fmla="*/ 24 w 121"/>
                <a:gd name="T17" fmla="*/ 0 h 112"/>
                <a:gd name="T18" fmla="*/ 11 w 121"/>
                <a:gd name="T19" fmla="*/ 2 h 112"/>
                <a:gd name="T20" fmla="*/ 13 w 121"/>
                <a:gd name="T21" fmla="*/ 4 h 112"/>
                <a:gd name="T22" fmla="*/ 5 w 121"/>
                <a:gd name="T23" fmla="*/ 4 h 112"/>
                <a:gd name="T24" fmla="*/ 9 w 121"/>
                <a:gd name="T25" fmla="*/ 19 h 112"/>
                <a:gd name="T26" fmla="*/ 0 w 121"/>
                <a:gd name="T27" fmla="*/ 18 h 112"/>
                <a:gd name="T28" fmla="*/ 0 w 121"/>
                <a:gd name="T29" fmla="*/ 22 h 112"/>
                <a:gd name="T30" fmla="*/ 7 w 121"/>
                <a:gd name="T31" fmla="*/ 28 h 112"/>
                <a:gd name="T32" fmla="*/ 3 w 121"/>
                <a:gd name="T33" fmla="*/ 33 h 112"/>
                <a:gd name="T34" fmla="*/ 9 w 121"/>
                <a:gd name="T35" fmla="*/ 39 h 112"/>
                <a:gd name="T36" fmla="*/ 8 w 121"/>
                <a:gd name="T37" fmla="*/ 46 h 112"/>
                <a:gd name="T38" fmla="*/ 8 w 121"/>
                <a:gd name="T39" fmla="*/ 50 h 112"/>
                <a:gd name="T40" fmla="*/ 8 w 121"/>
                <a:gd name="T41" fmla="*/ 50 h 11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1" h="112">
                  <a:moveTo>
                    <a:pt x="18" y="112"/>
                  </a:moveTo>
                  <a:lnTo>
                    <a:pt x="71" y="102"/>
                  </a:lnTo>
                  <a:lnTo>
                    <a:pt x="121" y="110"/>
                  </a:lnTo>
                  <a:lnTo>
                    <a:pt x="101" y="60"/>
                  </a:lnTo>
                  <a:lnTo>
                    <a:pt x="116" y="40"/>
                  </a:lnTo>
                  <a:lnTo>
                    <a:pt x="115" y="30"/>
                  </a:lnTo>
                  <a:lnTo>
                    <a:pt x="103" y="15"/>
                  </a:lnTo>
                  <a:lnTo>
                    <a:pt x="71" y="19"/>
                  </a:lnTo>
                  <a:lnTo>
                    <a:pt x="56" y="0"/>
                  </a:lnTo>
                  <a:lnTo>
                    <a:pt x="26" y="2"/>
                  </a:lnTo>
                  <a:lnTo>
                    <a:pt x="30" y="10"/>
                  </a:lnTo>
                  <a:lnTo>
                    <a:pt x="11" y="10"/>
                  </a:lnTo>
                  <a:lnTo>
                    <a:pt x="21" y="42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6" y="64"/>
                  </a:lnTo>
                  <a:lnTo>
                    <a:pt x="8" y="75"/>
                  </a:lnTo>
                  <a:lnTo>
                    <a:pt x="21" y="90"/>
                  </a:lnTo>
                  <a:lnTo>
                    <a:pt x="18" y="105"/>
                  </a:lnTo>
                  <a:lnTo>
                    <a:pt x="18" y="11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2" name="Freeform 209"/>
            <p:cNvSpPr>
              <a:spLocks/>
            </p:cNvSpPr>
            <p:nvPr/>
          </p:nvSpPr>
          <p:spPr bwMode="auto">
            <a:xfrm>
              <a:off x="2445" y="2780"/>
              <a:ext cx="102" cy="95"/>
            </a:xfrm>
            <a:custGeom>
              <a:avLst/>
              <a:gdLst>
                <a:gd name="T0" fmla="*/ 8 w 121"/>
                <a:gd name="T1" fmla="*/ 50 h 112"/>
                <a:gd name="T2" fmla="*/ 30 w 121"/>
                <a:gd name="T3" fmla="*/ 45 h 112"/>
                <a:gd name="T4" fmla="*/ 51 w 121"/>
                <a:gd name="T5" fmla="*/ 48 h 112"/>
                <a:gd name="T6" fmla="*/ 43 w 121"/>
                <a:gd name="T7" fmla="*/ 26 h 112"/>
                <a:gd name="T8" fmla="*/ 50 w 121"/>
                <a:gd name="T9" fmla="*/ 18 h 112"/>
                <a:gd name="T10" fmla="*/ 49 w 121"/>
                <a:gd name="T11" fmla="*/ 13 h 112"/>
                <a:gd name="T12" fmla="*/ 44 w 121"/>
                <a:gd name="T13" fmla="*/ 7 h 112"/>
                <a:gd name="T14" fmla="*/ 30 w 121"/>
                <a:gd name="T15" fmla="*/ 8 h 112"/>
                <a:gd name="T16" fmla="*/ 24 w 121"/>
                <a:gd name="T17" fmla="*/ 0 h 112"/>
                <a:gd name="T18" fmla="*/ 11 w 121"/>
                <a:gd name="T19" fmla="*/ 2 h 112"/>
                <a:gd name="T20" fmla="*/ 13 w 121"/>
                <a:gd name="T21" fmla="*/ 4 h 112"/>
                <a:gd name="T22" fmla="*/ 5 w 121"/>
                <a:gd name="T23" fmla="*/ 4 h 112"/>
                <a:gd name="T24" fmla="*/ 9 w 121"/>
                <a:gd name="T25" fmla="*/ 19 h 112"/>
                <a:gd name="T26" fmla="*/ 0 w 121"/>
                <a:gd name="T27" fmla="*/ 18 h 112"/>
                <a:gd name="T28" fmla="*/ 0 w 121"/>
                <a:gd name="T29" fmla="*/ 22 h 112"/>
                <a:gd name="T30" fmla="*/ 7 w 121"/>
                <a:gd name="T31" fmla="*/ 28 h 112"/>
                <a:gd name="T32" fmla="*/ 3 w 121"/>
                <a:gd name="T33" fmla="*/ 33 h 112"/>
                <a:gd name="T34" fmla="*/ 9 w 121"/>
                <a:gd name="T35" fmla="*/ 39 h 112"/>
                <a:gd name="T36" fmla="*/ 8 w 121"/>
                <a:gd name="T37" fmla="*/ 46 h 112"/>
                <a:gd name="T38" fmla="*/ 8 w 121"/>
                <a:gd name="T39" fmla="*/ 50 h 112"/>
                <a:gd name="T40" fmla="*/ 8 w 121"/>
                <a:gd name="T41" fmla="*/ 50 h 11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1" h="112">
                  <a:moveTo>
                    <a:pt x="18" y="112"/>
                  </a:moveTo>
                  <a:lnTo>
                    <a:pt x="71" y="102"/>
                  </a:lnTo>
                  <a:lnTo>
                    <a:pt x="121" y="110"/>
                  </a:lnTo>
                  <a:lnTo>
                    <a:pt x="101" y="60"/>
                  </a:lnTo>
                  <a:lnTo>
                    <a:pt x="116" y="40"/>
                  </a:lnTo>
                  <a:lnTo>
                    <a:pt x="115" y="30"/>
                  </a:lnTo>
                  <a:lnTo>
                    <a:pt x="103" y="15"/>
                  </a:lnTo>
                  <a:lnTo>
                    <a:pt x="71" y="19"/>
                  </a:lnTo>
                  <a:lnTo>
                    <a:pt x="56" y="0"/>
                  </a:lnTo>
                  <a:lnTo>
                    <a:pt x="26" y="2"/>
                  </a:lnTo>
                  <a:lnTo>
                    <a:pt x="30" y="10"/>
                  </a:lnTo>
                  <a:lnTo>
                    <a:pt x="11" y="10"/>
                  </a:lnTo>
                  <a:lnTo>
                    <a:pt x="21" y="42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16" y="64"/>
                  </a:lnTo>
                  <a:lnTo>
                    <a:pt x="8" y="75"/>
                  </a:lnTo>
                  <a:lnTo>
                    <a:pt x="21" y="90"/>
                  </a:lnTo>
                  <a:lnTo>
                    <a:pt x="18" y="105"/>
                  </a:lnTo>
                  <a:lnTo>
                    <a:pt x="18" y="11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210"/>
            <p:cNvSpPr>
              <a:spLocks/>
            </p:cNvSpPr>
            <p:nvPr/>
          </p:nvSpPr>
          <p:spPr bwMode="auto">
            <a:xfrm>
              <a:off x="2491" y="2714"/>
              <a:ext cx="133" cy="98"/>
            </a:xfrm>
            <a:custGeom>
              <a:avLst/>
              <a:gdLst>
                <a:gd name="T0" fmla="*/ 58 w 154"/>
                <a:gd name="T1" fmla="*/ 0 h 119"/>
                <a:gd name="T2" fmla="*/ 74 w 154"/>
                <a:gd name="T3" fmla="*/ 19 h 119"/>
                <a:gd name="T4" fmla="*/ 68 w 154"/>
                <a:gd name="T5" fmla="*/ 25 h 119"/>
                <a:gd name="T6" fmla="*/ 38 w 154"/>
                <a:gd name="T7" fmla="*/ 28 h 119"/>
                <a:gd name="T8" fmla="*/ 29 w 154"/>
                <a:gd name="T9" fmla="*/ 26 h 119"/>
                <a:gd name="T10" fmla="*/ 29 w 154"/>
                <a:gd name="T11" fmla="*/ 45 h 119"/>
                <a:gd name="T12" fmla="*/ 26 w 154"/>
                <a:gd name="T13" fmla="*/ 40 h 119"/>
                <a:gd name="T14" fmla="*/ 22 w 154"/>
                <a:gd name="T15" fmla="*/ 36 h 119"/>
                <a:gd name="T16" fmla="*/ 8 w 154"/>
                <a:gd name="T17" fmla="*/ 38 h 119"/>
                <a:gd name="T18" fmla="*/ 0 w 154"/>
                <a:gd name="T19" fmla="*/ 30 h 119"/>
                <a:gd name="T20" fmla="*/ 16 w 154"/>
                <a:gd name="T21" fmla="*/ 15 h 119"/>
                <a:gd name="T22" fmla="*/ 29 w 154"/>
                <a:gd name="T23" fmla="*/ 13 h 119"/>
                <a:gd name="T24" fmla="*/ 29 w 154"/>
                <a:gd name="T25" fmla="*/ 9 h 119"/>
                <a:gd name="T26" fmla="*/ 58 w 154"/>
                <a:gd name="T27" fmla="*/ 0 h 119"/>
                <a:gd name="T28" fmla="*/ 58 w 154"/>
                <a:gd name="T29" fmla="*/ 0 h 1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54" h="119">
                  <a:moveTo>
                    <a:pt x="120" y="0"/>
                  </a:moveTo>
                  <a:lnTo>
                    <a:pt x="154" y="50"/>
                  </a:lnTo>
                  <a:lnTo>
                    <a:pt x="142" y="67"/>
                  </a:lnTo>
                  <a:lnTo>
                    <a:pt x="79" y="74"/>
                  </a:lnTo>
                  <a:lnTo>
                    <a:pt x="60" y="69"/>
                  </a:lnTo>
                  <a:lnTo>
                    <a:pt x="60" y="119"/>
                  </a:lnTo>
                  <a:lnTo>
                    <a:pt x="54" y="105"/>
                  </a:lnTo>
                  <a:lnTo>
                    <a:pt x="47" y="95"/>
                  </a:lnTo>
                  <a:lnTo>
                    <a:pt x="15" y="99"/>
                  </a:lnTo>
                  <a:lnTo>
                    <a:pt x="0" y="80"/>
                  </a:lnTo>
                  <a:lnTo>
                    <a:pt x="32" y="40"/>
                  </a:lnTo>
                  <a:lnTo>
                    <a:pt x="59" y="34"/>
                  </a:lnTo>
                  <a:lnTo>
                    <a:pt x="60" y="24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4" name="Freeform 211"/>
            <p:cNvSpPr>
              <a:spLocks/>
            </p:cNvSpPr>
            <p:nvPr/>
          </p:nvSpPr>
          <p:spPr bwMode="auto">
            <a:xfrm>
              <a:off x="2491" y="2714"/>
              <a:ext cx="133" cy="98"/>
            </a:xfrm>
            <a:custGeom>
              <a:avLst/>
              <a:gdLst>
                <a:gd name="T0" fmla="*/ 58 w 154"/>
                <a:gd name="T1" fmla="*/ 0 h 119"/>
                <a:gd name="T2" fmla="*/ 74 w 154"/>
                <a:gd name="T3" fmla="*/ 19 h 119"/>
                <a:gd name="T4" fmla="*/ 68 w 154"/>
                <a:gd name="T5" fmla="*/ 25 h 119"/>
                <a:gd name="T6" fmla="*/ 38 w 154"/>
                <a:gd name="T7" fmla="*/ 28 h 119"/>
                <a:gd name="T8" fmla="*/ 29 w 154"/>
                <a:gd name="T9" fmla="*/ 26 h 119"/>
                <a:gd name="T10" fmla="*/ 29 w 154"/>
                <a:gd name="T11" fmla="*/ 45 h 119"/>
                <a:gd name="T12" fmla="*/ 26 w 154"/>
                <a:gd name="T13" fmla="*/ 40 h 119"/>
                <a:gd name="T14" fmla="*/ 22 w 154"/>
                <a:gd name="T15" fmla="*/ 36 h 119"/>
                <a:gd name="T16" fmla="*/ 8 w 154"/>
                <a:gd name="T17" fmla="*/ 38 h 119"/>
                <a:gd name="T18" fmla="*/ 0 w 154"/>
                <a:gd name="T19" fmla="*/ 30 h 119"/>
                <a:gd name="T20" fmla="*/ 16 w 154"/>
                <a:gd name="T21" fmla="*/ 15 h 119"/>
                <a:gd name="T22" fmla="*/ 29 w 154"/>
                <a:gd name="T23" fmla="*/ 13 h 119"/>
                <a:gd name="T24" fmla="*/ 29 w 154"/>
                <a:gd name="T25" fmla="*/ 9 h 119"/>
                <a:gd name="T26" fmla="*/ 58 w 154"/>
                <a:gd name="T27" fmla="*/ 0 h 119"/>
                <a:gd name="T28" fmla="*/ 58 w 154"/>
                <a:gd name="T29" fmla="*/ 0 h 1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54" h="119">
                  <a:moveTo>
                    <a:pt x="120" y="0"/>
                  </a:moveTo>
                  <a:lnTo>
                    <a:pt x="154" y="50"/>
                  </a:lnTo>
                  <a:lnTo>
                    <a:pt x="142" y="67"/>
                  </a:lnTo>
                  <a:lnTo>
                    <a:pt x="79" y="74"/>
                  </a:lnTo>
                  <a:lnTo>
                    <a:pt x="60" y="69"/>
                  </a:lnTo>
                  <a:lnTo>
                    <a:pt x="60" y="119"/>
                  </a:lnTo>
                  <a:lnTo>
                    <a:pt x="54" y="105"/>
                  </a:lnTo>
                  <a:lnTo>
                    <a:pt x="47" y="95"/>
                  </a:lnTo>
                  <a:lnTo>
                    <a:pt x="15" y="99"/>
                  </a:lnTo>
                  <a:lnTo>
                    <a:pt x="0" y="80"/>
                  </a:lnTo>
                  <a:lnTo>
                    <a:pt x="32" y="40"/>
                  </a:lnTo>
                  <a:lnTo>
                    <a:pt x="59" y="34"/>
                  </a:lnTo>
                  <a:lnTo>
                    <a:pt x="60" y="24"/>
                  </a:lnTo>
                  <a:lnTo>
                    <a:pt x="12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" name="Freeform 212"/>
            <p:cNvSpPr>
              <a:spLocks/>
            </p:cNvSpPr>
            <p:nvPr/>
          </p:nvSpPr>
          <p:spPr bwMode="auto">
            <a:xfrm>
              <a:off x="2530" y="2772"/>
              <a:ext cx="53" cy="101"/>
            </a:xfrm>
            <a:custGeom>
              <a:avLst/>
              <a:gdLst>
                <a:gd name="T0" fmla="*/ 28 w 60"/>
                <a:gd name="T1" fmla="*/ 3 h 121"/>
                <a:gd name="T2" fmla="*/ 33 w 60"/>
                <a:gd name="T3" fmla="*/ 40 h 121"/>
                <a:gd name="T4" fmla="*/ 11 w 60"/>
                <a:gd name="T5" fmla="*/ 48 h 121"/>
                <a:gd name="T6" fmla="*/ 0 w 60"/>
                <a:gd name="T7" fmla="*/ 28 h 121"/>
                <a:gd name="T8" fmla="*/ 8 w 60"/>
                <a:gd name="T9" fmla="*/ 21 h 121"/>
                <a:gd name="T10" fmla="*/ 8 w 60"/>
                <a:gd name="T11" fmla="*/ 0 h 121"/>
                <a:gd name="T12" fmla="*/ 19 w 60"/>
                <a:gd name="T13" fmla="*/ 3 h 121"/>
                <a:gd name="T14" fmla="*/ 28 w 60"/>
                <a:gd name="T15" fmla="*/ 3 h 121"/>
                <a:gd name="T16" fmla="*/ 28 w 60"/>
                <a:gd name="T17" fmla="*/ 3 h 1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0" h="121">
                  <a:moveTo>
                    <a:pt x="52" y="3"/>
                  </a:moveTo>
                  <a:lnTo>
                    <a:pt x="60" y="101"/>
                  </a:lnTo>
                  <a:lnTo>
                    <a:pt x="20" y="121"/>
                  </a:lnTo>
                  <a:lnTo>
                    <a:pt x="0" y="71"/>
                  </a:lnTo>
                  <a:lnTo>
                    <a:pt x="15" y="51"/>
                  </a:lnTo>
                  <a:lnTo>
                    <a:pt x="15" y="0"/>
                  </a:lnTo>
                  <a:lnTo>
                    <a:pt x="34" y="5"/>
                  </a:lnTo>
                  <a:lnTo>
                    <a:pt x="52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" name="Freeform 213"/>
            <p:cNvSpPr>
              <a:spLocks/>
            </p:cNvSpPr>
            <p:nvPr/>
          </p:nvSpPr>
          <p:spPr bwMode="auto">
            <a:xfrm>
              <a:off x="2530" y="2772"/>
              <a:ext cx="53" cy="101"/>
            </a:xfrm>
            <a:custGeom>
              <a:avLst/>
              <a:gdLst>
                <a:gd name="T0" fmla="*/ 28 w 60"/>
                <a:gd name="T1" fmla="*/ 3 h 121"/>
                <a:gd name="T2" fmla="*/ 33 w 60"/>
                <a:gd name="T3" fmla="*/ 40 h 121"/>
                <a:gd name="T4" fmla="*/ 11 w 60"/>
                <a:gd name="T5" fmla="*/ 48 h 121"/>
                <a:gd name="T6" fmla="*/ 0 w 60"/>
                <a:gd name="T7" fmla="*/ 28 h 121"/>
                <a:gd name="T8" fmla="*/ 8 w 60"/>
                <a:gd name="T9" fmla="*/ 21 h 121"/>
                <a:gd name="T10" fmla="*/ 8 w 60"/>
                <a:gd name="T11" fmla="*/ 0 h 121"/>
                <a:gd name="T12" fmla="*/ 19 w 60"/>
                <a:gd name="T13" fmla="*/ 3 h 121"/>
                <a:gd name="T14" fmla="*/ 28 w 60"/>
                <a:gd name="T15" fmla="*/ 3 h 121"/>
                <a:gd name="T16" fmla="*/ 28 w 60"/>
                <a:gd name="T17" fmla="*/ 3 h 1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0" h="121">
                  <a:moveTo>
                    <a:pt x="52" y="3"/>
                  </a:moveTo>
                  <a:lnTo>
                    <a:pt x="60" y="101"/>
                  </a:lnTo>
                  <a:lnTo>
                    <a:pt x="20" y="121"/>
                  </a:lnTo>
                  <a:lnTo>
                    <a:pt x="0" y="71"/>
                  </a:lnTo>
                  <a:lnTo>
                    <a:pt x="15" y="51"/>
                  </a:lnTo>
                  <a:lnTo>
                    <a:pt x="15" y="0"/>
                  </a:lnTo>
                  <a:lnTo>
                    <a:pt x="34" y="5"/>
                  </a:lnTo>
                  <a:lnTo>
                    <a:pt x="52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7" name="Freeform 214"/>
            <p:cNvSpPr>
              <a:spLocks/>
            </p:cNvSpPr>
            <p:nvPr/>
          </p:nvSpPr>
          <p:spPr bwMode="auto">
            <a:xfrm>
              <a:off x="2577" y="2772"/>
              <a:ext cx="29" cy="84"/>
            </a:xfrm>
            <a:custGeom>
              <a:avLst/>
              <a:gdLst>
                <a:gd name="T0" fmla="*/ 0 w 35"/>
                <a:gd name="T1" fmla="*/ 2 h 101"/>
                <a:gd name="T2" fmla="*/ 3 w 35"/>
                <a:gd name="T3" fmla="*/ 40 h 101"/>
                <a:gd name="T4" fmla="*/ 11 w 35"/>
                <a:gd name="T5" fmla="*/ 37 h 101"/>
                <a:gd name="T6" fmla="*/ 10 w 35"/>
                <a:gd name="T7" fmla="*/ 15 h 101"/>
                <a:gd name="T8" fmla="*/ 14 w 35"/>
                <a:gd name="T9" fmla="*/ 10 h 101"/>
                <a:gd name="T10" fmla="*/ 12 w 35"/>
                <a:gd name="T11" fmla="*/ 0 h 101"/>
                <a:gd name="T12" fmla="*/ 0 w 35"/>
                <a:gd name="T13" fmla="*/ 2 h 101"/>
                <a:gd name="T14" fmla="*/ 0 w 35"/>
                <a:gd name="T15" fmla="*/ 2 h 1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101">
                  <a:moveTo>
                    <a:pt x="0" y="3"/>
                  </a:moveTo>
                  <a:lnTo>
                    <a:pt x="8" y="101"/>
                  </a:lnTo>
                  <a:lnTo>
                    <a:pt x="28" y="93"/>
                  </a:lnTo>
                  <a:lnTo>
                    <a:pt x="25" y="40"/>
                  </a:lnTo>
                  <a:lnTo>
                    <a:pt x="35" y="25"/>
                  </a:lnTo>
                  <a:lnTo>
                    <a:pt x="3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8" name="Freeform 215"/>
            <p:cNvSpPr>
              <a:spLocks/>
            </p:cNvSpPr>
            <p:nvPr/>
          </p:nvSpPr>
          <p:spPr bwMode="auto">
            <a:xfrm>
              <a:off x="2577" y="2772"/>
              <a:ext cx="29" cy="84"/>
            </a:xfrm>
            <a:custGeom>
              <a:avLst/>
              <a:gdLst>
                <a:gd name="T0" fmla="*/ 0 w 35"/>
                <a:gd name="T1" fmla="*/ 2 h 101"/>
                <a:gd name="T2" fmla="*/ 3 w 35"/>
                <a:gd name="T3" fmla="*/ 40 h 101"/>
                <a:gd name="T4" fmla="*/ 11 w 35"/>
                <a:gd name="T5" fmla="*/ 37 h 101"/>
                <a:gd name="T6" fmla="*/ 10 w 35"/>
                <a:gd name="T7" fmla="*/ 15 h 101"/>
                <a:gd name="T8" fmla="*/ 14 w 35"/>
                <a:gd name="T9" fmla="*/ 10 h 101"/>
                <a:gd name="T10" fmla="*/ 12 w 35"/>
                <a:gd name="T11" fmla="*/ 0 h 101"/>
                <a:gd name="T12" fmla="*/ 0 w 35"/>
                <a:gd name="T13" fmla="*/ 2 h 101"/>
                <a:gd name="T14" fmla="*/ 0 w 35"/>
                <a:gd name="T15" fmla="*/ 2 h 1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" h="101">
                  <a:moveTo>
                    <a:pt x="0" y="3"/>
                  </a:moveTo>
                  <a:lnTo>
                    <a:pt x="8" y="101"/>
                  </a:lnTo>
                  <a:lnTo>
                    <a:pt x="28" y="93"/>
                  </a:lnTo>
                  <a:lnTo>
                    <a:pt x="25" y="40"/>
                  </a:lnTo>
                  <a:lnTo>
                    <a:pt x="35" y="25"/>
                  </a:lnTo>
                  <a:lnTo>
                    <a:pt x="30" y="0"/>
                  </a:lnTo>
                  <a:lnTo>
                    <a:pt x="0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9" name="Freeform 216"/>
            <p:cNvSpPr>
              <a:spLocks/>
            </p:cNvSpPr>
            <p:nvPr/>
          </p:nvSpPr>
          <p:spPr bwMode="auto">
            <a:xfrm>
              <a:off x="2598" y="2755"/>
              <a:ext cx="50" cy="94"/>
            </a:xfrm>
            <a:custGeom>
              <a:avLst/>
              <a:gdLst>
                <a:gd name="T0" fmla="*/ 3 w 58"/>
                <a:gd name="T1" fmla="*/ 8 h 113"/>
                <a:gd name="T2" fmla="*/ 3 w 58"/>
                <a:gd name="T3" fmla="*/ 18 h 113"/>
                <a:gd name="T4" fmla="*/ 0 w 58"/>
                <a:gd name="T5" fmla="*/ 24 h 113"/>
                <a:gd name="T6" fmla="*/ 3 w 58"/>
                <a:gd name="T7" fmla="*/ 45 h 113"/>
                <a:gd name="T8" fmla="*/ 16 w 58"/>
                <a:gd name="T9" fmla="*/ 42 h 113"/>
                <a:gd name="T10" fmla="*/ 16 w 58"/>
                <a:gd name="T11" fmla="*/ 22 h 113"/>
                <a:gd name="T12" fmla="*/ 24 w 58"/>
                <a:gd name="T13" fmla="*/ 15 h 113"/>
                <a:gd name="T14" fmla="*/ 28 w 58"/>
                <a:gd name="T15" fmla="*/ 9 h 113"/>
                <a:gd name="T16" fmla="*/ 25 w 58"/>
                <a:gd name="T17" fmla="*/ 0 h 113"/>
                <a:gd name="T18" fmla="*/ 16 w 58"/>
                <a:gd name="T19" fmla="*/ 1 h 113"/>
                <a:gd name="T20" fmla="*/ 11 w 58"/>
                <a:gd name="T21" fmla="*/ 4 h 113"/>
                <a:gd name="T22" fmla="*/ 3 w 58"/>
                <a:gd name="T23" fmla="*/ 8 h 113"/>
                <a:gd name="T24" fmla="*/ 3 w 58"/>
                <a:gd name="T25" fmla="*/ 8 h 1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113">
                  <a:moveTo>
                    <a:pt x="7" y="20"/>
                  </a:moveTo>
                  <a:lnTo>
                    <a:pt x="8" y="45"/>
                  </a:lnTo>
                  <a:lnTo>
                    <a:pt x="0" y="60"/>
                  </a:lnTo>
                  <a:lnTo>
                    <a:pt x="3" y="113"/>
                  </a:lnTo>
                  <a:lnTo>
                    <a:pt x="33" y="105"/>
                  </a:lnTo>
                  <a:lnTo>
                    <a:pt x="32" y="55"/>
                  </a:lnTo>
                  <a:lnTo>
                    <a:pt x="50" y="38"/>
                  </a:lnTo>
                  <a:lnTo>
                    <a:pt x="58" y="23"/>
                  </a:lnTo>
                  <a:lnTo>
                    <a:pt x="53" y="0"/>
                  </a:lnTo>
                  <a:lnTo>
                    <a:pt x="32" y="1"/>
                  </a:lnTo>
                  <a:lnTo>
                    <a:pt x="23" y="10"/>
                  </a:lnTo>
                  <a:lnTo>
                    <a:pt x="7" y="2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0" name="Freeform 217"/>
            <p:cNvSpPr>
              <a:spLocks/>
            </p:cNvSpPr>
            <p:nvPr/>
          </p:nvSpPr>
          <p:spPr bwMode="auto">
            <a:xfrm>
              <a:off x="2598" y="2755"/>
              <a:ext cx="50" cy="94"/>
            </a:xfrm>
            <a:custGeom>
              <a:avLst/>
              <a:gdLst>
                <a:gd name="T0" fmla="*/ 3 w 58"/>
                <a:gd name="T1" fmla="*/ 8 h 113"/>
                <a:gd name="T2" fmla="*/ 3 w 58"/>
                <a:gd name="T3" fmla="*/ 18 h 113"/>
                <a:gd name="T4" fmla="*/ 0 w 58"/>
                <a:gd name="T5" fmla="*/ 24 h 113"/>
                <a:gd name="T6" fmla="*/ 3 w 58"/>
                <a:gd name="T7" fmla="*/ 45 h 113"/>
                <a:gd name="T8" fmla="*/ 16 w 58"/>
                <a:gd name="T9" fmla="*/ 42 h 113"/>
                <a:gd name="T10" fmla="*/ 16 w 58"/>
                <a:gd name="T11" fmla="*/ 22 h 113"/>
                <a:gd name="T12" fmla="*/ 24 w 58"/>
                <a:gd name="T13" fmla="*/ 15 h 113"/>
                <a:gd name="T14" fmla="*/ 28 w 58"/>
                <a:gd name="T15" fmla="*/ 9 h 113"/>
                <a:gd name="T16" fmla="*/ 25 w 58"/>
                <a:gd name="T17" fmla="*/ 0 h 113"/>
                <a:gd name="T18" fmla="*/ 16 w 58"/>
                <a:gd name="T19" fmla="*/ 1 h 113"/>
                <a:gd name="T20" fmla="*/ 11 w 58"/>
                <a:gd name="T21" fmla="*/ 4 h 113"/>
                <a:gd name="T22" fmla="*/ 3 w 58"/>
                <a:gd name="T23" fmla="*/ 8 h 113"/>
                <a:gd name="T24" fmla="*/ 3 w 58"/>
                <a:gd name="T25" fmla="*/ 8 h 1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8" h="113">
                  <a:moveTo>
                    <a:pt x="7" y="20"/>
                  </a:moveTo>
                  <a:lnTo>
                    <a:pt x="8" y="45"/>
                  </a:lnTo>
                  <a:lnTo>
                    <a:pt x="0" y="60"/>
                  </a:lnTo>
                  <a:lnTo>
                    <a:pt x="3" y="113"/>
                  </a:lnTo>
                  <a:lnTo>
                    <a:pt x="33" y="105"/>
                  </a:lnTo>
                  <a:lnTo>
                    <a:pt x="32" y="55"/>
                  </a:lnTo>
                  <a:lnTo>
                    <a:pt x="50" y="38"/>
                  </a:lnTo>
                  <a:lnTo>
                    <a:pt x="58" y="23"/>
                  </a:lnTo>
                  <a:lnTo>
                    <a:pt x="53" y="0"/>
                  </a:lnTo>
                  <a:lnTo>
                    <a:pt x="32" y="1"/>
                  </a:lnTo>
                  <a:lnTo>
                    <a:pt x="23" y="10"/>
                  </a:lnTo>
                  <a:lnTo>
                    <a:pt x="7" y="2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1" name="Freeform 218"/>
            <p:cNvSpPr>
              <a:spLocks/>
            </p:cNvSpPr>
            <p:nvPr/>
          </p:nvSpPr>
          <p:spPr bwMode="auto">
            <a:xfrm>
              <a:off x="2594" y="2578"/>
              <a:ext cx="239" cy="177"/>
            </a:xfrm>
            <a:custGeom>
              <a:avLst/>
              <a:gdLst>
                <a:gd name="T0" fmla="*/ 0 w 275"/>
                <a:gd name="T1" fmla="*/ 64 h 213"/>
                <a:gd name="T2" fmla="*/ 17 w 275"/>
                <a:gd name="T3" fmla="*/ 84 h 213"/>
                <a:gd name="T4" fmla="*/ 28 w 275"/>
                <a:gd name="T5" fmla="*/ 84 h 213"/>
                <a:gd name="T6" fmla="*/ 34 w 275"/>
                <a:gd name="T7" fmla="*/ 71 h 213"/>
                <a:gd name="T8" fmla="*/ 50 w 275"/>
                <a:gd name="T9" fmla="*/ 68 h 213"/>
                <a:gd name="T10" fmla="*/ 56 w 275"/>
                <a:gd name="T11" fmla="*/ 75 h 213"/>
                <a:gd name="T12" fmla="*/ 64 w 275"/>
                <a:gd name="T13" fmla="*/ 75 h 213"/>
                <a:gd name="T14" fmla="*/ 73 w 275"/>
                <a:gd name="T15" fmla="*/ 77 h 213"/>
                <a:gd name="T16" fmla="*/ 90 w 275"/>
                <a:gd name="T17" fmla="*/ 71 h 213"/>
                <a:gd name="T18" fmla="*/ 98 w 275"/>
                <a:gd name="T19" fmla="*/ 76 h 213"/>
                <a:gd name="T20" fmla="*/ 114 w 275"/>
                <a:gd name="T21" fmla="*/ 69 h 213"/>
                <a:gd name="T22" fmla="*/ 114 w 275"/>
                <a:gd name="T23" fmla="*/ 63 h 213"/>
                <a:gd name="T24" fmla="*/ 136 w 275"/>
                <a:gd name="T25" fmla="*/ 42 h 213"/>
                <a:gd name="T26" fmla="*/ 136 w 275"/>
                <a:gd name="T27" fmla="*/ 26 h 213"/>
                <a:gd name="T28" fmla="*/ 130 w 275"/>
                <a:gd name="T29" fmla="*/ 20 h 213"/>
                <a:gd name="T30" fmla="*/ 133 w 275"/>
                <a:gd name="T31" fmla="*/ 0 h 213"/>
                <a:gd name="T32" fmla="*/ 122 w 275"/>
                <a:gd name="T33" fmla="*/ 7 h 213"/>
                <a:gd name="T34" fmla="*/ 96 w 275"/>
                <a:gd name="T35" fmla="*/ 4 h 213"/>
                <a:gd name="T36" fmla="*/ 32 w 275"/>
                <a:gd name="T37" fmla="*/ 34 h 213"/>
                <a:gd name="T38" fmla="*/ 23 w 275"/>
                <a:gd name="T39" fmla="*/ 57 h 213"/>
                <a:gd name="T40" fmla="*/ 0 w 275"/>
                <a:gd name="T41" fmla="*/ 64 h 213"/>
                <a:gd name="T42" fmla="*/ 0 w 275"/>
                <a:gd name="T43" fmla="*/ 64 h 21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75" h="213">
                  <a:moveTo>
                    <a:pt x="0" y="163"/>
                  </a:moveTo>
                  <a:lnTo>
                    <a:pt x="34" y="213"/>
                  </a:lnTo>
                  <a:lnTo>
                    <a:pt x="55" y="212"/>
                  </a:lnTo>
                  <a:lnTo>
                    <a:pt x="69" y="182"/>
                  </a:lnTo>
                  <a:lnTo>
                    <a:pt x="102" y="172"/>
                  </a:lnTo>
                  <a:lnTo>
                    <a:pt x="114" y="188"/>
                  </a:lnTo>
                  <a:lnTo>
                    <a:pt x="130" y="188"/>
                  </a:lnTo>
                  <a:lnTo>
                    <a:pt x="149" y="195"/>
                  </a:lnTo>
                  <a:lnTo>
                    <a:pt x="179" y="180"/>
                  </a:lnTo>
                  <a:lnTo>
                    <a:pt x="199" y="192"/>
                  </a:lnTo>
                  <a:lnTo>
                    <a:pt x="230" y="173"/>
                  </a:lnTo>
                  <a:lnTo>
                    <a:pt x="230" y="158"/>
                  </a:lnTo>
                  <a:lnTo>
                    <a:pt x="275" y="107"/>
                  </a:lnTo>
                  <a:lnTo>
                    <a:pt x="275" y="65"/>
                  </a:lnTo>
                  <a:lnTo>
                    <a:pt x="264" y="50"/>
                  </a:lnTo>
                  <a:lnTo>
                    <a:pt x="267" y="0"/>
                  </a:lnTo>
                  <a:lnTo>
                    <a:pt x="245" y="18"/>
                  </a:lnTo>
                  <a:lnTo>
                    <a:pt x="195" y="10"/>
                  </a:lnTo>
                  <a:lnTo>
                    <a:pt x="65" y="85"/>
                  </a:lnTo>
                  <a:lnTo>
                    <a:pt x="47" y="143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2" name="Freeform 219"/>
            <p:cNvSpPr>
              <a:spLocks/>
            </p:cNvSpPr>
            <p:nvPr/>
          </p:nvSpPr>
          <p:spPr bwMode="auto">
            <a:xfrm>
              <a:off x="2594" y="2578"/>
              <a:ext cx="239" cy="177"/>
            </a:xfrm>
            <a:custGeom>
              <a:avLst/>
              <a:gdLst>
                <a:gd name="T0" fmla="*/ 0 w 275"/>
                <a:gd name="T1" fmla="*/ 64 h 213"/>
                <a:gd name="T2" fmla="*/ 17 w 275"/>
                <a:gd name="T3" fmla="*/ 84 h 213"/>
                <a:gd name="T4" fmla="*/ 28 w 275"/>
                <a:gd name="T5" fmla="*/ 84 h 213"/>
                <a:gd name="T6" fmla="*/ 34 w 275"/>
                <a:gd name="T7" fmla="*/ 71 h 213"/>
                <a:gd name="T8" fmla="*/ 50 w 275"/>
                <a:gd name="T9" fmla="*/ 68 h 213"/>
                <a:gd name="T10" fmla="*/ 56 w 275"/>
                <a:gd name="T11" fmla="*/ 75 h 213"/>
                <a:gd name="T12" fmla="*/ 64 w 275"/>
                <a:gd name="T13" fmla="*/ 75 h 213"/>
                <a:gd name="T14" fmla="*/ 73 w 275"/>
                <a:gd name="T15" fmla="*/ 77 h 213"/>
                <a:gd name="T16" fmla="*/ 90 w 275"/>
                <a:gd name="T17" fmla="*/ 71 h 213"/>
                <a:gd name="T18" fmla="*/ 98 w 275"/>
                <a:gd name="T19" fmla="*/ 76 h 213"/>
                <a:gd name="T20" fmla="*/ 114 w 275"/>
                <a:gd name="T21" fmla="*/ 69 h 213"/>
                <a:gd name="T22" fmla="*/ 114 w 275"/>
                <a:gd name="T23" fmla="*/ 63 h 213"/>
                <a:gd name="T24" fmla="*/ 136 w 275"/>
                <a:gd name="T25" fmla="*/ 42 h 213"/>
                <a:gd name="T26" fmla="*/ 136 w 275"/>
                <a:gd name="T27" fmla="*/ 26 h 213"/>
                <a:gd name="T28" fmla="*/ 130 w 275"/>
                <a:gd name="T29" fmla="*/ 20 h 213"/>
                <a:gd name="T30" fmla="*/ 133 w 275"/>
                <a:gd name="T31" fmla="*/ 0 h 213"/>
                <a:gd name="T32" fmla="*/ 122 w 275"/>
                <a:gd name="T33" fmla="*/ 7 h 213"/>
                <a:gd name="T34" fmla="*/ 96 w 275"/>
                <a:gd name="T35" fmla="*/ 4 h 213"/>
                <a:gd name="T36" fmla="*/ 32 w 275"/>
                <a:gd name="T37" fmla="*/ 34 h 213"/>
                <a:gd name="T38" fmla="*/ 23 w 275"/>
                <a:gd name="T39" fmla="*/ 57 h 213"/>
                <a:gd name="T40" fmla="*/ 0 w 275"/>
                <a:gd name="T41" fmla="*/ 64 h 213"/>
                <a:gd name="T42" fmla="*/ 0 w 275"/>
                <a:gd name="T43" fmla="*/ 64 h 21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75" h="213">
                  <a:moveTo>
                    <a:pt x="0" y="163"/>
                  </a:moveTo>
                  <a:lnTo>
                    <a:pt x="34" y="213"/>
                  </a:lnTo>
                  <a:lnTo>
                    <a:pt x="55" y="212"/>
                  </a:lnTo>
                  <a:lnTo>
                    <a:pt x="69" y="182"/>
                  </a:lnTo>
                  <a:lnTo>
                    <a:pt x="102" y="172"/>
                  </a:lnTo>
                  <a:lnTo>
                    <a:pt x="114" y="188"/>
                  </a:lnTo>
                  <a:lnTo>
                    <a:pt x="130" y="188"/>
                  </a:lnTo>
                  <a:lnTo>
                    <a:pt x="149" y="195"/>
                  </a:lnTo>
                  <a:lnTo>
                    <a:pt x="179" y="180"/>
                  </a:lnTo>
                  <a:lnTo>
                    <a:pt x="199" y="192"/>
                  </a:lnTo>
                  <a:lnTo>
                    <a:pt x="230" y="173"/>
                  </a:lnTo>
                  <a:lnTo>
                    <a:pt x="230" y="158"/>
                  </a:lnTo>
                  <a:lnTo>
                    <a:pt x="275" y="107"/>
                  </a:lnTo>
                  <a:lnTo>
                    <a:pt x="275" y="65"/>
                  </a:lnTo>
                  <a:lnTo>
                    <a:pt x="264" y="50"/>
                  </a:lnTo>
                  <a:lnTo>
                    <a:pt x="267" y="0"/>
                  </a:lnTo>
                  <a:lnTo>
                    <a:pt x="245" y="18"/>
                  </a:lnTo>
                  <a:lnTo>
                    <a:pt x="195" y="10"/>
                  </a:lnTo>
                  <a:lnTo>
                    <a:pt x="65" y="85"/>
                  </a:lnTo>
                  <a:lnTo>
                    <a:pt x="47" y="143"/>
                  </a:lnTo>
                  <a:lnTo>
                    <a:pt x="0" y="16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3" name="Freeform 220"/>
            <p:cNvSpPr>
              <a:spLocks/>
            </p:cNvSpPr>
            <p:nvPr/>
          </p:nvSpPr>
          <p:spPr bwMode="auto">
            <a:xfrm>
              <a:off x="2732" y="2429"/>
              <a:ext cx="227" cy="212"/>
            </a:xfrm>
            <a:custGeom>
              <a:avLst/>
              <a:gdLst>
                <a:gd name="T0" fmla="*/ 26 w 263"/>
                <a:gd name="T1" fmla="*/ 0 h 253"/>
                <a:gd name="T2" fmla="*/ 5 w 263"/>
                <a:gd name="T3" fmla="*/ 24 h 253"/>
                <a:gd name="T4" fmla="*/ 5 w 263"/>
                <a:gd name="T5" fmla="*/ 44 h 253"/>
                <a:gd name="T6" fmla="*/ 0 w 263"/>
                <a:gd name="T7" fmla="*/ 54 h 253"/>
                <a:gd name="T8" fmla="*/ 9 w 263"/>
                <a:gd name="T9" fmla="*/ 71 h 253"/>
                <a:gd name="T10" fmla="*/ 19 w 263"/>
                <a:gd name="T11" fmla="*/ 78 h 253"/>
                <a:gd name="T12" fmla="*/ 42 w 263"/>
                <a:gd name="T13" fmla="*/ 80 h 253"/>
                <a:gd name="T14" fmla="*/ 53 w 263"/>
                <a:gd name="T15" fmla="*/ 74 h 253"/>
                <a:gd name="T16" fmla="*/ 116 w 263"/>
                <a:gd name="T17" fmla="*/ 105 h 253"/>
                <a:gd name="T18" fmla="*/ 116 w 263"/>
                <a:gd name="T19" fmla="*/ 98 h 253"/>
                <a:gd name="T20" fmla="*/ 126 w 263"/>
                <a:gd name="T21" fmla="*/ 99 h 253"/>
                <a:gd name="T22" fmla="*/ 120 w 263"/>
                <a:gd name="T23" fmla="*/ 25 h 253"/>
                <a:gd name="T24" fmla="*/ 124 w 263"/>
                <a:gd name="T25" fmla="*/ 22 h 253"/>
                <a:gd name="T26" fmla="*/ 123 w 263"/>
                <a:gd name="T27" fmla="*/ 11 h 253"/>
                <a:gd name="T28" fmla="*/ 104 w 263"/>
                <a:gd name="T29" fmla="*/ 3 h 253"/>
                <a:gd name="T30" fmla="*/ 90 w 263"/>
                <a:gd name="T31" fmla="*/ 4 h 253"/>
                <a:gd name="T32" fmla="*/ 85 w 263"/>
                <a:gd name="T33" fmla="*/ 19 h 253"/>
                <a:gd name="T34" fmla="*/ 79 w 263"/>
                <a:gd name="T35" fmla="*/ 22 h 253"/>
                <a:gd name="T36" fmla="*/ 58 w 263"/>
                <a:gd name="T37" fmla="*/ 13 h 253"/>
                <a:gd name="T38" fmla="*/ 49 w 263"/>
                <a:gd name="T39" fmla="*/ 3 h 253"/>
                <a:gd name="T40" fmla="*/ 26 w 263"/>
                <a:gd name="T41" fmla="*/ 0 h 253"/>
                <a:gd name="T42" fmla="*/ 26 w 263"/>
                <a:gd name="T43" fmla="*/ 0 h 25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63" h="253">
                  <a:moveTo>
                    <a:pt x="55" y="0"/>
                  </a:moveTo>
                  <a:lnTo>
                    <a:pt x="10" y="60"/>
                  </a:lnTo>
                  <a:lnTo>
                    <a:pt x="11" y="105"/>
                  </a:lnTo>
                  <a:lnTo>
                    <a:pt x="0" y="133"/>
                  </a:lnTo>
                  <a:lnTo>
                    <a:pt x="18" y="171"/>
                  </a:lnTo>
                  <a:lnTo>
                    <a:pt x="40" y="188"/>
                  </a:lnTo>
                  <a:lnTo>
                    <a:pt x="88" y="196"/>
                  </a:lnTo>
                  <a:lnTo>
                    <a:pt x="110" y="178"/>
                  </a:lnTo>
                  <a:lnTo>
                    <a:pt x="241" y="253"/>
                  </a:lnTo>
                  <a:lnTo>
                    <a:pt x="241" y="238"/>
                  </a:lnTo>
                  <a:lnTo>
                    <a:pt x="263" y="240"/>
                  </a:lnTo>
                  <a:lnTo>
                    <a:pt x="250" y="61"/>
                  </a:lnTo>
                  <a:lnTo>
                    <a:pt x="261" y="53"/>
                  </a:lnTo>
                  <a:lnTo>
                    <a:pt x="255" y="28"/>
                  </a:lnTo>
                  <a:lnTo>
                    <a:pt x="216" y="3"/>
                  </a:lnTo>
                  <a:lnTo>
                    <a:pt x="186" y="10"/>
                  </a:lnTo>
                  <a:lnTo>
                    <a:pt x="176" y="48"/>
                  </a:lnTo>
                  <a:lnTo>
                    <a:pt x="166" y="53"/>
                  </a:lnTo>
                  <a:lnTo>
                    <a:pt x="120" y="30"/>
                  </a:lnTo>
                  <a:lnTo>
                    <a:pt x="103" y="8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4" name="Freeform 221"/>
            <p:cNvSpPr>
              <a:spLocks/>
            </p:cNvSpPr>
            <p:nvPr/>
          </p:nvSpPr>
          <p:spPr bwMode="auto">
            <a:xfrm>
              <a:off x="2732" y="2429"/>
              <a:ext cx="227" cy="212"/>
            </a:xfrm>
            <a:custGeom>
              <a:avLst/>
              <a:gdLst>
                <a:gd name="T0" fmla="*/ 26 w 263"/>
                <a:gd name="T1" fmla="*/ 0 h 253"/>
                <a:gd name="T2" fmla="*/ 5 w 263"/>
                <a:gd name="T3" fmla="*/ 24 h 253"/>
                <a:gd name="T4" fmla="*/ 5 w 263"/>
                <a:gd name="T5" fmla="*/ 44 h 253"/>
                <a:gd name="T6" fmla="*/ 0 w 263"/>
                <a:gd name="T7" fmla="*/ 54 h 253"/>
                <a:gd name="T8" fmla="*/ 9 w 263"/>
                <a:gd name="T9" fmla="*/ 71 h 253"/>
                <a:gd name="T10" fmla="*/ 19 w 263"/>
                <a:gd name="T11" fmla="*/ 78 h 253"/>
                <a:gd name="T12" fmla="*/ 42 w 263"/>
                <a:gd name="T13" fmla="*/ 80 h 253"/>
                <a:gd name="T14" fmla="*/ 53 w 263"/>
                <a:gd name="T15" fmla="*/ 74 h 253"/>
                <a:gd name="T16" fmla="*/ 116 w 263"/>
                <a:gd name="T17" fmla="*/ 105 h 253"/>
                <a:gd name="T18" fmla="*/ 116 w 263"/>
                <a:gd name="T19" fmla="*/ 98 h 253"/>
                <a:gd name="T20" fmla="*/ 126 w 263"/>
                <a:gd name="T21" fmla="*/ 99 h 253"/>
                <a:gd name="T22" fmla="*/ 120 w 263"/>
                <a:gd name="T23" fmla="*/ 25 h 253"/>
                <a:gd name="T24" fmla="*/ 124 w 263"/>
                <a:gd name="T25" fmla="*/ 22 h 253"/>
                <a:gd name="T26" fmla="*/ 123 w 263"/>
                <a:gd name="T27" fmla="*/ 11 h 253"/>
                <a:gd name="T28" fmla="*/ 104 w 263"/>
                <a:gd name="T29" fmla="*/ 3 h 253"/>
                <a:gd name="T30" fmla="*/ 90 w 263"/>
                <a:gd name="T31" fmla="*/ 4 h 253"/>
                <a:gd name="T32" fmla="*/ 85 w 263"/>
                <a:gd name="T33" fmla="*/ 19 h 253"/>
                <a:gd name="T34" fmla="*/ 79 w 263"/>
                <a:gd name="T35" fmla="*/ 22 h 253"/>
                <a:gd name="T36" fmla="*/ 58 w 263"/>
                <a:gd name="T37" fmla="*/ 13 h 253"/>
                <a:gd name="T38" fmla="*/ 49 w 263"/>
                <a:gd name="T39" fmla="*/ 3 h 253"/>
                <a:gd name="T40" fmla="*/ 26 w 263"/>
                <a:gd name="T41" fmla="*/ 0 h 253"/>
                <a:gd name="T42" fmla="*/ 26 w 263"/>
                <a:gd name="T43" fmla="*/ 0 h 25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63" h="253">
                  <a:moveTo>
                    <a:pt x="55" y="0"/>
                  </a:moveTo>
                  <a:lnTo>
                    <a:pt x="10" y="60"/>
                  </a:lnTo>
                  <a:lnTo>
                    <a:pt x="11" y="105"/>
                  </a:lnTo>
                  <a:lnTo>
                    <a:pt x="0" y="133"/>
                  </a:lnTo>
                  <a:lnTo>
                    <a:pt x="18" y="171"/>
                  </a:lnTo>
                  <a:lnTo>
                    <a:pt x="40" y="188"/>
                  </a:lnTo>
                  <a:lnTo>
                    <a:pt x="88" y="196"/>
                  </a:lnTo>
                  <a:lnTo>
                    <a:pt x="110" y="178"/>
                  </a:lnTo>
                  <a:lnTo>
                    <a:pt x="241" y="253"/>
                  </a:lnTo>
                  <a:lnTo>
                    <a:pt x="241" y="238"/>
                  </a:lnTo>
                  <a:lnTo>
                    <a:pt x="263" y="240"/>
                  </a:lnTo>
                  <a:lnTo>
                    <a:pt x="250" y="61"/>
                  </a:lnTo>
                  <a:lnTo>
                    <a:pt x="261" y="53"/>
                  </a:lnTo>
                  <a:lnTo>
                    <a:pt x="255" y="28"/>
                  </a:lnTo>
                  <a:lnTo>
                    <a:pt x="216" y="3"/>
                  </a:lnTo>
                  <a:lnTo>
                    <a:pt x="186" y="10"/>
                  </a:lnTo>
                  <a:lnTo>
                    <a:pt x="176" y="48"/>
                  </a:lnTo>
                  <a:lnTo>
                    <a:pt x="166" y="53"/>
                  </a:lnTo>
                  <a:lnTo>
                    <a:pt x="120" y="30"/>
                  </a:lnTo>
                  <a:lnTo>
                    <a:pt x="103" y="8"/>
                  </a:lnTo>
                  <a:lnTo>
                    <a:pt x="5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5" name="Freeform 222"/>
            <p:cNvSpPr>
              <a:spLocks/>
            </p:cNvSpPr>
            <p:nvPr/>
          </p:nvSpPr>
          <p:spPr bwMode="auto">
            <a:xfrm>
              <a:off x="2624" y="2721"/>
              <a:ext cx="187" cy="155"/>
            </a:xfrm>
            <a:custGeom>
              <a:avLst/>
              <a:gdLst>
                <a:gd name="T0" fmla="*/ 97 w 215"/>
                <a:gd name="T1" fmla="*/ 1 h 186"/>
                <a:gd name="T2" fmla="*/ 108 w 215"/>
                <a:gd name="T3" fmla="*/ 16 h 186"/>
                <a:gd name="T4" fmla="*/ 95 w 215"/>
                <a:gd name="T5" fmla="*/ 27 h 186"/>
                <a:gd name="T6" fmla="*/ 97 w 215"/>
                <a:gd name="T7" fmla="*/ 32 h 186"/>
                <a:gd name="T8" fmla="*/ 84 w 215"/>
                <a:gd name="T9" fmla="*/ 38 h 186"/>
                <a:gd name="T10" fmla="*/ 83 w 215"/>
                <a:gd name="T11" fmla="*/ 51 h 186"/>
                <a:gd name="T12" fmla="*/ 77 w 215"/>
                <a:gd name="T13" fmla="*/ 54 h 186"/>
                <a:gd name="T14" fmla="*/ 72 w 215"/>
                <a:gd name="T15" fmla="*/ 51 h 186"/>
                <a:gd name="T16" fmla="*/ 63 w 215"/>
                <a:gd name="T17" fmla="*/ 52 h 186"/>
                <a:gd name="T18" fmla="*/ 51 w 215"/>
                <a:gd name="T19" fmla="*/ 69 h 186"/>
                <a:gd name="T20" fmla="*/ 40 w 215"/>
                <a:gd name="T21" fmla="*/ 75 h 186"/>
                <a:gd name="T22" fmla="*/ 28 w 215"/>
                <a:gd name="T23" fmla="*/ 73 h 186"/>
                <a:gd name="T24" fmla="*/ 17 w 215"/>
                <a:gd name="T25" fmla="*/ 61 h 186"/>
                <a:gd name="T26" fmla="*/ 1 w 215"/>
                <a:gd name="T27" fmla="*/ 58 h 186"/>
                <a:gd name="T28" fmla="*/ 0 w 215"/>
                <a:gd name="T29" fmla="*/ 38 h 186"/>
                <a:gd name="T30" fmla="*/ 9 w 215"/>
                <a:gd name="T31" fmla="*/ 33 h 186"/>
                <a:gd name="T32" fmla="*/ 13 w 215"/>
                <a:gd name="T33" fmla="*/ 27 h 186"/>
                <a:gd name="T34" fmla="*/ 13 w 215"/>
                <a:gd name="T35" fmla="*/ 21 h 186"/>
                <a:gd name="T36" fmla="*/ 10 w 215"/>
                <a:gd name="T37" fmla="*/ 16 h 186"/>
                <a:gd name="T38" fmla="*/ 17 w 215"/>
                <a:gd name="T39" fmla="*/ 4 h 186"/>
                <a:gd name="T40" fmla="*/ 33 w 215"/>
                <a:gd name="T41" fmla="*/ 0 h 186"/>
                <a:gd name="T42" fmla="*/ 40 w 215"/>
                <a:gd name="T43" fmla="*/ 7 h 186"/>
                <a:gd name="T44" fmla="*/ 50 w 215"/>
                <a:gd name="T45" fmla="*/ 7 h 186"/>
                <a:gd name="T46" fmla="*/ 57 w 215"/>
                <a:gd name="T47" fmla="*/ 9 h 186"/>
                <a:gd name="T48" fmla="*/ 72 w 215"/>
                <a:gd name="T49" fmla="*/ 3 h 186"/>
                <a:gd name="T50" fmla="*/ 83 w 215"/>
                <a:gd name="T51" fmla="*/ 8 h 186"/>
                <a:gd name="T52" fmla="*/ 97 w 215"/>
                <a:gd name="T53" fmla="*/ 1 h 186"/>
                <a:gd name="T54" fmla="*/ 97 w 215"/>
                <a:gd name="T55" fmla="*/ 1 h 18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5" h="186">
                  <a:moveTo>
                    <a:pt x="196" y="1"/>
                  </a:moveTo>
                  <a:lnTo>
                    <a:pt x="215" y="38"/>
                  </a:lnTo>
                  <a:lnTo>
                    <a:pt x="190" y="66"/>
                  </a:lnTo>
                  <a:lnTo>
                    <a:pt x="195" y="78"/>
                  </a:lnTo>
                  <a:lnTo>
                    <a:pt x="170" y="95"/>
                  </a:lnTo>
                  <a:lnTo>
                    <a:pt x="168" y="125"/>
                  </a:lnTo>
                  <a:lnTo>
                    <a:pt x="153" y="136"/>
                  </a:lnTo>
                  <a:lnTo>
                    <a:pt x="146" y="126"/>
                  </a:lnTo>
                  <a:lnTo>
                    <a:pt x="126" y="128"/>
                  </a:lnTo>
                  <a:lnTo>
                    <a:pt x="103" y="171"/>
                  </a:lnTo>
                  <a:lnTo>
                    <a:pt x="81" y="186"/>
                  </a:lnTo>
                  <a:lnTo>
                    <a:pt x="56" y="181"/>
                  </a:lnTo>
                  <a:lnTo>
                    <a:pt x="33" y="150"/>
                  </a:lnTo>
                  <a:lnTo>
                    <a:pt x="1" y="145"/>
                  </a:lnTo>
                  <a:lnTo>
                    <a:pt x="0" y="95"/>
                  </a:lnTo>
                  <a:lnTo>
                    <a:pt x="18" y="80"/>
                  </a:lnTo>
                  <a:lnTo>
                    <a:pt x="26" y="65"/>
                  </a:lnTo>
                  <a:lnTo>
                    <a:pt x="25" y="51"/>
                  </a:lnTo>
                  <a:lnTo>
                    <a:pt x="21" y="41"/>
                  </a:lnTo>
                  <a:lnTo>
                    <a:pt x="35" y="10"/>
                  </a:lnTo>
                  <a:lnTo>
                    <a:pt x="68" y="0"/>
                  </a:lnTo>
                  <a:lnTo>
                    <a:pt x="80" y="16"/>
                  </a:lnTo>
                  <a:lnTo>
                    <a:pt x="100" y="16"/>
                  </a:lnTo>
                  <a:lnTo>
                    <a:pt x="115" y="23"/>
                  </a:lnTo>
                  <a:lnTo>
                    <a:pt x="145" y="8"/>
                  </a:lnTo>
                  <a:lnTo>
                    <a:pt x="165" y="20"/>
                  </a:lnTo>
                  <a:lnTo>
                    <a:pt x="196" y="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6" name="Freeform 223"/>
            <p:cNvSpPr>
              <a:spLocks/>
            </p:cNvSpPr>
            <p:nvPr/>
          </p:nvSpPr>
          <p:spPr bwMode="auto">
            <a:xfrm>
              <a:off x="2624" y="2721"/>
              <a:ext cx="187" cy="155"/>
            </a:xfrm>
            <a:custGeom>
              <a:avLst/>
              <a:gdLst>
                <a:gd name="T0" fmla="*/ 97 w 215"/>
                <a:gd name="T1" fmla="*/ 1 h 186"/>
                <a:gd name="T2" fmla="*/ 108 w 215"/>
                <a:gd name="T3" fmla="*/ 16 h 186"/>
                <a:gd name="T4" fmla="*/ 95 w 215"/>
                <a:gd name="T5" fmla="*/ 27 h 186"/>
                <a:gd name="T6" fmla="*/ 97 w 215"/>
                <a:gd name="T7" fmla="*/ 32 h 186"/>
                <a:gd name="T8" fmla="*/ 84 w 215"/>
                <a:gd name="T9" fmla="*/ 38 h 186"/>
                <a:gd name="T10" fmla="*/ 83 w 215"/>
                <a:gd name="T11" fmla="*/ 51 h 186"/>
                <a:gd name="T12" fmla="*/ 77 w 215"/>
                <a:gd name="T13" fmla="*/ 54 h 186"/>
                <a:gd name="T14" fmla="*/ 72 w 215"/>
                <a:gd name="T15" fmla="*/ 51 h 186"/>
                <a:gd name="T16" fmla="*/ 63 w 215"/>
                <a:gd name="T17" fmla="*/ 52 h 186"/>
                <a:gd name="T18" fmla="*/ 51 w 215"/>
                <a:gd name="T19" fmla="*/ 69 h 186"/>
                <a:gd name="T20" fmla="*/ 40 w 215"/>
                <a:gd name="T21" fmla="*/ 75 h 186"/>
                <a:gd name="T22" fmla="*/ 28 w 215"/>
                <a:gd name="T23" fmla="*/ 73 h 186"/>
                <a:gd name="T24" fmla="*/ 17 w 215"/>
                <a:gd name="T25" fmla="*/ 61 h 186"/>
                <a:gd name="T26" fmla="*/ 1 w 215"/>
                <a:gd name="T27" fmla="*/ 58 h 186"/>
                <a:gd name="T28" fmla="*/ 0 w 215"/>
                <a:gd name="T29" fmla="*/ 38 h 186"/>
                <a:gd name="T30" fmla="*/ 9 w 215"/>
                <a:gd name="T31" fmla="*/ 33 h 186"/>
                <a:gd name="T32" fmla="*/ 13 w 215"/>
                <a:gd name="T33" fmla="*/ 27 h 186"/>
                <a:gd name="T34" fmla="*/ 13 w 215"/>
                <a:gd name="T35" fmla="*/ 21 h 186"/>
                <a:gd name="T36" fmla="*/ 10 w 215"/>
                <a:gd name="T37" fmla="*/ 16 h 186"/>
                <a:gd name="T38" fmla="*/ 17 w 215"/>
                <a:gd name="T39" fmla="*/ 4 h 186"/>
                <a:gd name="T40" fmla="*/ 33 w 215"/>
                <a:gd name="T41" fmla="*/ 0 h 186"/>
                <a:gd name="T42" fmla="*/ 40 w 215"/>
                <a:gd name="T43" fmla="*/ 7 h 186"/>
                <a:gd name="T44" fmla="*/ 50 w 215"/>
                <a:gd name="T45" fmla="*/ 7 h 186"/>
                <a:gd name="T46" fmla="*/ 57 w 215"/>
                <a:gd name="T47" fmla="*/ 9 h 186"/>
                <a:gd name="T48" fmla="*/ 72 w 215"/>
                <a:gd name="T49" fmla="*/ 3 h 186"/>
                <a:gd name="T50" fmla="*/ 83 w 215"/>
                <a:gd name="T51" fmla="*/ 8 h 186"/>
                <a:gd name="T52" fmla="*/ 97 w 215"/>
                <a:gd name="T53" fmla="*/ 1 h 186"/>
                <a:gd name="T54" fmla="*/ 97 w 215"/>
                <a:gd name="T55" fmla="*/ 1 h 18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5" h="186">
                  <a:moveTo>
                    <a:pt x="196" y="1"/>
                  </a:moveTo>
                  <a:lnTo>
                    <a:pt x="215" y="38"/>
                  </a:lnTo>
                  <a:lnTo>
                    <a:pt x="190" y="66"/>
                  </a:lnTo>
                  <a:lnTo>
                    <a:pt x="195" y="78"/>
                  </a:lnTo>
                  <a:lnTo>
                    <a:pt x="170" y="95"/>
                  </a:lnTo>
                  <a:lnTo>
                    <a:pt x="168" y="125"/>
                  </a:lnTo>
                  <a:lnTo>
                    <a:pt x="153" y="136"/>
                  </a:lnTo>
                  <a:lnTo>
                    <a:pt x="146" y="126"/>
                  </a:lnTo>
                  <a:lnTo>
                    <a:pt x="126" y="128"/>
                  </a:lnTo>
                  <a:lnTo>
                    <a:pt x="103" y="171"/>
                  </a:lnTo>
                  <a:lnTo>
                    <a:pt x="81" y="186"/>
                  </a:lnTo>
                  <a:lnTo>
                    <a:pt x="56" y="181"/>
                  </a:lnTo>
                  <a:lnTo>
                    <a:pt x="33" y="150"/>
                  </a:lnTo>
                  <a:lnTo>
                    <a:pt x="1" y="145"/>
                  </a:lnTo>
                  <a:lnTo>
                    <a:pt x="0" y="95"/>
                  </a:lnTo>
                  <a:lnTo>
                    <a:pt x="18" y="80"/>
                  </a:lnTo>
                  <a:lnTo>
                    <a:pt x="26" y="65"/>
                  </a:lnTo>
                  <a:lnTo>
                    <a:pt x="25" y="51"/>
                  </a:lnTo>
                  <a:lnTo>
                    <a:pt x="21" y="41"/>
                  </a:lnTo>
                  <a:lnTo>
                    <a:pt x="35" y="10"/>
                  </a:lnTo>
                  <a:lnTo>
                    <a:pt x="68" y="0"/>
                  </a:lnTo>
                  <a:lnTo>
                    <a:pt x="80" y="16"/>
                  </a:lnTo>
                  <a:lnTo>
                    <a:pt x="100" y="16"/>
                  </a:lnTo>
                  <a:lnTo>
                    <a:pt x="115" y="23"/>
                  </a:lnTo>
                  <a:lnTo>
                    <a:pt x="145" y="8"/>
                  </a:lnTo>
                  <a:lnTo>
                    <a:pt x="165" y="20"/>
                  </a:lnTo>
                  <a:lnTo>
                    <a:pt x="196" y="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7" name="Freeform 224"/>
            <p:cNvSpPr>
              <a:spLocks/>
            </p:cNvSpPr>
            <p:nvPr/>
          </p:nvSpPr>
          <p:spPr bwMode="auto">
            <a:xfrm>
              <a:off x="2795" y="2578"/>
              <a:ext cx="150" cy="257"/>
            </a:xfrm>
            <a:custGeom>
              <a:avLst/>
              <a:gdLst>
                <a:gd name="T0" fmla="*/ 0 w 177"/>
                <a:gd name="T1" fmla="*/ 69 h 308"/>
                <a:gd name="T2" fmla="*/ 13 w 177"/>
                <a:gd name="T3" fmla="*/ 80 h 308"/>
                <a:gd name="T4" fmla="*/ 14 w 177"/>
                <a:gd name="T5" fmla="*/ 100 h 308"/>
                <a:gd name="T6" fmla="*/ 4 w 177"/>
                <a:gd name="T7" fmla="*/ 100 h 308"/>
                <a:gd name="T8" fmla="*/ 15 w 177"/>
                <a:gd name="T9" fmla="*/ 116 h 308"/>
                <a:gd name="T10" fmla="*/ 8 w 177"/>
                <a:gd name="T11" fmla="*/ 124 h 308"/>
                <a:gd name="T12" fmla="*/ 37 w 177"/>
                <a:gd name="T13" fmla="*/ 116 h 308"/>
                <a:gd name="T14" fmla="*/ 48 w 177"/>
                <a:gd name="T15" fmla="*/ 108 h 308"/>
                <a:gd name="T16" fmla="*/ 58 w 177"/>
                <a:gd name="T17" fmla="*/ 108 h 308"/>
                <a:gd name="T18" fmla="*/ 69 w 177"/>
                <a:gd name="T19" fmla="*/ 95 h 308"/>
                <a:gd name="T20" fmla="*/ 74 w 177"/>
                <a:gd name="T21" fmla="*/ 94 h 308"/>
                <a:gd name="T22" fmla="*/ 64 w 177"/>
                <a:gd name="T23" fmla="*/ 78 h 308"/>
                <a:gd name="T24" fmla="*/ 69 w 177"/>
                <a:gd name="T25" fmla="*/ 58 h 308"/>
                <a:gd name="T26" fmla="*/ 78 w 177"/>
                <a:gd name="T27" fmla="*/ 56 h 308"/>
                <a:gd name="T28" fmla="*/ 74 w 177"/>
                <a:gd name="T29" fmla="*/ 31 h 308"/>
                <a:gd name="T30" fmla="*/ 16 w 177"/>
                <a:gd name="T31" fmla="*/ 0 h 308"/>
                <a:gd name="T32" fmla="*/ 15 w 177"/>
                <a:gd name="T33" fmla="*/ 20 h 308"/>
                <a:gd name="T34" fmla="*/ 19 w 177"/>
                <a:gd name="T35" fmla="*/ 27 h 308"/>
                <a:gd name="T36" fmla="*/ 19 w 177"/>
                <a:gd name="T37" fmla="*/ 43 h 308"/>
                <a:gd name="T38" fmla="*/ 0 w 177"/>
                <a:gd name="T39" fmla="*/ 64 h 308"/>
                <a:gd name="T40" fmla="*/ 0 w 177"/>
                <a:gd name="T41" fmla="*/ 68 h 308"/>
                <a:gd name="T42" fmla="*/ 0 w 177"/>
                <a:gd name="T43" fmla="*/ 69 h 308"/>
                <a:gd name="T44" fmla="*/ 0 w 177"/>
                <a:gd name="T45" fmla="*/ 69 h 30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7" h="308">
                  <a:moveTo>
                    <a:pt x="0" y="173"/>
                  </a:moveTo>
                  <a:lnTo>
                    <a:pt x="29" y="198"/>
                  </a:lnTo>
                  <a:lnTo>
                    <a:pt x="32" y="247"/>
                  </a:lnTo>
                  <a:lnTo>
                    <a:pt x="10" y="248"/>
                  </a:lnTo>
                  <a:lnTo>
                    <a:pt x="35" y="285"/>
                  </a:lnTo>
                  <a:lnTo>
                    <a:pt x="20" y="308"/>
                  </a:lnTo>
                  <a:lnTo>
                    <a:pt x="85" y="285"/>
                  </a:lnTo>
                  <a:lnTo>
                    <a:pt x="110" y="268"/>
                  </a:lnTo>
                  <a:lnTo>
                    <a:pt x="134" y="267"/>
                  </a:lnTo>
                  <a:lnTo>
                    <a:pt x="157" y="235"/>
                  </a:lnTo>
                  <a:lnTo>
                    <a:pt x="169" y="233"/>
                  </a:lnTo>
                  <a:lnTo>
                    <a:pt x="147" y="190"/>
                  </a:lnTo>
                  <a:lnTo>
                    <a:pt x="160" y="143"/>
                  </a:lnTo>
                  <a:lnTo>
                    <a:pt x="177" y="138"/>
                  </a:lnTo>
                  <a:lnTo>
                    <a:pt x="170" y="75"/>
                  </a:lnTo>
                  <a:lnTo>
                    <a:pt x="37" y="0"/>
                  </a:lnTo>
                  <a:lnTo>
                    <a:pt x="34" y="50"/>
                  </a:lnTo>
                  <a:lnTo>
                    <a:pt x="45" y="65"/>
                  </a:lnTo>
                  <a:lnTo>
                    <a:pt x="45" y="107"/>
                  </a:lnTo>
                  <a:lnTo>
                    <a:pt x="0" y="158"/>
                  </a:lnTo>
                  <a:lnTo>
                    <a:pt x="0" y="170"/>
                  </a:lnTo>
                  <a:lnTo>
                    <a:pt x="0" y="17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8" name="Freeform 225"/>
            <p:cNvSpPr>
              <a:spLocks/>
            </p:cNvSpPr>
            <p:nvPr/>
          </p:nvSpPr>
          <p:spPr bwMode="auto">
            <a:xfrm>
              <a:off x="2795" y="2578"/>
              <a:ext cx="150" cy="257"/>
            </a:xfrm>
            <a:custGeom>
              <a:avLst/>
              <a:gdLst>
                <a:gd name="T0" fmla="*/ 0 w 177"/>
                <a:gd name="T1" fmla="*/ 69 h 308"/>
                <a:gd name="T2" fmla="*/ 13 w 177"/>
                <a:gd name="T3" fmla="*/ 80 h 308"/>
                <a:gd name="T4" fmla="*/ 14 w 177"/>
                <a:gd name="T5" fmla="*/ 100 h 308"/>
                <a:gd name="T6" fmla="*/ 4 w 177"/>
                <a:gd name="T7" fmla="*/ 100 h 308"/>
                <a:gd name="T8" fmla="*/ 15 w 177"/>
                <a:gd name="T9" fmla="*/ 116 h 308"/>
                <a:gd name="T10" fmla="*/ 8 w 177"/>
                <a:gd name="T11" fmla="*/ 124 h 308"/>
                <a:gd name="T12" fmla="*/ 37 w 177"/>
                <a:gd name="T13" fmla="*/ 116 h 308"/>
                <a:gd name="T14" fmla="*/ 48 w 177"/>
                <a:gd name="T15" fmla="*/ 108 h 308"/>
                <a:gd name="T16" fmla="*/ 58 w 177"/>
                <a:gd name="T17" fmla="*/ 108 h 308"/>
                <a:gd name="T18" fmla="*/ 69 w 177"/>
                <a:gd name="T19" fmla="*/ 95 h 308"/>
                <a:gd name="T20" fmla="*/ 74 w 177"/>
                <a:gd name="T21" fmla="*/ 94 h 308"/>
                <a:gd name="T22" fmla="*/ 64 w 177"/>
                <a:gd name="T23" fmla="*/ 78 h 308"/>
                <a:gd name="T24" fmla="*/ 69 w 177"/>
                <a:gd name="T25" fmla="*/ 58 h 308"/>
                <a:gd name="T26" fmla="*/ 78 w 177"/>
                <a:gd name="T27" fmla="*/ 56 h 308"/>
                <a:gd name="T28" fmla="*/ 74 w 177"/>
                <a:gd name="T29" fmla="*/ 31 h 308"/>
                <a:gd name="T30" fmla="*/ 16 w 177"/>
                <a:gd name="T31" fmla="*/ 0 h 308"/>
                <a:gd name="T32" fmla="*/ 15 w 177"/>
                <a:gd name="T33" fmla="*/ 20 h 308"/>
                <a:gd name="T34" fmla="*/ 19 w 177"/>
                <a:gd name="T35" fmla="*/ 27 h 308"/>
                <a:gd name="T36" fmla="*/ 19 w 177"/>
                <a:gd name="T37" fmla="*/ 43 h 308"/>
                <a:gd name="T38" fmla="*/ 0 w 177"/>
                <a:gd name="T39" fmla="*/ 64 h 308"/>
                <a:gd name="T40" fmla="*/ 0 w 177"/>
                <a:gd name="T41" fmla="*/ 68 h 308"/>
                <a:gd name="T42" fmla="*/ 0 w 177"/>
                <a:gd name="T43" fmla="*/ 69 h 308"/>
                <a:gd name="T44" fmla="*/ 0 w 177"/>
                <a:gd name="T45" fmla="*/ 69 h 30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7" h="308">
                  <a:moveTo>
                    <a:pt x="0" y="173"/>
                  </a:moveTo>
                  <a:lnTo>
                    <a:pt x="29" y="198"/>
                  </a:lnTo>
                  <a:lnTo>
                    <a:pt x="32" y="247"/>
                  </a:lnTo>
                  <a:lnTo>
                    <a:pt x="10" y="248"/>
                  </a:lnTo>
                  <a:lnTo>
                    <a:pt x="35" y="285"/>
                  </a:lnTo>
                  <a:lnTo>
                    <a:pt x="20" y="308"/>
                  </a:lnTo>
                  <a:lnTo>
                    <a:pt x="85" y="285"/>
                  </a:lnTo>
                  <a:lnTo>
                    <a:pt x="110" y="268"/>
                  </a:lnTo>
                  <a:lnTo>
                    <a:pt x="134" y="267"/>
                  </a:lnTo>
                  <a:lnTo>
                    <a:pt x="157" y="235"/>
                  </a:lnTo>
                  <a:lnTo>
                    <a:pt x="169" y="233"/>
                  </a:lnTo>
                  <a:lnTo>
                    <a:pt x="147" y="190"/>
                  </a:lnTo>
                  <a:lnTo>
                    <a:pt x="160" y="143"/>
                  </a:lnTo>
                  <a:lnTo>
                    <a:pt x="177" y="138"/>
                  </a:lnTo>
                  <a:lnTo>
                    <a:pt x="170" y="75"/>
                  </a:lnTo>
                  <a:lnTo>
                    <a:pt x="37" y="0"/>
                  </a:lnTo>
                  <a:lnTo>
                    <a:pt x="34" y="50"/>
                  </a:lnTo>
                  <a:lnTo>
                    <a:pt x="45" y="65"/>
                  </a:lnTo>
                  <a:lnTo>
                    <a:pt x="45" y="107"/>
                  </a:lnTo>
                  <a:lnTo>
                    <a:pt x="0" y="158"/>
                  </a:lnTo>
                  <a:lnTo>
                    <a:pt x="0" y="170"/>
                  </a:lnTo>
                  <a:lnTo>
                    <a:pt x="0" y="17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9" name="Freeform 226"/>
            <p:cNvSpPr>
              <a:spLocks/>
            </p:cNvSpPr>
            <p:nvPr/>
          </p:nvSpPr>
          <p:spPr bwMode="auto">
            <a:xfrm>
              <a:off x="2948" y="2449"/>
              <a:ext cx="170" cy="150"/>
            </a:xfrm>
            <a:custGeom>
              <a:avLst/>
              <a:gdLst>
                <a:gd name="T0" fmla="*/ 3 w 198"/>
                <a:gd name="T1" fmla="*/ 3 h 180"/>
                <a:gd name="T2" fmla="*/ 33 w 198"/>
                <a:gd name="T3" fmla="*/ 9 h 180"/>
                <a:gd name="T4" fmla="*/ 47 w 198"/>
                <a:gd name="T5" fmla="*/ 0 h 180"/>
                <a:gd name="T6" fmla="*/ 70 w 198"/>
                <a:gd name="T7" fmla="*/ 6 h 180"/>
                <a:gd name="T8" fmla="*/ 76 w 198"/>
                <a:gd name="T9" fmla="*/ 13 h 180"/>
                <a:gd name="T10" fmla="*/ 76 w 198"/>
                <a:gd name="T11" fmla="*/ 16 h 180"/>
                <a:gd name="T12" fmla="*/ 74 w 198"/>
                <a:gd name="T13" fmla="*/ 28 h 180"/>
                <a:gd name="T14" fmla="*/ 62 w 198"/>
                <a:gd name="T15" fmla="*/ 19 h 180"/>
                <a:gd name="T16" fmla="*/ 55 w 198"/>
                <a:gd name="T17" fmla="*/ 14 h 180"/>
                <a:gd name="T18" fmla="*/ 60 w 198"/>
                <a:gd name="T19" fmla="*/ 26 h 180"/>
                <a:gd name="T20" fmla="*/ 92 w 198"/>
                <a:gd name="T21" fmla="*/ 68 h 180"/>
                <a:gd name="T22" fmla="*/ 5 w 198"/>
                <a:gd name="T23" fmla="*/ 73 h 180"/>
                <a:gd name="T24" fmla="*/ 0 w 198"/>
                <a:gd name="T25" fmla="*/ 16 h 180"/>
                <a:gd name="T26" fmla="*/ 5 w 198"/>
                <a:gd name="T27" fmla="*/ 13 h 180"/>
                <a:gd name="T28" fmla="*/ 3 w 198"/>
                <a:gd name="T29" fmla="*/ 3 h 180"/>
                <a:gd name="T30" fmla="*/ 3 w 198"/>
                <a:gd name="T31" fmla="*/ 3 h 18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8" h="180">
                  <a:moveTo>
                    <a:pt x="5" y="3"/>
                  </a:moveTo>
                  <a:lnTo>
                    <a:pt x="70" y="22"/>
                  </a:lnTo>
                  <a:lnTo>
                    <a:pt x="100" y="0"/>
                  </a:lnTo>
                  <a:lnTo>
                    <a:pt x="150" y="13"/>
                  </a:lnTo>
                  <a:lnTo>
                    <a:pt x="162" y="32"/>
                  </a:lnTo>
                  <a:lnTo>
                    <a:pt x="163" y="40"/>
                  </a:lnTo>
                  <a:lnTo>
                    <a:pt x="158" y="70"/>
                  </a:lnTo>
                  <a:lnTo>
                    <a:pt x="133" y="45"/>
                  </a:lnTo>
                  <a:lnTo>
                    <a:pt x="117" y="35"/>
                  </a:lnTo>
                  <a:lnTo>
                    <a:pt x="127" y="63"/>
                  </a:lnTo>
                  <a:lnTo>
                    <a:pt x="198" y="167"/>
                  </a:lnTo>
                  <a:lnTo>
                    <a:pt x="10" y="180"/>
                  </a:lnTo>
                  <a:lnTo>
                    <a:pt x="0" y="38"/>
                  </a:lnTo>
                  <a:lnTo>
                    <a:pt x="11" y="3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0" name="Freeform 227"/>
            <p:cNvSpPr>
              <a:spLocks/>
            </p:cNvSpPr>
            <p:nvPr/>
          </p:nvSpPr>
          <p:spPr bwMode="auto">
            <a:xfrm>
              <a:off x="2948" y="2449"/>
              <a:ext cx="170" cy="150"/>
            </a:xfrm>
            <a:custGeom>
              <a:avLst/>
              <a:gdLst>
                <a:gd name="T0" fmla="*/ 3 w 198"/>
                <a:gd name="T1" fmla="*/ 3 h 180"/>
                <a:gd name="T2" fmla="*/ 33 w 198"/>
                <a:gd name="T3" fmla="*/ 9 h 180"/>
                <a:gd name="T4" fmla="*/ 47 w 198"/>
                <a:gd name="T5" fmla="*/ 0 h 180"/>
                <a:gd name="T6" fmla="*/ 70 w 198"/>
                <a:gd name="T7" fmla="*/ 6 h 180"/>
                <a:gd name="T8" fmla="*/ 76 w 198"/>
                <a:gd name="T9" fmla="*/ 13 h 180"/>
                <a:gd name="T10" fmla="*/ 76 w 198"/>
                <a:gd name="T11" fmla="*/ 16 h 180"/>
                <a:gd name="T12" fmla="*/ 74 w 198"/>
                <a:gd name="T13" fmla="*/ 28 h 180"/>
                <a:gd name="T14" fmla="*/ 62 w 198"/>
                <a:gd name="T15" fmla="*/ 19 h 180"/>
                <a:gd name="T16" fmla="*/ 55 w 198"/>
                <a:gd name="T17" fmla="*/ 14 h 180"/>
                <a:gd name="T18" fmla="*/ 60 w 198"/>
                <a:gd name="T19" fmla="*/ 26 h 180"/>
                <a:gd name="T20" fmla="*/ 92 w 198"/>
                <a:gd name="T21" fmla="*/ 68 h 180"/>
                <a:gd name="T22" fmla="*/ 5 w 198"/>
                <a:gd name="T23" fmla="*/ 73 h 180"/>
                <a:gd name="T24" fmla="*/ 0 w 198"/>
                <a:gd name="T25" fmla="*/ 16 h 180"/>
                <a:gd name="T26" fmla="*/ 5 w 198"/>
                <a:gd name="T27" fmla="*/ 13 h 180"/>
                <a:gd name="T28" fmla="*/ 3 w 198"/>
                <a:gd name="T29" fmla="*/ 3 h 180"/>
                <a:gd name="T30" fmla="*/ 3 w 198"/>
                <a:gd name="T31" fmla="*/ 3 h 18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8" h="180">
                  <a:moveTo>
                    <a:pt x="5" y="3"/>
                  </a:moveTo>
                  <a:lnTo>
                    <a:pt x="70" y="22"/>
                  </a:lnTo>
                  <a:lnTo>
                    <a:pt x="100" y="0"/>
                  </a:lnTo>
                  <a:lnTo>
                    <a:pt x="150" y="13"/>
                  </a:lnTo>
                  <a:lnTo>
                    <a:pt x="162" y="32"/>
                  </a:lnTo>
                  <a:lnTo>
                    <a:pt x="163" y="40"/>
                  </a:lnTo>
                  <a:lnTo>
                    <a:pt x="158" y="70"/>
                  </a:lnTo>
                  <a:lnTo>
                    <a:pt x="133" y="45"/>
                  </a:lnTo>
                  <a:lnTo>
                    <a:pt x="117" y="35"/>
                  </a:lnTo>
                  <a:lnTo>
                    <a:pt x="127" y="63"/>
                  </a:lnTo>
                  <a:lnTo>
                    <a:pt x="198" y="167"/>
                  </a:lnTo>
                  <a:lnTo>
                    <a:pt x="10" y="180"/>
                  </a:lnTo>
                  <a:lnTo>
                    <a:pt x="0" y="38"/>
                  </a:lnTo>
                  <a:lnTo>
                    <a:pt x="11" y="30"/>
                  </a:lnTo>
                  <a:lnTo>
                    <a:pt x="5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1" name="Freeform 228"/>
            <p:cNvSpPr>
              <a:spLocks/>
            </p:cNvSpPr>
            <p:nvPr/>
          </p:nvSpPr>
          <p:spPr bwMode="auto">
            <a:xfrm>
              <a:off x="2712" y="2722"/>
              <a:ext cx="115" cy="183"/>
            </a:xfrm>
            <a:custGeom>
              <a:avLst/>
              <a:gdLst>
                <a:gd name="T0" fmla="*/ 0 w 132"/>
                <a:gd name="T1" fmla="*/ 69 h 219"/>
                <a:gd name="T2" fmla="*/ 11 w 132"/>
                <a:gd name="T3" fmla="*/ 75 h 219"/>
                <a:gd name="T4" fmla="*/ 11 w 132"/>
                <a:gd name="T5" fmla="*/ 89 h 219"/>
                <a:gd name="T6" fmla="*/ 66 w 132"/>
                <a:gd name="T7" fmla="*/ 89 h 219"/>
                <a:gd name="T8" fmla="*/ 64 w 132"/>
                <a:gd name="T9" fmla="*/ 79 h 219"/>
                <a:gd name="T10" fmla="*/ 54 w 132"/>
                <a:gd name="T11" fmla="*/ 64 h 219"/>
                <a:gd name="T12" fmla="*/ 64 w 132"/>
                <a:gd name="T13" fmla="*/ 44 h 219"/>
                <a:gd name="T14" fmla="*/ 51 w 132"/>
                <a:gd name="T15" fmla="*/ 31 h 219"/>
                <a:gd name="T16" fmla="*/ 63 w 132"/>
                <a:gd name="T17" fmla="*/ 30 h 219"/>
                <a:gd name="T18" fmla="*/ 61 w 132"/>
                <a:gd name="T19" fmla="*/ 11 h 219"/>
                <a:gd name="T20" fmla="*/ 47 w 132"/>
                <a:gd name="T21" fmla="*/ 0 h 219"/>
                <a:gd name="T22" fmla="*/ 56 w 132"/>
                <a:gd name="T23" fmla="*/ 15 h 219"/>
                <a:gd name="T24" fmla="*/ 42 w 132"/>
                <a:gd name="T25" fmla="*/ 27 h 219"/>
                <a:gd name="T26" fmla="*/ 46 w 132"/>
                <a:gd name="T27" fmla="*/ 31 h 219"/>
                <a:gd name="T28" fmla="*/ 33 w 132"/>
                <a:gd name="T29" fmla="*/ 37 h 219"/>
                <a:gd name="T30" fmla="*/ 33 w 132"/>
                <a:gd name="T31" fmla="*/ 48 h 219"/>
                <a:gd name="T32" fmla="*/ 25 w 132"/>
                <a:gd name="T33" fmla="*/ 55 h 219"/>
                <a:gd name="T34" fmla="*/ 21 w 132"/>
                <a:gd name="T35" fmla="*/ 51 h 219"/>
                <a:gd name="T36" fmla="*/ 11 w 132"/>
                <a:gd name="T37" fmla="*/ 52 h 219"/>
                <a:gd name="T38" fmla="*/ 0 w 132"/>
                <a:gd name="T39" fmla="*/ 69 h 219"/>
                <a:gd name="T40" fmla="*/ 0 w 132"/>
                <a:gd name="T41" fmla="*/ 69 h 21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2" h="219">
                  <a:moveTo>
                    <a:pt x="0" y="170"/>
                  </a:moveTo>
                  <a:lnTo>
                    <a:pt x="23" y="184"/>
                  </a:lnTo>
                  <a:lnTo>
                    <a:pt x="22" y="219"/>
                  </a:lnTo>
                  <a:lnTo>
                    <a:pt x="132" y="219"/>
                  </a:lnTo>
                  <a:lnTo>
                    <a:pt x="130" y="195"/>
                  </a:lnTo>
                  <a:lnTo>
                    <a:pt x="108" y="155"/>
                  </a:lnTo>
                  <a:lnTo>
                    <a:pt x="128" y="110"/>
                  </a:lnTo>
                  <a:lnTo>
                    <a:pt x="103" y="75"/>
                  </a:lnTo>
                  <a:lnTo>
                    <a:pt x="125" y="74"/>
                  </a:lnTo>
                  <a:lnTo>
                    <a:pt x="122" y="25"/>
                  </a:lnTo>
                  <a:lnTo>
                    <a:pt x="93" y="0"/>
                  </a:lnTo>
                  <a:lnTo>
                    <a:pt x="112" y="37"/>
                  </a:lnTo>
                  <a:lnTo>
                    <a:pt x="83" y="65"/>
                  </a:lnTo>
                  <a:lnTo>
                    <a:pt x="92" y="77"/>
                  </a:lnTo>
                  <a:lnTo>
                    <a:pt x="67" y="90"/>
                  </a:lnTo>
                  <a:lnTo>
                    <a:pt x="65" y="120"/>
                  </a:lnTo>
                  <a:lnTo>
                    <a:pt x="50" y="135"/>
                  </a:lnTo>
                  <a:lnTo>
                    <a:pt x="43" y="125"/>
                  </a:lnTo>
                  <a:lnTo>
                    <a:pt x="23" y="127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2" name="Freeform 229"/>
            <p:cNvSpPr>
              <a:spLocks/>
            </p:cNvSpPr>
            <p:nvPr/>
          </p:nvSpPr>
          <p:spPr bwMode="auto">
            <a:xfrm>
              <a:off x="2712" y="2722"/>
              <a:ext cx="115" cy="183"/>
            </a:xfrm>
            <a:custGeom>
              <a:avLst/>
              <a:gdLst>
                <a:gd name="T0" fmla="*/ 0 w 132"/>
                <a:gd name="T1" fmla="*/ 69 h 219"/>
                <a:gd name="T2" fmla="*/ 11 w 132"/>
                <a:gd name="T3" fmla="*/ 75 h 219"/>
                <a:gd name="T4" fmla="*/ 11 w 132"/>
                <a:gd name="T5" fmla="*/ 89 h 219"/>
                <a:gd name="T6" fmla="*/ 66 w 132"/>
                <a:gd name="T7" fmla="*/ 89 h 219"/>
                <a:gd name="T8" fmla="*/ 64 w 132"/>
                <a:gd name="T9" fmla="*/ 79 h 219"/>
                <a:gd name="T10" fmla="*/ 54 w 132"/>
                <a:gd name="T11" fmla="*/ 64 h 219"/>
                <a:gd name="T12" fmla="*/ 64 w 132"/>
                <a:gd name="T13" fmla="*/ 44 h 219"/>
                <a:gd name="T14" fmla="*/ 51 w 132"/>
                <a:gd name="T15" fmla="*/ 31 h 219"/>
                <a:gd name="T16" fmla="*/ 63 w 132"/>
                <a:gd name="T17" fmla="*/ 30 h 219"/>
                <a:gd name="T18" fmla="*/ 61 w 132"/>
                <a:gd name="T19" fmla="*/ 11 h 219"/>
                <a:gd name="T20" fmla="*/ 47 w 132"/>
                <a:gd name="T21" fmla="*/ 0 h 219"/>
                <a:gd name="T22" fmla="*/ 56 w 132"/>
                <a:gd name="T23" fmla="*/ 15 h 219"/>
                <a:gd name="T24" fmla="*/ 42 w 132"/>
                <a:gd name="T25" fmla="*/ 27 h 219"/>
                <a:gd name="T26" fmla="*/ 46 w 132"/>
                <a:gd name="T27" fmla="*/ 31 h 219"/>
                <a:gd name="T28" fmla="*/ 33 w 132"/>
                <a:gd name="T29" fmla="*/ 37 h 219"/>
                <a:gd name="T30" fmla="*/ 33 w 132"/>
                <a:gd name="T31" fmla="*/ 48 h 219"/>
                <a:gd name="T32" fmla="*/ 25 w 132"/>
                <a:gd name="T33" fmla="*/ 55 h 219"/>
                <a:gd name="T34" fmla="*/ 21 w 132"/>
                <a:gd name="T35" fmla="*/ 51 h 219"/>
                <a:gd name="T36" fmla="*/ 11 w 132"/>
                <a:gd name="T37" fmla="*/ 52 h 219"/>
                <a:gd name="T38" fmla="*/ 0 w 132"/>
                <a:gd name="T39" fmla="*/ 69 h 219"/>
                <a:gd name="T40" fmla="*/ 0 w 132"/>
                <a:gd name="T41" fmla="*/ 69 h 21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32" h="219">
                  <a:moveTo>
                    <a:pt x="0" y="170"/>
                  </a:moveTo>
                  <a:lnTo>
                    <a:pt x="23" y="184"/>
                  </a:lnTo>
                  <a:lnTo>
                    <a:pt x="22" y="219"/>
                  </a:lnTo>
                  <a:lnTo>
                    <a:pt x="132" y="219"/>
                  </a:lnTo>
                  <a:lnTo>
                    <a:pt x="130" y="195"/>
                  </a:lnTo>
                  <a:lnTo>
                    <a:pt x="108" y="155"/>
                  </a:lnTo>
                  <a:lnTo>
                    <a:pt x="128" y="110"/>
                  </a:lnTo>
                  <a:lnTo>
                    <a:pt x="103" y="75"/>
                  </a:lnTo>
                  <a:lnTo>
                    <a:pt x="125" y="74"/>
                  </a:lnTo>
                  <a:lnTo>
                    <a:pt x="122" y="25"/>
                  </a:lnTo>
                  <a:lnTo>
                    <a:pt x="93" y="0"/>
                  </a:lnTo>
                  <a:lnTo>
                    <a:pt x="112" y="37"/>
                  </a:lnTo>
                  <a:lnTo>
                    <a:pt x="83" y="65"/>
                  </a:lnTo>
                  <a:lnTo>
                    <a:pt x="92" y="77"/>
                  </a:lnTo>
                  <a:lnTo>
                    <a:pt x="67" y="90"/>
                  </a:lnTo>
                  <a:lnTo>
                    <a:pt x="65" y="120"/>
                  </a:lnTo>
                  <a:lnTo>
                    <a:pt x="50" y="135"/>
                  </a:lnTo>
                  <a:lnTo>
                    <a:pt x="43" y="125"/>
                  </a:lnTo>
                  <a:lnTo>
                    <a:pt x="23" y="127"/>
                  </a:lnTo>
                  <a:lnTo>
                    <a:pt x="0" y="17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3" name="Freeform 230"/>
            <p:cNvSpPr>
              <a:spLocks/>
            </p:cNvSpPr>
            <p:nvPr/>
          </p:nvSpPr>
          <p:spPr bwMode="auto">
            <a:xfrm>
              <a:off x="2921" y="2588"/>
              <a:ext cx="239" cy="288"/>
            </a:xfrm>
            <a:custGeom>
              <a:avLst/>
              <a:gdLst>
                <a:gd name="T0" fmla="*/ 106 w 279"/>
                <a:gd name="T1" fmla="*/ 0 h 346"/>
                <a:gd name="T2" fmla="*/ 20 w 279"/>
                <a:gd name="T3" fmla="*/ 5 h 346"/>
                <a:gd name="T4" fmla="*/ 21 w 279"/>
                <a:gd name="T5" fmla="*/ 20 h 346"/>
                <a:gd name="T6" fmla="*/ 10 w 279"/>
                <a:gd name="T7" fmla="*/ 18 h 346"/>
                <a:gd name="T8" fmla="*/ 14 w 279"/>
                <a:gd name="T9" fmla="*/ 50 h 346"/>
                <a:gd name="T10" fmla="*/ 6 w 279"/>
                <a:gd name="T11" fmla="*/ 52 h 346"/>
                <a:gd name="T12" fmla="*/ 0 w 279"/>
                <a:gd name="T13" fmla="*/ 71 h 346"/>
                <a:gd name="T14" fmla="*/ 15 w 279"/>
                <a:gd name="T15" fmla="*/ 98 h 346"/>
                <a:gd name="T16" fmla="*/ 28 w 279"/>
                <a:gd name="T17" fmla="*/ 108 h 346"/>
                <a:gd name="T18" fmla="*/ 28 w 279"/>
                <a:gd name="T19" fmla="*/ 112 h 346"/>
                <a:gd name="T20" fmla="*/ 39 w 279"/>
                <a:gd name="T21" fmla="*/ 116 h 346"/>
                <a:gd name="T22" fmla="*/ 45 w 279"/>
                <a:gd name="T23" fmla="*/ 127 h 346"/>
                <a:gd name="T24" fmla="*/ 53 w 279"/>
                <a:gd name="T25" fmla="*/ 132 h 346"/>
                <a:gd name="T26" fmla="*/ 59 w 279"/>
                <a:gd name="T27" fmla="*/ 131 h 346"/>
                <a:gd name="T28" fmla="*/ 63 w 279"/>
                <a:gd name="T29" fmla="*/ 134 h 346"/>
                <a:gd name="T30" fmla="*/ 66 w 279"/>
                <a:gd name="T31" fmla="*/ 131 h 346"/>
                <a:gd name="T32" fmla="*/ 74 w 279"/>
                <a:gd name="T33" fmla="*/ 138 h 346"/>
                <a:gd name="T34" fmla="*/ 91 w 279"/>
                <a:gd name="T35" fmla="*/ 137 h 346"/>
                <a:gd name="T36" fmla="*/ 107 w 279"/>
                <a:gd name="T37" fmla="*/ 130 h 346"/>
                <a:gd name="T38" fmla="*/ 117 w 279"/>
                <a:gd name="T39" fmla="*/ 128 h 346"/>
                <a:gd name="T40" fmla="*/ 115 w 279"/>
                <a:gd name="T41" fmla="*/ 122 h 346"/>
                <a:gd name="T42" fmla="*/ 103 w 279"/>
                <a:gd name="T43" fmla="*/ 118 h 346"/>
                <a:gd name="T44" fmla="*/ 103 w 279"/>
                <a:gd name="T45" fmla="*/ 106 h 346"/>
                <a:gd name="T46" fmla="*/ 94 w 279"/>
                <a:gd name="T47" fmla="*/ 106 h 346"/>
                <a:gd name="T48" fmla="*/ 94 w 279"/>
                <a:gd name="T49" fmla="*/ 102 h 346"/>
                <a:gd name="T50" fmla="*/ 103 w 279"/>
                <a:gd name="T51" fmla="*/ 95 h 346"/>
                <a:gd name="T52" fmla="*/ 105 w 279"/>
                <a:gd name="T53" fmla="*/ 83 h 346"/>
                <a:gd name="T54" fmla="*/ 118 w 279"/>
                <a:gd name="T55" fmla="*/ 65 h 346"/>
                <a:gd name="T56" fmla="*/ 115 w 279"/>
                <a:gd name="T57" fmla="*/ 52 h 346"/>
                <a:gd name="T58" fmla="*/ 118 w 279"/>
                <a:gd name="T59" fmla="*/ 42 h 346"/>
                <a:gd name="T60" fmla="*/ 129 w 279"/>
                <a:gd name="T61" fmla="*/ 32 h 346"/>
                <a:gd name="T62" fmla="*/ 117 w 279"/>
                <a:gd name="T63" fmla="*/ 26 h 346"/>
                <a:gd name="T64" fmla="*/ 116 w 279"/>
                <a:gd name="T65" fmla="*/ 12 h 346"/>
                <a:gd name="T66" fmla="*/ 106 w 279"/>
                <a:gd name="T67" fmla="*/ 0 h 346"/>
                <a:gd name="T68" fmla="*/ 106 w 279"/>
                <a:gd name="T69" fmla="*/ 0 h 3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79" h="346">
                  <a:moveTo>
                    <a:pt x="230" y="0"/>
                  </a:moveTo>
                  <a:lnTo>
                    <a:pt x="42" y="13"/>
                  </a:lnTo>
                  <a:lnTo>
                    <a:pt x="45" y="50"/>
                  </a:lnTo>
                  <a:lnTo>
                    <a:pt x="22" y="48"/>
                  </a:lnTo>
                  <a:lnTo>
                    <a:pt x="30" y="126"/>
                  </a:lnTo>
                  <a:lnTo>
                    <a:pt x="13" y="131"/>
                  </a:lnTo>
                  <a:lnTo>
                    <a:pt x="0" y="178"/>
                  </a:lnTo>
                  <a:lnTo>
                    <a:pt x="32" y="246"/>
                  </a:lnTo>
                  <a:lnTo>
                    <a:pt x="60" y="270"/>
                  </a:lnTo>
                  <a:lnTo>
                    <a:pt x="63" y="280"/>
                  </a:lnTo>
                  <a:lnTo>
                    <a:pt x="83" y="290"/>
                  </a:lnTo>
                  <a:lnTo>
                    <a:pt x="97" y="320"/>
                  </a:lnTo>
                  <a:lnTo>
                    <a:pt x="114" y="330"/>
                  </a:lnTo>
                  <a:lnTo>
                    <a:pt x="129" y="328"/>
                  </a:lnTo>
                  <a:lnTo>
                    <a:pt x="137" y="335"/>
                  </a:lnTo>
                  <a:lnTo>
                    <a:pt x="144" y="328"/>
                  </a:lnTo>
                  <a:lnTo>
                    <a:pt x="160" y="346"/>
                  </a:lnTo>
                  <a:lnTo>
                    <a:pt x="197" y="343"/>
                  </a:lnTo>
                  <a:lnTo>
                    <a:pt x="232" y="325"/>
                  </a:lnTo>
                  <a:lnTo>
                    <a:pt x="254" y="321"/>
                  </a:lnTo>
                  <a:lnTo>
                    <a:pt x="249" y="305"/>
                  </a:lnTo>
                  <a:lnTo>
                    <a:pt x="224" y="295"/>
                  </a:lnTo>
                  <a:lnTo>
                    <a:pt x="222" y="265"/>
                  </a:lnTo>
                  <a:lnTo>
                    <a:pt x="204" y="266"/>
                  </a:lnTo>
                  <a:lnTo>
                    <a:pt x="204" y="255"/>
                  </a:lnTo>
                  <a:lnTo>
                    <a:pt x="224" y="238"/>
                  </a:lnTo>
                  <a:lnTo>
                    <a:pt x="227" y="208"/>
                  </a:lnTo>
                  <a:lnTo>
                    <a:pt x="257" y="163"/>
                  </a:lnTo>
                  <a:lnTo>
                    <a:pt x="250" y="130"/>
                  </a:lnTo>
                  <a:lnTo>
                    <a:pt x="257" y="105"/>
                  </a:lnTo>
                  <a:lnTo>
                    <a:pt x="279" y="80"/>
                  </a:lnTo>
                  <a:lnTo>
                    <a:pt x="254" y="65"/>
                  </a:lnTo>
                  <a:lnTo>
                    <a:pt x="252" y="31"/>
                  </a:lnTo>
                  <a:lnTo>
                    <a:pt x="23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4" name="Freeform 231"/>
            <p:cNvSpPr>
              <a:spLocks/>
            </p:cNvSpPr>
            <p:nvPr/>
          </p:nvSpPr>
          <p:spPr bwMode="auto">
            <a:xfrm>
              <a:off x="2921" y="2588"/>
              <a:ext cx="239" cy="288"/>
            </a:xfrm>
            <a:custGeom>
              <a:avLst/>
              <a:gdLst>
                <a:gd name="T0" fmla="*/ 106 w 279"/>
                <a:gd name="T1" fmla="*/ 0 h 346"/>
                <a:gd name="T2" fmla="*/ 20 w 279"/>
                <a:gd name="T3" fmla="*/ 5 h 346"/>
                <a:gd name="T4" fmla="*/ 21 w 279"/>
                <a:gd name="T5" fmla="*/ 20 h 346"/>
                <a:gd name="T6" fmla="*/ 10 w 279"/>
                <a:gd name="T7" fmla="*/ 18 h 346"/>
                <a:gd name="T8" fmla="*/ 14 w 279"/>
                <a:gd name="T9" fmla="*/ 50 h 346"/>
                <a:gd name="T10" fmla="*/ 6 w 279"/>
                <a:gd name="T11" fmla="*/ 52 h 346"/>
                <a:gd name="T12" fmla="*/ 0 w 279"/>
                <a:gd name="T13" fmla="*/ 71 h 346"/>
                <a:gd name="T14" fmla="*/ 15 w 279"/>
                <a:gd name="T15" fmla="*/ 98 h 346"/>
                <a:gd name="T16" fmla="*/ 28 w 279"/>
                <a:gd name="T17" fmla="*/ 108 h 346"/>
                <a:gd name="T18" fmla="*/ 28 w 279"/>
                <a:gd name="T19" fmla="*/ 112 h 346"/>
                <a:gd name="T20" fmla="*/ 39 w 279"/>
                <a:gd name="T21" fmla="*/ 116 h 346"/>
                <a:gd name="T22" fmla="*/ 45 w 279"/>
                <a:gd name="T23" fmla="*/ 127 h 346"/>
                <a:gd name="T24" fmla="*/ 53 w 279"/>
                <a:gd name="T25" fmla="*/ 132 h 346"/>
                <a:gd name="T26" fmla="*/ 59 w 279"/>
                <a:gd name="T27" fmla="*/ 131 h 346"/>
                <a:gd name="T28" fmla="*/ 63 w 279"/>
                <a:gd name="T29" fmla="*/ 134 h 346"/>
                <a:gd name="T30" fmla="*/ 66 w 279"/>
                <a:gd name="T31" fmla="*/ 131 h 346"/>
                <a:gd name="T32" fmla="*/ 74 w 279"/>
                <a:gd name="T33" fmla="*/ 138 h 346"/>
                <a:gd name="T34" fmla="*/ 91 w 279"/>
                <a:gd name="T35" fmla="*/ 137 h 346"/>
                <a:gd name="T36" fmla="*/ 107 w 279"/>
                <a:gd name="T37" fmla="*/ 130 h 346"/>
                <a:gd name="T38" fmla="*/ 117 w 279"/>
                <a:gd name="T39" fmla="*/ 128 h 346"/>
                <a:gd name="T40" fmla="*/ 115 w 279"/>
                <a:gd name="T41" fmla="*/ 122 h 346"/>
                <a:gd name="T42" fmla="*/ 103 w 279"/>
                <a:gd name="T43" fmla="*/ 118 h 346"/>
                <a:gd name="T44" fmla="*/ 103 w 279"/>
                <a:gd name="T45" fmla="*/ 106 h 346"/>
                <a:gd name="T46" fmla="*/ 94 w 279"/>
                <a:gd name="T47" fmla="*/ 106 h 346"/>
                <a:gd name="T48" fmla="*/ 94 w 279"/>
                <a:gd name="T49" fmla="*/ 102 h 346"/>
                <a:gd name="T50" fmla="*/ 103 w 279"/>
                <a:gd name="T51" fmla="*/ 95 h 346"/>
                <a:gd name="T52" fmla="*/ 105 w 279"/>
                <a:gd name="T53" fmla="*/ 83 h 346"/>
                <a:gd name="T54" fmla="*/ 118 w 279"/>
                <a:gd name="T55" fmla="*/ 65 h 346"/>
                <a:gd name="T56" fmla="*/ 115 w 279"/>
                <a:gd name="T57" fmla="*/ 52 h 346"/>
                <a:gd name="T58" fmla="*/ 118 w 279"/>
                <a:gd name="T59" fmla="*/ 42 h 346"/>
                <a:gd name="T60" fmla="*/ 129 w 279"/>
                <a:gd name="T61" fmla="*/ 32 h 346"/>
                <a:gd name="T62" fmla="*/ 117 w 279"/>
                <a:gd name="T63" fmla="*/ 26 h 346"/>
                <a:gd name="T64" fmla="*/ 116 w 279"/>
                <a:gd name="T65" fmla="*/ 12 h 346"/>
                <a:gd name="T66" fmla="*/ 106 w 279"/>
                <a:gd name="T67" fmla="*/ 0 h 346"/>
                <a:gd name="T68" fmla="*/ 106 w 279"/>
                <a:gd name="T69" fmla="*/ 0 h 3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79" h="346">
                  <a:moveTo>
                    <a:pt x="230" y="0"/>
                  </a:moveTo>
                  <a:lnTo>
                    <a:pt x="42" y="13"/>
                  </a:lnTo>
                  <a:lnTo>
                    <a:pt x="45" y="50"/>
                  </a:lnTo>
                  <a:lnTo>
                    <a:pt x="22" y="48"/>
                  </a:lnTo>
                  <a:lnTo>
                    <a:pt x="30" y="126"/>
                  </a:lnTo>
                  <a:lnTo>
                    <a:pt x="13" y="131"/>
                  </a:lnTo>
                  <a:lnTo>
                    <a:pt x="0" y="178"/>
                  </a:lnTo>
                  <a:lnTo>
                    <a:pt x="32" y="246"/>
                  </a:lnTo>
                  <a:lnTo>
                    <a:pt x="60" y="270"/>
                  </a:lnTo>
                  <a:lnTo>
                    <a:pt x="63" y="280"/>
                  </a:lnTo>
                  <a:lnTo>
                    <a:pt x="83" y="290"/>
                  </a:lnTo>
                  <a:lnTo>
                    <a:pt x="97" y="320"/>
                  </a:lnTo>
                  <a:lnTo>
                    <a:pt x="114" y="330"/>
                  </a:lnTo>
                  <a:lnTo>
                    <a:pt x="129" y="328"/>
                  </a:lnTo>
                  <a:lnTo>
                    <a:pt x="137" y="335"/>
                  </a:lnTo>
                  <a:lnTo>
                    <a:pt x="144" y="328"/>
                  </a:lnTo>
                  <a:lnTo>
                    <a:pt x="160" y="346"/>
                  </a:lnTo>
                  <a:lnTo>
                    <a:pt x="197" y="343"/>
                  </a:lnTo>
                  <a:lnTo>
                    <a:pt x="232" y="325"/>
                  </a:lnTo>
                  <a:lnTo>
                    <a:pt x="254" y="321"/>
                  </a:lnTo>
                  <a:lnTo>
                    <a:pt x="249" y="305"/>
                  </a:lnTo>
                  <a:lnTo>
                    <a:pt x="224" y="295"/>
                  </a:lnTo>
                  <a:lnTo>
                    <a:pt x="222" y="265"/>
                  </a:lnTo>
                  <a:lnTo>
                    <a:pt x="204" y="266"/>
                  </a:lnTo>
                  <a:lnTo>
                    <a:pt x="204" y="255"/>
                  </a:lnTo>
                  <a:lnTo>
                    <a:pt x="224" y="238"/>
                  </a:lnTo>
                  <a:lnTo>
                    <a:pt x="227" y="208"/>
                  </a:lnTo>
                  <a:lnTo>
                    <a:pt x="257" y="163"/>
                  </a:lnTo>
                  <a:lnTo>
                    <a:pt x="250" y="130"/>
                  </a:lnTo>
                  <a:lnTo>
                    <a:pt x="257" y="105"/>
                  </a:lnTo>
                  <a:lnTo>
                    <a:pt x="279" y="80"/>
                  </a:lnTo>
                  <a:lnTo>
                    <a:pt x="254" y="65"/>
                  </a:lnTo>
                  <a:lnTo>
                    <a:pt x="252" y="31"/>
                  </a:lnTo>
                  <a:lnTo>
                    <a:pt x="23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5" name="Freeform 232"/>
            <p:cNvSpPr>
              <a:spLocks/>
            </p:cNvSpPr>
            <p:nvPr/>
          </p:nvSpPr>
          <p:spPr bwMode="auto">
            <a:xfrm>
              <a:off x="2807" y="2772"/>
              <a:ext cx="197" cy="116"/>
            </a:xfrm>
            <a:custGeom>
              <a:avLst/>
              <a:gdLst>
                <a:gd name="T0" fmla="*/ 5 w 229"/>
                <a:gd name="T1" fmla="*/ 29 h 140"/>
                <a:gd name="T2" fmla="*/ 0 w 229"/>
                <a:gd name="T3" fmla="*/ 38 h 140"/>
                <a:gd name="T4" fmla="*/ 9 w 229"/>
                <a:gd name="T5" fmla="*/ 53 h 140"/>
                <a:gd name="T6" fmla="*/ 19 w 229"/>
                <a:gd name="T7" fmla="*/ 49 h 140"/>
                <a:gd name="T8" fmla="*/ 34 w 229"/>
                <a:gd name="T9" fmla="*/ 55 h 140"/>
                <a:gd name="T10" fmla="*/ 37 w 229"/>
                <a:gd name="T11" fmla="*/ 45 h 140"/>
                <a:gd name="T12" fmla="*/ 45 w 229"/>
                <a:gd name="T13" fmla="*/ 41 h 140"/>
                <a:gd name="T14" fmla="*/ 66 w 229"/>
                <a:gd name="T15" fmla="*/ 46 h 140"/>
                <a:gd name="T16" fmla="*/ 80 w 229"/>
                <a:gd name="T17" fmla="*/ 39 h 140"/>
                <a:gd name="T18" fmla="*/ 89 w 229"/>
                <a:gd name="T19" fmla="*/ 40 h 140"/>
                <a:gd name="T20" fmla="*/ 95 w 229"/>
                <a:gd name="T21" fmla="*/ 36 h 140"/>
                <a:gd name="T22" fmla="*/ 108 w 229"/>
                <a:gd name="T23" fmla="*/ 38 h 140"/>
                <a:gd name="T24" fmla="*/ 102 w 229"/>
                <a:gd name="T25" fmla="*/ 27 h 140"/>
                <a:gd name="T26" fmla="*/ 93 w 229"/>
                <a:gd name="T27" fmla="*/ 23 h 140"/>
                <a:gd name="T28" fmla="*/ 92 w 229"/>
                <a:gd name="T29" fmla="*/ 19 h 140"/>
                <a:gd name="T30" fmla="*/ 80 w 229"/>
                <a:gd name="T31" fmla="*/ 12 h 140"/>
                <a:gd name="T32" fmla="*/ 72 w 229"/>
                <a:gd name="T33" fmla="*/ 0 h 140"/>
                <a:gd name="T34" fmla="*/ 66 w 229"/>
                <a:gd name="T35" fmla="*/ 2 h 140"/>
                <a:gd name="T36" fmla="*/ 56 w 229"/>
                <a:gd name="T37" fmla="*/ 14 h 140"/>
                <a:gd name="T38" fmla="*/ 45 w 229"/>
                <a:gd name="T39" fmla="*/ 14 h 140"/>
                <a:gd name="T40" fmla="*/ 34 w 229"/>
                <a:gd name="T41" fmla="*/ 20 h 140"/>
                <a:gd name="T42" fmla="*/ 5 w 229"/>
                <a:gd name="T43" fmla="*/ 29 h 140"/>
                <a:gd name="T44" fmla="*/ 5 w 229"/>
                <a:gd name="T45" fmla="*/ 29 h 1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29" h="140">
                  <a:moveTo>
                    <a:pt x="10" y="75"/>
                  </a:moveTo>
                  <a:lnTo>
                    <a:pt x="0" y="96"/>
                  </a:lnTo>
                  <a:lnTo>
                    <a:pt x="20" y="135"/>
                  </a:lnTo>
                  <a:lnTo>
                    <a:pt x="40" y="125"/>
                  </a:lnTo>
                  <a:lnTo>
                    <a:pt x="72" y="140"/>
                  </a:lnTo>
                  <a:lnTo>
                    <a:pt x="79" y="113"/>
                  </a:lnTo>
                  <a:lnTo>
                    <a:pt x="97" y="105"/>
                  </a:lnTo>
                  <a:lnTo>
                    <a:pt x="140" y="116"/>
                  </a:lnTo>
                  <a:lnTo>
                    <a:pt x="169" y="100"/>
                  </a:lnTo>
                  <a:lnTo>
                    <a:pt x="187" y="101"/>
                  </a:lnTo>
                  <a:lnTo>
                    <a:pt x="202" y="93"/>
                  </a:lnTo>
                  <a:lnTo>
                    <a:pt x="229" y="98"/>
                  </a:lnTo>
                  <a:lnTo>
                    <a:pt x="215" y="70"/>
                  </a:lnTo>
                  <a:lnTo>
                    <a:pt x="195" y="60"/>
                  </a:lnTo>
                  <a:lnTo>
                    <a:pt x="194" y="50"/>
                  </a:lnTo>
                  <a:lnTo>
                    <a:pt x="169" y="30"/>
                  </a:lnTo>
                  <a:lnTo>
                    <a:pt x="154" y="0"/>
                  </a:lnTo>
                  <a:lnTo>
                    <a:pt x="142" y="3"/>
                  </a:lnTo>
                  <a:lnTo>
                    <a:pt x="119" y="35"/>
                  </a:lnTo>
                  <a:lnTo>
                    <a:pt x="95" y="36"/>
                  </a:lnTo>
                  <a:lnTo>
                    <a:pt x="72" y="51"/>
                  </a:lnTo>
                  <a:lnTo>
                    <a:pt x="10" y="7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6" name="Freeform 233"/>
            <p:cNvSpPr>
              <a:spLocks/>
            </p:cNvSpPr>
            <p:nvPr/>
          </p:nvSpPr>
          <p:spPr bwMode="auto">
            <a:xfrm>
              <a:off x="2807" y="2772"/>
              <a:ext cx="197" cy="116"/>
            </a:xfrm>
            <a:custGeom>
              <a:avLst/>
              <a:gdLst>
                <a:gd name="T0" fmla="*/ 5 w 229"/>
                <a:gd name="T1" fmla="*/ 29 h 140"/>
                <a:gd name="T2" fmla="*/ 0 w 229"/>
                <a:gd name="T3" fmla="*/ 38 h 140"/>
                <a:gd name="T4" fmla="*/ 9 w 229"/>
                <a:gd name="T5" fmla="*/ 53 h 140"/>
                <a:gd name="T6" fmla="*/ 19 w 229"/>
                <a:gd name="T7" fmla="*/ 49 h 140"/>
                <a:gd name="T8" fmla="*/ 34 w 229"/>
                <a:gd name="T9" fmla="*/ 55 h 140"/>
                <a:gd name="T10" fmla="*/ 37 w 229"/>
                <a:gd name="T11" fmla="*/ 45 h 140"/>
                <a:gd name="T12" fmla="*/ 45 w 229"/>
                <a:gd name="T13" fmla="*/ 41 h 140"/>
                <a:gd name="T14" fmla="*/ 66 w 229"/>
                <a:gd name="T15" fmla="*/ 46 h 140"/>
                <a:gd name="T16" fmla="*/ 80 w 229"/>
                <a:gd name="T17" fmla="*/ 39 h 140"/>
                <a:gd name="T18" fmla="*/ 89 w 229"/>
                <a:gd name="T19" fmla="*/ 40 h 140"/>
                <a:gd name="T20" fmla="*/ 95 w 229"/>
                <a:gd name="T21" fmla="*/ 36 h 140"/>
                <a:gd name="T22" fmla="*/ 108 w 229"/>
                <a:gd name="T23" fmla="*/ 38 h 140"/>
                <a:gd name="T24" fmla="*/ 102 w 229"/>
                <a:gd name="T25" fmla="*/ 27 h 140"/>
                <a:gd name="T26" fmla="*/ 93 w 229"/>
                <a:gd name="T27" fmla="*/ 23 h 140"/>
                <a:gd name="T28" fmla="*/ 92 w 229"/>
                <a:gd name="T29" fmla="*/ 19 h 140"/>
                <a:gd name="T30" fmla="*/ 80 w 229"/>
                <a:gd name="T31" fmla="*/ 12 h 140"/>
                <a:gd name="T32" fmla="*/ 72 w 229"/>
                <a:gd name="T33" fmla="*/ 0 h 140"/>
                <a:gd name="T34" fmla="*/ 66 w 229"/>
                <a:gd name="T35" fmla="*/ 2 h 140"/>
                <a:gd name="T36" fmla="*/ 56 w 229"/>
                <a:gd name="T37" fmla="*/ 14 h 140"/>
                <a:gd name="T38" fmla="*/ 45 w 229"/>
                <a:gd name="T39" fmla="*/ 14 h 140"/>
                <a:gd name="T40" fmla="*/ 34 w 229"/>
                <a:gd name="T41" fmla="*/ 20 h 140"/>
                <a:gd name="T42" fmla="*/ 5 w 229"/>
                <a:gd name="T43" fmla="*/ 29 h 140"/>
                <a:gd name="T44" fmla="*/ 5 w 229"/>
                <a:gd name="T45" fmla="*/ 29 h 1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29" h="140">
                  <a:moveTo>
                    <a:pt x="10" y="75"/>
                  </a:moveTo>
                  <a:lnTo>
                    <a:pt x="0" y="96"/>
                  </a:lnTo>
                  <a:lnTo>
                    <a:pt x="20" y="135"/>
                  </a:lnTo>
                  <a:lnTo>
                    <a:pt x="40" y="125"/>
                  </a:lnTo>
                  <a:lnTo>
                    <a:pt x="72" y="140"/>
                  </a:lnTo>
                  <a:lnTo>
                    <a:pt x="79" y="113"/>
                  </a:lnTo>
                  <a:lnTo>
                    <a:pt x="97" y="105"/>
                  </a:lnTo>
                  <a:lnTo>
                    <a:pt x="140" y="116"/>
                  </a:lnTo>
                  <a:lnTo>
                    <a:pt x="169" y="100"/>
                  </a:lnTo>
                  <a:lnTo>
                    <a:pt x="187" y="101"/>
                  </a:lnTo>
                  <a:lnTo>
                    <a:pt x="202" y="93"/>
                  </a:lnTo>
                  <a:lnTo>
                    <a:pt x="229" y="98"/>
                  </a:lnTo>
                  <a:lnTo>
                    <a:pt x="215" y="70"/>
                  </a:lnTo>
                  <a:lnTo>
                    <a:pt x="195" y="60"/>
                  </a:lnTo>
                  <a:lnTo>
                    <a:pt x="194" y="50"/>
                  </a:lnTo>
                  <a:lnTo>
                    <a:pt x="169" y="30"/>
                  </a:lnTo>
                  <a:lnTo>
                    <a:pt x="154" y="0"/>
                  </a:lnTo>
                  <a:lnTo>
                    <a:pt x="142" y="3"/>
                  </a:lnTo>
                  <a:lnTo>
                    <a:pt x="119" y="35"/>
                  </a:lnTo>
                  <a:lnTo>
                    <a:pt x="95" y="36"/>
                  </a:lnTo>
                  <a:lnTo>
                    <a:pt x="72" y="51"/>
                  </a:lnTo>
                  <a:lnTo>
                    <a:pt x="10" y="7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7" name="Freeform 234"/>
            <p:cNvSpPr>
              <a:spLocks/>
            </p:cNvSpPr>
            <p:nvPr/>
          </p:nvSpPr>
          <p:spPr bwMode="auto">
            <a:xfrm>
              <a:off x="3097" y="2655"/>
              <a:ext cx="217" cy="221"/>
            </a:xfrm>
            <a:custGeom>
              <a:avLst/>
              <a:gdLst>
                <a:gd name="T0" fmla="*/ 33 w 253"/>
                <a:gd name="T1" fmla="*/ 0 h 266"/>
                <a:gd name="T2" fmla="*/ 44 w 253"/>
                <a:gd name="T3" fmla="*/ 20 h 266"/>
                <a:gd name="T4" fmla="*/ 72 w 253"/>
                <a:gd name="T5" fmla="*/ 36 h 266"/>
                <a:gd name="T6" fmla="*/ 64 w 253"/>
                <a:gd name="T7" fmla="*/ 43 h 266"/>
                <a:gd name="T8" fmla="*/ 63 w 253"/>
                <a:gd name="T9" fmla="*/ 51 h 266"/>
                <a:gd name="T10" fmla="*/ 79 w 253"/>
                <a:gd name="T11" fmla="*/ 48 h 266"/>
                <a:gd name="T12" fmla="*/ 74 w 253"/>
                <a:gd name="T13" fmla="*/ 53 h 266"/>
                <a:gd name="T14" fmla="*/ 82 w 253"/>
                <a:gd name="T15" fmla="*/ 63 h 266"/>
                <a:gd name="T16" fmla="*/ 94 w 253"/>
                <a:gd name="T17" fmla="*/ 67 h 266"/>
                <a:gd name="T18" fmla="*/ 118 w 253"/>
                <a:gd name="T19" fmla="*/ 67 h 266"/>
                <a:gd name="T20" fmla="*/ 100 w 253"/>
                <a:gd name="T21" fmla="*/ 89 h 266"/>
                <a:gd name="T22" fmla="*/ 65 w 253"/>
                <a:gd name="T23" fmla="*/ 101 h 266"/>
                <a:gd name="T24" fmla="*/ 56 w 253"/>
                <a:gd name="T25" fmla="*/ 100 h 266"/>
                <a:gd name="T26" fmla="*/ 49 w 253"/>
                <a:gd name="T27" fmla="*/ 106 h 266"/>
                <a:gd name="T28" fmla="*/ 40 w 253"/>
                <a:gd name="T29" fmla="*/ 104 h 266"/>
                <a:gd name="T30" fmla="*/ 28 w 253"/>
                <a:gd name="T31" fmla="*/ 96 h 266"/>
                <a:gd name="T32" fmla="*/ 23 w 253"/>
                <a:gd name="T33" fmla="*/ 96 h 266"/>
                <a:gd name="T34" fmla="*/ 21 w 253"/>
                <a:gd name="T35" fmla="*/ 89 h 266"/>
                <a:gd name="T36" fmla="*/ 9 w 253"/>
                <a:gd name="T37" fmla="*/ 86 h 266"/>
                <a:gd name="T38" fmla="*/ 8 w 253"/>
                <a:gd name="T39" fmla="*/ 73 h 266"/>
                <a:gd name="T40" fmla="*/ 0 w 253"/>
                <a:gd name="T41" fmla="*/ 74 h 266"/>
                <a:gd name="T42" fmla="*/ 0 w 253"/>
                <a:gd name="T43" fmla="*/ 69 h 266"/>
                <a:gd name="T44" fmla="*/ 9 w 253"/>
                <a:gd name="T45" fmla="*/ 63 h 266"/>
                <a:gd name="T46" fmla="*/ 11 w 253"/>
                <a:gd name="T47" fmla="*/ 51 h 266"/>
                <a:gd name="T48" fmla="*/ 24 w 253"/>
                <a:gd name="T49" fmla="*/ 32 h 266"/>
                <a:gd name="T50" fmla="*/ 21 w 253"/>
                <a:gd name="T51" fmla="*/ 20 h 266"/>
                <a:gd name="T52" fmla="*/ 24 w 253"/>
                <a:gd name="T53" fmla="*/ 10 h 266"/>
                <a:gd name="T54" fmla="*/ 33 w 253"/>
                <a:gd name="T55" fmla="*/ 0 h 266"/>
                <a:gd name="T56" fmla="*/ 33 w 253"/>
                <a:gd name="T57" fmla="*/ 0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53" h="266">
                  <a:moveTo>
                    <a:pt x="73" y="0"/>
                  </a:moveTo>
                  <a:lnTo>
                    <a:pt x="95" y="50"/>
                  </a:lnTo>
                  <a:lnTo>
                    <a:pt x="155" y="91"/>
                  </a:lnTo>
                  <a:lnTo>
                    <a:pt x="138" y="108"/>
                  </a:lnTo>
                  <a:lnTo>
                    <a:pt x="135" y="128"/>
                  </a:lnTo>
                  <a:lnTo>
                    <a:pt x="170" y="121"/>
                  </a:lnTo>
                  <a:lnTo>
                    <a:pt x="158" y="135"/>
                  </a:lnTo>
                  <a:lnTo>
                    <a:pt x="176" y="160"/>
                  </a:lnTo>
                  <a:lnTo>
                    <a:pt x="203" y="171"/>
                  </a:lnTo>
                  <a:lnTo>
                    <a:pt x="253" y="171"/>
                  </a:lnTo>
                  <a:lnTo>
                    <a:pt x="215" y="225"/>
                  </a:lnTo>
                  <a:lnTo>
                    <a:pt x="141" y="256"/>
                  </a:lnTo>
                  <a:lnTo>
                    <a:pt x="121" y="250"/>
                  </a:lnTo>
                  <a:lnTo>
                    <a:pt x="106" y="266"/>
                  </a:lnTo>
                  <a:lnTo>
                    <a:pt x="88" y="263"/>
                  </a:lnTo>
                  <a:lnTo>
                    <a:pt x="63" y="241"/>
                  </a:lnTo>
                  <a:lnTo>
                    <a:pt x="50" y="241"/>
                  </a:lnTo>
                  <a:lnTo>
                    <a:pt x="45" y="225"/>
                  </a:lnTo>
                  <a:lnTo>
                    <a:pt x="20" y="215"/>
                  </a:lnTo>
                  <a:lnTo>
                    <a:pt x="18" y="185"/>
                  </a:lnTo>
                  <a:lnTo>
                    <a:pt x="0" y="186"/>
                  </a:lnTo>
                  <a:lnTo>
                    <a:pt x="0" y="175"/>
                  </a:lnTo>
                  <a:lnTo>
                    <a:pt x="20" y="158"/>
                  </a:lnTo>
                  <a:lnTo>
                    <a:pt x="23" y="128"/>
                  </a:lnTo>
                  <a:lnTo>
                    <a:pt x="53" y="83"/>
                  </a:lnTo>
                  <a:lnTo>
                    <a:pt x="46" y="50"/>
                  </a:lnTo>
                  <a:lnTo>
                    <a:pt x="53" y="25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8" name="Freeform 235"/>
            <p:cNvSpPr>
              <a:spLocks/>
            </p:cNvSpPr>
            <p:nvPr/>
          </p:nvSpPr>
          <p:spPr bwMode="auto">
            <a:xfrm>
              <a:off x="3097" y="2655"/>
              <a:ext cx="217" cy="221"/>
            </a:xfrm>
            <a:custGeom>
              <a:avLst/>
              <a:gdLst>
                <a:gd name="T0" fmla="*/ 33 w 253"/>
                <a:gd name="T1" fmla="*/ 0 h 266"/>
                <a:gd name="T2" fmla="*/ 44 w 253"/>
                <a:gd name="T3" fmla="*/ 20 h 266"/>
                <a:gd name="T4" fmla="*/ 72 w 253"/>
                <a:gd name="T5" fmla="*/ 36 h 266"/>
                <a:gd name="T6" fmla="*/ 64 w 253"/>
                <a:gd name="T7" fmla="*/ 43 h 266"/>
                <a:gd name="T8" fmla="*/ 63 w 253"/>
                <a:gd name="T9" fmla="*/ 51 h 266"/>
                <a:gd name="T10" fmla="*/ 79 w 253"/>
                <a:gd name="T11" fmla="*/ 48 h 266"/>
                <a:gd name="T12" fmla="*/ 74 w 253"/>
                <a:gd name="T13" fmla="*/ 53 h 266"/>
                <a:gd name="T14" fmla="*/ 82 w 253"/>
                <a:gd name="T15" fmla="*/ 63 h 266"/>
                <a:gd name="T16" fmla="*/ 94 w 253"/>
                <a:gd name="T17" fmla="*/ 67 h 266"/>
                <a:gd name="T18" fmla="*/ 118 w 253"/>
                <a:gd name="T19" fmla="*/ 67 h 266"/>
                <a:gd name="T20" fmla="*/ 100 w 253"/>
                <a:gd name="T21" fmla="*/ 89 h 266"/>
                <a:gd name="T22" fmla="*/ 65 w 253"/>
                <a:gd name="T23" fmla="*/ 101 h 266"/>
                <a:gd name="T24" fmla="*/ 56 w 253"/>
                <a:gd name="T25" fmla="*/ 100 h 266"/>
                <a:gd name="T26" fmla="*/ 49 w 253"/>
                <a:gd name="T27" fmla="*/ 106 h 266"/>
                <a:gd name="T28" fmla="*/ 40 w 253"/>
                <a:gd name="T29" fmla="*/ 104 h 266"/>
                <a:gd name="T30" fmla="*/ 28 w 253"/>
                <a:gd name="T31" fmla="*/ 96 h 266"/>
                <a:gd name="T32" fmla="*/ 23 w 253"/>
                <a:gd name="T33" fmla="*/ 96 h 266"/>
                <a:gd name="T34" fmla="*/ 21 w 253"/>
                <a:gd name="T35" fmla="*/ 89 h 266"/>
                <a:gd name="T36" fmla="*/ 9 w 253"/>
                <a:gd name="T37" fmla="*/ 86 h 266"/>
                <a:gd name="T38" fmla="*/ 8 w 253"/>
                <a:gd name="T39" fmla="*/ 73 h 266"/>
                <a:gd name="T40" fmla="*/ 0 w 253"/>
                <a:gd name="T41" fmla="*/ 74 h 266"/>
                <a:gd name="T42" fmla="*/ 0 w 253"/>
                <a:gd name="T43" fmla="*/ 69 h 266"/>
                <a:gd name="T44" fmla="*/ 9 w 253"/>
                <a:gd name="T45" fmla="*/ 63 h 266"/>
                <a:gd name="T46" fmla="*/ 11 w 253"/>
                <a:gd name="T47" fmla="*/ 51 h 266"/>
                <a:gd name="T48" fmla="*/ 24 w 253"/>
                <a:gd name="T49" fmla="*/ 32 h 266"/>
                <a:gd name="T50" fmla="*/ 21 w 253"/>
                <a:gd name="T51" fmla="*/ 20 h 266"/>
                <a:gd name="T52" fmla="*/ 24 w 253"/>
                <a:gd name="T53" fmla="*/ 10 h 266"/>
                <a:gd name="T54" fmla="*/ 33 w 253"/>
                <a:gd name="T55" fmla="*/ 0 h 266"/>
                <a:gd name="T56" fmla="*/ 33 w 253"/>
                <a:gd name="T57" fmla="*/ 0 h 26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53" h="266">
                  <a:moveTo>
                    <a:pt x="73" y="0"/>
                  </a:moveTo>
                  <a:lnTo>
                    <a:pt x="95" y="50"/>
                  </a:lnTo>
                  <a:lnTo>
                    <a:pt x="155" y="91"/>
                  </a:lnTo>
                  <a:lnTo>
                    <a:pt x="138" y="108"/>
                  </a:lnTo>
                  <a:lnTo>
                    <a:pt x="135" y="128"/>
                  </a:lnTo>
                  <a:lnTo>
                    <a:pt x="170" y="121"/>
                  </a:lnTo>
                  <a:lnTo>
                    <a:pt x="158" y="135"/>
                  </a:lnTo>
                  <a:lnTo>
                    <a:pt x="176" y="160"/>
                  </a:lnTo>
                  <a:lnTo>
                    <a:pt x="203" y="171"/>
                  </a:lnTo>
                  <a:lnTo>
                    <a:pt x="253" y="171"/>
                  </a:lnTo>
                  <a:lnTo>
                    <a:pt x="215" y="225"/>
                  </a:lnTo>
                  <a:lnTo>
                    <a:pt x="141" y="256"/>
                  </a:lnTo>
                  <a:lnTo>
                    <a:pt x="121" y="250"/>
                  </a:lnTo>
                  <a:lnTo>
                    <a:pt x="106" y="266"/>
                  </a:lnTo>
                  <a:lnTo>
                    <a:pt x="88" y="263"/>
                  </a:lnTo>
                  <a:lnTo>
                    <a:pt x="63" y="241"/>
                  </a:lnTo>
                  <a:lnTo>
                    <a:pt x="50" y="241"/>
                  </a:lnTo>
                  <a:lnTo>
                    <a:pt x="45" y="225"/>
                  </a:lnTo>
                  <a:lnTo>
                    <a:pt x="20" y="215"/>
                  </a:lnTo>
                  <a:lnTo>
                    <a:pt x="18" y="185"/>
                  </a:lnTo>
                  <a:lnTo>
                    <a:pt x="0" y="186"/>
                  </a:lnTo>
                  <a:lnTo>
                    <a:pt x="0" y="175"/>
                  </a:lnTo>
                  <a:lnTo>
                    <a:pt x="20" y="158"/>
                  </a:lnTo>
                  <a:lnTo>
                    <a:pt x="23" y="128"/>
                  </a:lnTo>
                  <a:lnTo>
                    <a:pt x="53" y="83"/>
                  </a:lnTo>
                  <a:lnTo>
                    <a:pt x="46" y="50"/>
                  </a:lnTo>
                  <a:lnTo>
                    <a:pt x="53" y="25"/>
                  </a:lnTo>
                  <a:lnTo>
                    <a:pt x="7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9" name="Freeform 236"/>
            <p:cNvSpPr>
              <a:spLocks/>
            </p:cNvSpPr>
            <p:nvPr/>
          </p:nvSpPr>
          <p:spPr bwMode="auto">
            <a:xfrm>
              <a:off x="3213" y="2731"/>
              <a:ext cx="30" cy="30"/>
            </a:xfrm>
            <a:custGeom>
              <a:avLst/>
              <a:gdLst>
                <a:gd name="T0" fmla="*/ 10 w 34"/>
                <a:gd name="T1" fmla="*/ 0 h 37"/>
                <a:gd name="T2" fmla="*/ 2 w 34"/>
                <a:gd name="T3" fmla="*/ 6 h 37"/>
                <a:gd name="T4" fmla="*/ 0 w 34"/>
                <a:gd name="T5" fmla="*/ 12 h 37"/>
                <a:gd name="T6" fmla="*/ 18 w 34"/>
                <a:gd name="T7" fmla="*/ 10 h 37"/>
                <a:gd name="T8" fmla="*/ 10 w 34"/>
                <a:gd name="T9" fmla="*/ 0 h 37"/>
                <a:gd name="T10" fmla="*/ 10 w 34"/>
                <a:gd name="T11" fmla="*/ 0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4" h="37">
                  <a:moveTo>
                    <a:pt x="19" y="0"/>
                  </a:moveTo>
                  <a:lnTo>
                    <a:pt x="2" y="17"/>
                  </a:lnTo>
                  <a:lnTo>
                    <a:pt x="0" y="37"/>
                  </a:lnTo>
                  <a:lnTo>
                    <a:pt x="34" y="3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0" name="Freeform 237"/>
            <p:cNvSpPr>
              <a:spLocks/>
            </p:cNvSpPr>
            <p:nvPr/>
          </p:nvSpPr>
          <p:spPr bwMode="auto">
            <a:xfrm>
              <a:off x="3213" y="2731"/>
              <a:ext cx="30" cy="30"/>
            </a:xfrm>
            <a:custGeom>
              <a:avLst/>
              <a:gdLst>
                <a:gd name="T0" fmla="*/ 10 w 34"/>
                <a:gd name="T1" fmla="*/ 0 h 37"/>
                <a:gd name="T2" fmla="*/ 2 w 34"/>
                <a:gd name="T3" fmla="*/ 6 h 37"/>
                <a:gd name="T4" fmla="*/ 0 w 34"/>
                <a:gd name="T5" fmla="*/ 12 h 37"/>
                <a:gd name="T6" fmla="*/ 18 w 34"/>
                <a:gd name="T7" fmla="*/ 10 h 37"/>
                <a:gd name="T8" fmla="*/ 10 w 34"/>
                <a:gd name="T9" fmla="*/ 0 h 37"/>
                <a:gd name="T10" fmla="*/ 10 w 34"/>
                <a:gd name="T11" fmla="*/ 0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4" h="37">
                  <a:moveTo>
                    <a:pt x="19" y="0"/>
                  </a:moveTo>
                  <a:lnTo>
                    <a:pt x="2" y="17"/>
                  </a:lnTo>
                  <a:lnTo>
                    <a:pt x="0" y="37"/>
                  </a:lnTo>
                  <a:lnTo>
                    <a:pt x="34" y="30"/>
                  </a:lnTo>
                  <a:lnTo>
                    <a:pt x="19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1" name="Freeform 238"/>
            <p:cNvSpPr>
              <a:spLocks/>
            </p:cNvSpPr>
            <p:nvPr/>
          </p:nvSpPr>
          <p:spPr bwMode="auto">
            <a:xfrm>
              <a:off x="3208" y="2740"/>
              <a:ext cx="153" cy="209"/>
            </a:xfrm>
            <a:custGeom>
              <a:avLst/>
              <a:gdLst>
                <a:gd name="T0" fmla="*/ 20 w 175"/>
                <a:gd name="T1" fmla="*/ 8 h 250"/>
                <a:gd name="T2" fmla="*/ 22 w 175"/>
                <a:gd name="T3" fmla="*/ 13 h 250"/>
                <a:gd name="T4" fmla="*/ 40 w 175"/>
                <a:gd name="T5" fmla="*/ 12 h 250"/>
                <a:gd name="T6" fmla="*/ 61 w 175"/>
                <a:gd name="T7" fmla="*/ 10 h 250"/>
                <a:gd name="T8" fmla="*/ 74 w 175"/>
                <a:gd name="T9" fmla="*/ 7 h 250"/>
                <a:gd name="T10" fmla="*/ 84 w 175"/>
                <a:gd name="T11" fmla="*/ 0 h 250"/>
                <a:gd name="T12" fmla="*/ 89 w 175"/>
                <a:gd name="T13" fmla="*/ 9 h 250"/>
                <a:gd name="T14" fmla="*/ 63 w 175"/>
                <a:gd name="T15" fmla="*/ 60 h 250"/>
                <a:gd name="T16" fmla="*/ 5 w 175"/>
                <a:gd name="T17" fmla="*/ 102 h 250"/>
                <a:gd name="T18" fmla="*/ 0 w 175"/>
                <a:gd name="T19" fmla="*/ 94 h 250"/>
                <a:gd name="T20" fmla="*/ 4 w 175"/>
                <a:gd name="T21" fmla="*/ 64 h 250"/>
                <a:gd name="T22" fmla="*/ 43 w 175"/>
                <a:gd name="T23" fmla="*/ 51 h 250"/>
                <a:gd name="T24" fmla="*/ 63 w 175"/>
                <a:gd name="T25" fmla="*/ 28 h 250"/>
                <a:gd name="T26" fmla="*/ 37 w 175"/>
                <a:gd name="T27" fmla="*/ 28 h 250"/>
                <a:gd name="T28" fmla="*/ 23 w 175"/>
                <a:gd name="T29" fmla="*/ 23 h 250"/>
                <a:gd name="T30" fmla="*/ 14 w 175"/>
                <a:gd name="T31" fmla="*/ 13 h 250"/>
                <a:gd name="T32" fmla="*/ 20 w 175"/>
                <a:gd name="T33" fmla="*/ 8 h 250"/>
                <a:gd name="T34" fmla="*/ 20 w 175"/>
                <a:gd name="T35" fmla="*/ 8 h 25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75" h="250">
                  <a:moveTo>
                    <a:pt x="39" y="20"/>
                  </a:moveTo>
                  <a:lnTo>
                    <a:pt x="44" y="30"/>
                  </a:lnTo>
                  <a:lnTo>
                    <a:pt x="80" y="29"/>
                  </a:lnTo>
                  <a:lnTo>
                    <a:pt x="119" y="24"/>
                  </a:lnTo>
                  <a:lnTo>
                    <a:pt x="145" y="15"/>
                  </a:lnTo>
                  <a:lnTo>
                    <a:pt x="165" y="0"/>
                  </a:lnTo>
                  <a:lnTo>
                    <a:pt x="175" y="22"/>
                  </a:lnTo>
                  <a:lnTo>
                    <a:pt x="122" y="147"/>
                  </a:lnTo>
                  <a:lnTo>
                    <a:pt x="10" y="250"/>
                  </a:lnTo>
                  <a:lnTo>
                    <a:pt x="0" y="229"/>
                  </a:lnTo>
                  <a:lnTo>
                    <a:pt x="9" y="155"/>
                  </a:lnTo>
                  <a:lnTo>
                    <a:pt x="84" y="124"/>
                  </a:lnTo>
                  <a:lnTo>
                    <a:pt x="122" y="70"/>
                  </a:lnTo>
                  <a:lnTo>
                    <a:pt x="72" y="70"/>
                  </a:lnTo>
                  <a:lnTo>
                    <a:pt x="45" y="59"/>
                  </a:lnTo>
                  <a:lnTo>
                    <a:pt x="27" y="32"/>
                  </a:lnTo>
                  <a:lnTo>
                    <a:pt x="39" y="2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2" name="Freeform 239"/>
            <p:cNvSpPr>
              <a:spLocks/>
            </p:cNvSpPr>
            <p:nvPr/>
          </p:nvSpPr>
          <p:spPr bwMode="auto">
            <a:xfrm>
              <a:off x="3208" y="2740"/>
              <a:ext cx="153" cy="209"/>
            </a:xfrm>
            <a:custGeom>
              <a:avLst/>
              <a:gdLst>
                <a:gd name="T0" fmla="*/ 20 w 175"/>
                <a:gd name="T1" fmla="*/ 8 h 250"/>
                <a:gd name="T2" fmla="*/ 22 w 175"/>
                <a:gd name="T3" fmla="*/ 13 h 250"/>
                <a:gd name="T4" fmla="*/ 40 w 175"/>
                <a:gd name="T5" fmla="*/ 12 h 250"/>
                <a:gd name="T6" fmla="*/ 61 w 175"/>
                <a:gd name="T7" fmla="*/ 10 h 250"/>
                <a:gd name="T8" fmla="*/ 74 w 175"/>
                <a:gd name="T9" fmla="*/ 7 h 250"/>
                <a:gd name="T10" fmla="*/ 84 w 175"/>
                <a:gd name="T11" fmla="*/ 0 h 250"/>
                <a:gd name="T12" fmla="*/ 89 w 175"/>
                <a:gd name="T13" fmla="*/ 9 h 250"/>
                <a:gd name="T14" fmla="*/ 63 w 175"/>
                <a:gd name="T15" fmla="*/ 60 h 250"/>
                <a:gd name="T16" fmla="*/ 5 w 175"/>
                <a:gd name="T17" fmla="*/ 102 h 250"/>
                <a:gd name="T18" fmla="*/ 0 w 175"/>
                <a:gd name="T19" fmla="*/ 94 h 250"/>
                <a:gd name="T20" fmla="*/ 4 w 175"/>
                <a:gd name="T21" fmla="*/ 64 h 250"/>
                <a:gd name="T22" fmla="*/ 43 w 175"/>
                <a:gd name="T23" fmla="*/ 51 h 250"/>
                <a:gd name="T24" fmla="*/ 63 w 175"/>
                <a:gd name="T25" fmla="*/ 28 h 250"/>
                <a:gd name="T26" fmla="*/ 37 w 175"/>
                <a:gd name="T27" fmla="*/ 28 h 250"/>
                <a:gd name="T28" fmla="*/ 23 w 175"/>
                <a:gd name="T29" fmla="*/ 23 h 250"/>
                <a:gd name="T30" fmla="*/ 14 w 175"/>
                <a:gd name="T31" fmla="*/ 13 h 250"/>
                <a:gd name="T32" fmla="*/ 20 w 175"/>
                <a:gd name="T33" fmla="*/ 8 h 250"/>
                <a:gd name="T34" fmla="*/ 20 w 175"/>
                <a:gd name="T35" fmla="*/ 8 h 25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75" h="250">
                  <a:moveTo>
                    <a:pt x="39" y="20"/>
                  </a:moveTo>
                  <a:lnTo>
                    <a:pt x="44" y="30"/>
                  </a:lnTo>
                  <a:lnTo>
                    <a:pt x="80" y="29"/>
                  </a:lnTo>
                  <a:lnTo>
                    <a:pt x="119" y="24"/>
                  </a:lnTo>
                  <a:lnTo>
                    <a:pt x="145" y="15"/>
                  </a:lnTo>
                  <a:lnTo>
                    <a:pt x="165" y="0"/>
                  </a:lnTo>
                  <a:lnTo>
                    <a:pt x="175" y="22"/>
                  </a:lnTo>
                  <a:lnTo>
                    <a:pt x="122" y="147"/>
                  </a:lnTo>
                  <a:lnTo>
                    <a:pt x="10" y="250"/>
                  </a:lnTo>
                  <a:lnTo>
                    <a:pt x="0" y="229"/>
                  </a:lnTo>
                  <a:lnTo>
                    <a:pt x="9" y="155"/>
                  </a:lnTo>
                  <a:lnTo>
                    <a:pt x="84" y="124"/>
                  </a:lnTo>
                  <a:lnTo>
                    <a:pt x="122" y="70"/>
                  </a:lnTo>
                  <a:lnTo>
                    <a:pt x="72" y="70"/>
                  </a:lnTo>
                  <a:lnTo>
                    <a:pt x="45" y="59"/>
                  </a:lnTo>
                  <a:lnTo>
                    <a:pt x="27" y="32"/>
                  </a:lnTo>
                  <a:lnTo>
                    <a:pt x="39" y="2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3" name="Freeform 240"/>
            <p:cNvSpPr>
              <a:spLocks/>
            </p:cNvSpPr>
            <p:nvPr/>
          </p:nvSpPr>
          <p:spPr bwMode="auto">
            <a:xfrm>
              <a:off x="2727" y="2902"/>
              <a:ext cx="29" cy="19"/>
            </a:xfrm>
            <a:custGeom>
              <a:avLst/>
              <a:gdLst>
                <a:gd name="T0" fmla="*/ 5 w 31"/>
                <a:gd name="T1" fmla="*/ 0 h 24"/>
                <a:gd name="T2" fmla="*/ 22 w 31"/>
                <a:gd name="T3" fmla="*/ 2 h 24"/>
                <a:gd name="T4" fmla="*/ 21 w 31"/>
                <a:gd name="T5" fmla="*/ 8 h 24"/>
                <a:gd name="T6" fmla="*/ 0 w 31"/>
                <a:gd name="T7" fmla="*/ 6 h 24"/>
                <a:gd name="T8" fmla="*/ 5 w 31"/>
                <a:gd name="T9" fmla="*/ 0 h 24"/>
                <a:gd name="T10" fmla="*/ 5 w 31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1" h="24">
                  <a:moveTo>
                    <a:pt x="5" y="0"/>
                  </a:moveTo>
                  <a:lnTo>
                    <a:pt x="31" y="2"/>
                  </a:lnTo>
                  <a:lnTo>
                    <a:pt x="30" y="24"/>
                  </a:lnTo>
                  <a:lnTo>
                    <a:pt x="0" y="2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4" name="Freeform 241"/>
            <p:cNvSpPr>
              <a:spLocks/>
            </p:cNvSpPr>
            <p:nvPr/>
          </p:nvSpPr>
          <p:spPr bwMode="auto">
            <a:xfrm>
              <a:off x="2727" y="2902"/>
              <a:ext cx="29" cy="19"/>
            </a:xfrm>
            <a:custGeom>
              <a:avLst/>
              <a:gdLst>
                <a:gd name="T0" fmla="*/ 5 w 31"/>
                <a:gd name="T1" fmla="*/ 0 h 24"/>
                <a:gd name="T2" fmla="*/ 22 w 31"/>
                <a:gd name="T3" fmla="*/ 2 h 24"/>
                <a:gd name="T4" fmla="*/ 21 w 31"/>
                <a:gd name="T5" fmla="*/ 8 h 24"/>
                <a:gd name="T6" fmla="*/ 0 w 31"/>
                <a:gd name="T7" fmla="*/ 6 h 24"/>
                <a:gd name="T8" fmla="*/ 5 w 31"/>
                <a:gd name="T9" fmla="*/ 0 h 24"/>
                <a:gd name="T10" fmla="*/ 5 w 31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1" h="24">
                  <a:moveTo>
                    <a:pt x="5" y="0"/>
                  </a:moveTo>
                  <a:lnTo>
                    <a:pt x="31" y="2"/>
                  </a:lnTo>
                  <a:lnTo>
                    <a:pt x="30" y="24"/>
                  </a:lnTo>
                  <a:lnTo>
                    <a:pt x="0" y="22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5" name="Freeform 242"/>
            <p:cNvSpPr>
              <a:spLocks/>
            </p:cNvSpPr>
            <p:nvPr/>
          </p:nvSpPr>
          <p:spPr bwMode="auto">
            <a:xfrm>
              <a:off x="2719" y="2904"/>
              <a:ext cx="88" cy="106"/>
            </a:xfrm>
            <a:custGeom>
              <a:avLst/>
              <a:gdLst>
                <a:gd name="T0" fmla="*/ 21 w 101"/>
                <a:gd name="T1" fmla="*/ 0 h 128"/>
                <a:gd name="T2" fmla="*/ 42 w 101"/>
                <a:gd name="T3" fmla="*/ 2 h 128"/>
                <a:gd name="T4" fmla="*/ 43 w 101"/>
                <a:gd name="T5" fmla="*/ 6 h 128"/>
                <a:gd name="T6" fmla="*/ 49 w 101"/>
                <a:gd name="T7" fmla="*/ 5 h 128"/>
                <a:gd name="T8" fmla="*/ 51 w 101"/>
                <a:gd name="T9" fmla="*/ 32 h 128"/>
                <a:gd name="T10" fmla="*/ 25 w 101"/>
                <a:gd name="T11" fmla="*/ 34 h 128"/>
                <a:gd name="T12" fmla="*/ 28 w 101"/>
                <a:gd name="T13" fmla="*/ 50 h 128"/>
                <a:gd name="T14" fmla="*/ 21 w 101"/>
                <a:gd name="T15" fmla="*/ 42 h 128"/>
                <a:gd name="T16" fmla="*/ 7 w 101"/>
                <a:gd name="T17" fmla="*/ 31 h 128"/>
                <a:gd name="T18" fmla="*/ 0 w 101"/>
                <a:gd name="T19" fmla="*/ 22 h 128"/>
                <a:gd name="T20" fmla="*/ 5 w 101"/>
                <a:gd name="T21" fmla="*/ 8 h 128"/>
                <a:gd name="T22" fmla="*/ 20 w 101"/>
                <a:gd name="T23" fmla="*/ 8 h 128"/>
                <a:gd name="T24" fmla="*/ 21 w 101"/>
                <a:gd name="T25" fmla="*/ 0 h 128"/>
                <a:gd name="T26" fmla="*/ 21 w 101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128">
                  <a:moveTo>
                    <a:pt x="41" y="0"/>
                  </a:moveTo>
                  <a:lnTo>
                    <a:pt x="83" y="2"/>
                  </a:lnTo>
                  <a:lnTo>
                    <a:pt x="85" y="15"/>
                  </a:lnTo>
                  <a:lnTo>
                    <a:pt x="96" y="13"/>
                  </a:lnTo>
                  <a:lnTo>
                    <a:pt x="101" y="83"/>
                  </a:lnTo>
                  <a:lnTo>
                    <a:pt x="51" y="87"/>
                  </a:lnTo>
                  <a:lnTo>
                    <a:pt x="55" y="128"/>
                  </a:lnTo>
                  <a:lnTo>
                    <a:pt x="41" y="107"/>
                  </a:lnTo>
                  <a:lnTo>
                    <a:pt x="13" y="78"/>
                  </a:lnTo>
                  <a:lnTo>
                    <a:pt x="0" y="57"/>
                  </a:lnTo>
                  <a:lnTo>
                    <a:pt x="10" y="20"/>
                  </a:lnTo>
                  <a:lnTo>
                    <a:pt x="40" y="22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6" name="Freeform 243"/>
            <p:cNvSpPr>
              <a:spLocks/>
            </p:cNvSpPr>
            <p:nvPr/>
          </p:nvSpPr>
          <p:spPr bwMode="auto">
            <a:xfrm>
              <a:off x="2719" y="2904"/>
              <a:ext cx="88" cy="106"/>
            </a:xfrm>
            <a:custGeom>
              <a:avLst/>
              <a:gdLst>
                <a:gd name="T0" fmla="*/ 21 w 101"/>
                <a:gd name="T1" fmla="*/ 0 h 128"/>
                <a:gd name="T2" fmla="*/ 42 w 101"/>
                <a:gd name="T3" fmla="*/ 2 h 128"/>
                <a:gd name="T4" fmla="*/ 43 w 101"/>
                <a:gd name="T5" fmla="*/ 6 h 128"/>
                <a:gd name="T6" fmla="*/ 49 w 101"/>
                <a:gd name="T7" fmla="*/ 5 h 128"/>
                <a:gd name="T8" fmla="*/ 51 w 101"/>
                <a:gd name="T9" fmla="*/ 32 h 128"/>
                <a:gd name="T10" fmla="*/ 25 w 101"/>
                <a:gd name="T11" fmla="*/ 34 h 128"/>
                <a:gd name="T12" fmla="*/ 28 w 101"/>
                <a:gd name="T13" fmla="*/ 50 h 128"/>
                <a:gd name="T14" fmla="*/ 21 w 101"/>
                <a:gd name="T15" fmla="*/ 42 h 128"/>
                <a:gd name="T16" fmla="*/ 7 w 101"/>
                <a:gd name="T17" fmla="*/ 31 h 128"/>
                <a:gd name="T18" fmla="*/ 0 w 101"/>
                <a:gd name="T19" fmla="*/ 22 h 128"/>
                <a:gd name="T20" fmla="*/ 5 w 101"/>
                <a:gd name="T21" fmla="*/ 8 h 128"/>
                <a:gd name="T22" fmla="*/ 20 w 101"/>
                <a:gd name="T23" fmla="*/ 8 h 128"/>
                <a:gd name="T24" fmla="*/ 21 w 101"/>
                <a:gd name="T25" fmla="*/ 0 h 128"/>
                <a:gd name="T26" fmla="*/ 21 w 101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128">
                  <a:moveTo>
                    <a:pt x="41" y="0"/>
                  </a:moveTo>
                  <a:lnTo>
                    <a:pt x="83" y="2"/>
                  </a:lnTo>
                  <a:lnTo>
                    <a:pt x="85" y="15"/>
                  </a:lnTo>
                  <a:lnTo>
                    <a:pt x="96" y="13"/>
                  </a:lnTo>
                  <a:lnTo>
                    <a:pt x="101" y="83"/>
                  </a:lnTo>
                  <a:lnTo>
                    <a:pt x="51" y="87"/>
                  </a:lnTo>
                  <a:lnTo>
                    <a:pt x="55" y="128"/>
                  </a:lnTo>
                  <a:lnTo>
                    <a:pt x="41" y="107"/>
                  </a:lnTo>
                  <a:lnTo>
                    <a:pt x="13" y="78"/>
                  </a:lnTo>
                  <a:lnTo>
                    <a:pt x="0" y="57"/>
                  </a:lnTo>
                  <a:lnTo>
                    <a:pt x="10" y="20"/>
                  </a:lnTo>
                  <a:lnTo>
                    <a:pt x="40" y="22"/>
                  </a:lnTo>
                  <a:lnTo>
                    <a:pt x="4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7" name="Freeform 244"/>
            <p:cNvSpPr>
              <a:spLocks/>
            </p:cNvSpPr>
            <p:nvPr/>
          </p:nvSpPr>
          <p:spPr bwMode="auto">
            <a:xfrm>
              <a:off x="2764" y="2876"/>
              <a:ext cx="104" cy="134"/>
            </a:xfrm>
            <a:custGeom>
              <a:avLst/>
              <a:gdLst>
                <a:gd name="T0" fmla="*/ 0 w 122"/>
                <a:gd name="T1" fmla="*/ 49 h 160"/>
                <a:gd name="T2" fmla="*/ 3 w 122"/>
                <a:gd name="T3" fmla="*/ 66 h 160"/>
                <a:gd name="T4" fmla="*/ 10 w 122"/>
                <a:gd name="T5" fmla="*/ 65 h 160"/>
                <a:gd name="T6" fmla="*/ 15 w 122"/>
                <a:gd name="T7" fmla="*/ 61 h 160"/>
                <a:gd name="T8" fmla="*/ 25 w 122"/>
                <a:gd name="T9" fmla="*/ 63 h 160"/>
                <a:gd name="T10" fmla="*/ 35 w 122"/>
                <a:gd name="T11" fmla="*/ 56 h 160"/>
                <a:gd name="T12" fmla="*/ 36 w 122"/>
                <a:gd name="T13" fmla="*/ 44 h 160"/>
                <a:gd name="T14" fmla="*/ 49 w 122"/>
                <a:gd name="T15" fmla="*/ 31 h 160"/>
                <a:gd name="T16" fmla="*/ 55 w 122"/>
                <a:gd name="T17" fmla="*/ 7 h 160"/>
                <a:gd name="T18" fmla="*/ 41 w 122"/>
                <a:gd name="T19" fmla="*/ 0 h 160"/>
                <a:gd name="T20" fmla="*/ 32 w 122"/>
                <a:gd name="T21" fmla="*/ 4 h 160"/>
                <a:gd name="T22" fmla="*/ 33 w 122"/>
                <a:gd name="T23" fmla="*/ 14 h 160"/>
                <a:gd name="T24" fmla="*/ 14 w 122"/>
                <a:gd name="T25" fmla="*/ 14 h 160"/>
                <a:gd name="T26" fmla="*/ 15 w 122"/>
                <a:gd name="T27" fmla="*/ 19 h 160"/>
                <a:gd name="T28" fmla="*/ 20 w 122"/>
                <a:gd name="T29" fmla="*/ 20 h 160"/>
                <a:gd name="T30" fmla="*/ 23 w 122"/>
                <a:gd name="T31" fmla="*/ 48 h 160"/>
                <a:gd name="T32" fmla="*/ 0 w 122"/>
                <a:gd name="T33" fmla="*/ 49 h 160"/>
                <a:gd name="T34" fmla="*/ 0 w 122"/>
                <a:gd name="T35" fmla="*/ 49 h 1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22" h="160">
                  <a:moveTo>
                    <a:pt x="0" y="120"/>
                  </a:moveTo>
                  <a:lnTo>
                    <a:pt x="4" y="160"/>
                  </a:lnTo>
                  <a:lnTo>
                    <a:pt x="22" y="158"/>
                  </a:lnTo>
                  <a:lnTo>
                    <a:pt x="34" y="148"/>
                  </a:lnTo>
                  <a:lnTo>
                    <a:pt x="55" y="150"/>
                  </a:lnTo>
                  <a:lnTo>
                    <a:pt x="77" y="136"/>
                  </a:lnTo>
                  <a:lnTo>
                    <a:pt x="79" y="106"/>
                  </a:lnTo>
                  <a:lnTo>
                    <a:pt x="110" y="75"/>
                  </a:lnTo>
                  <a:lnTo>
                    <a:pt x="122" y="15"/>
                  </a:lnTo>
                  <a:lnTo>
                    <a:pt x="90" y="0"/>
                  </a:lnTo>
                  <a:lnTo>
                    <a:pt x="72" y="10"/>
                  </a:lnTo>
                  <a:lnTo>
                    <a:pt x="74" y="35"/>
                  </a:lnTo>
                  <a:lnTo>
                    <a:pt x="32" y="35"/>
                  </a:lnTo>
                  <a:lnTo>
                    <a:pt x="34" y="48"/>
                  </a:lnTo>
                  <a:lnTo>
                    <a:pt x="45" y="50"/>
                  </a:lnTo>
                  <a:lnTo>
                    <a:pt x="50" y="116"/>
                  </a:lnTo>
                  <a:lnTo>
                    <a:pt x="0" y="12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8" name="Freeform 245"/>
            <p:cNvSpPr>
              <a:spLocks/>
            </p:cNvSpPr>
            <p:nvPr/>
          </p:nvSpPr>
          <p:spPr bwMode="auto">
            <a:xfrm>
              <a:off x="2764" y="2876"/>
              <a:ext cx="104" cy="134"/>
            </a:xfrm>
            <a:custGeom>
              <a:avLst/>
              <a:gdLst>
                <a:gd name="T0" fmla="*/ 0 w 122"/>
                <a:gd name="T1" fmla="*/ 49 h 160"/>
                <a:gd name="T2" fmla="*/ 3 w 122"/>
                <a:gd name="T3" fmla="*/ 66 h 160"/>
                <a:gd name="T4" fmla="*/ 10 w 122"/>
                <a:gd name="T5" fmla="*/ 65 h 160"/>
                <a:gd name="T6" fmla="*/ 15 w 122"/>
                <a:gd name="T7" fmla="*/ 61 h 160"/>
                <a:gd name="T8" fmla="*/ 25 w 122"/>
                <a:gd name="T9" fmla="*/ 63 h 160"/>
                <a:gd name="T10" fmla="*/ 35 w 122"/>
                <a:gd name="T11" fmla="*/ 56 h 160"/>
                <a:gd name="T12" fmla="*/ 36 w 122"/>
                <a:gd name="T13" fmla="*/ 44 h 160"/>
                <a:gd name="T14" fmla="*/ 49 w 122"/>
                <a:gd name="T15" fmla="*/ 31 h 160"/>
                <a:gd name="T16" fmla="*/ 55 w 122"/>
                <a:gd name="T17" fmla="*/ 7 h 160"/>
                <a:gd name="T18" fmla="*/ 41 w 122"/>
                <a:gd name="T19" fmla="*/ 0 h 160"/>
                <a:gd name="T20" fmla="*/ 32 w 122"/>
                <a:gd name="T21" fmla="*/ 4 h 160"/>
                <a:gd name="T22" fmla="*/ 33 w 122"/>
                <a:gd name="T23" fmla="*/ 14 h 160"/>
                <a:gd name="T24" fmla="*/ 14 w 122"/>
                <a:gd name="T25" fmla="*/ 14 h 160"/>
                <a:gd name="T26" fmla="*/ 15 w 122"/>
                <a:gd name="T27" fmla="*/ 19 h 160"/>
                <a:gd name="T28" fmla="*/ 20 w 122"/>
                <a:gd name="T29" fmla="*/ 20 h 160"/>
                <a:gd name="T30" fmla="*/ 23 w 122"/>
                <a:gd name="T31" fmla="*/ 48 h 160"/>
                <a:gd name="T32" fmla="*/ 0 w 122"/>
                <a:gd name="T33" fmla="*/ 49 h 160"/>
                <a:gd name="T34" fmla="*/ 0 w 122"/>
                <a:gd name="T35" fmla="*/ 49 h 1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22" h="160">
                  <a:moveTo>
                    <a:pt x="0" y="120"/>
                  </a:moveTo>
                  <a:lnTo>
                    <a:pt x="4" y="160"/>
                  </a:lnTo>
                  <a:lnTo>
                    <a:pt x="22" y="158"/>
                  </a:lnTo>
                  <a:lnTo>
                    <a:pt x="34" y="148"/>
                  </a:lnTo>
                  <a:lnTo>
                    <a:pt x="55" y="150"/>
                  </a:lnTo>
                  <a:lnTo>
                    <a:pt x="77" y="136"/>
                  </a:lnTo>
                  <a:lnTo>
                    <a:pt x="79" y="106"/>
                  </a:lnTo>
                  <a:lnTo>
                    <a:pt x="110" y="75"/>
                  </a:lnTo>
                  <a:lnTo>
                    <a:pt x="122" y="15"/>
                  </a:lnTo>
                  <a:lnTo>
                    <a:pt x="90" y="0"/>
                  </a:lnTo>
                  <a:lnTo>
                    <a:pt x="72" y="10"/>
                  </a:lnTo>
                  <a:lnTo>
                    <a:pt x="74" y="35"/>
                  </a:lnTo>
                  <a:lnTo>
                    <a:pt x="32" y="35"/>
                  </a:lnTo>
                  <a:lnTo>
                    <a:pt x="34" y="48"/>
                  </a:lnTo>
                  <a:lnTo>
                    <a:pt x="45" y="50"/>
                  </a:lnTo>
                  <a:lnTo>
                    <a:pt x="50" y="116"/>
                  </a:lnTo>
                  <a:lnTo>
                    <a:pt x="0" y="12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9" name="Freeform 246"/>
            <p:cNvSpPr>
              <a:spLocks/>
            </p:cNvSpPr>
            <p:nvPr/>
          </p:nvSpPr>
          <p:spPr bwMode="auto">
            <a:xfrm>
              <a:off x="2765" y="3008"/>
              <a:ext cx="15" cy="19"/>
            </a:xfrm>
            <a:custGeom>
              <a:avLst/>
              <a:gdLst>
                <a:gd name="T0" fmla="*/ 5 w 20"/>
                <a:gd name="T1" fmla="*/ 0 h 22"/>
                <a:gd name="T2" fmla="*/ 0 w 20"/>
                <a:gd name="T3" fmla="*/ 2 h 22"/>
                <a:gd name="T4" fmla="*/ 3 w 20"/>
                <a:gd name="T5" fmla="*/ 10 h 22"/>
                <a:gd name="T6" fmla="*/ 5 w 20"/>
                <a:gd name="T7" fmla="*/ 0 h 22"/>
                <a:gd name="T8" fmla="*/ 5 w 2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22">
                  <a:moveTo>
                    <a:pt x="20" y="0"/>
                  </a:moveTo>
                  <a:lnTo>
                    <a:pt x="0" y="2"/>
                  </a:lnTo>
                  <a:lnTo>
                    <a:pt x="12" y="2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0" name="Freeform 247"/>
            <p:cNvSpPr>
              <a:spLocks/>
            </p:cNvSpPr>
            <p:nvPr/>
          </p:nvSpPr>
          <p:spPr bwMode="auto">
            <a:xfrm>
              <a:off x="2765" y="3008"/>
              <a:ext cx="15" cy="19"/>
            </a:xfrm>
            <a:custGeom>
              <a:avLst/>
              <a:gdLst>
                <a:gd name="T0" fmla="*/ 5 w 20"/>
                <a:gd name="T1" fmla="*/ 0 h 22"/>
                <a:gd name="T2" fmla="*/ 0 w 20"/>
                <a:gd name="T3" fmla="*/ 2 h 22"/>
                <a:gd name="T4" fmla="*/ 3 w 20"/>
                <a:gd name="T5" fmla="*/ 10 h 22"/>
                <a:gd name="T6" fmla="*/ 5 w 20"/>
                <a:gd name="T7" fmla="*/ 0 h 22"/>
                <a:gd name="T8" fmla="*/ 5 w 2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22">
                  <a:moveTo>
                    <a:pt x="20" y="0"/>
                  </a:moveTo>
                  <a:lnTo>
                    <a:pt x="0" y="2"/>
                  </a:lnTo>
                  <a:lnTo>
                    <a:pt x="12" y="22"/>
                  </a:lnTo>
                  <a:lnTo>
                    <a:pt x="2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1" name="Freeform 248"/>
            <p:cNvSpPr>
              <a:spLocks/>
            </p:cNvSpPr>
            <p:nvPr/>
          </p:nvSpPr>
          <p:spPr bwMode="auto">
            <a:xfrm>
              <a:off x="2776" y="2849"/>
              <a:ext cx="289" cy="286"/>
            </a:xfrm>
            <a:custGeom>
              <a:avLst/>
              <a:gdLst>
                <a:gd name="T0" fmla="*/ 0 w 337"/>
                <a:gd name="T1" fmla="*/ 87 h 342"/>
                <a:gd name="T2" fmla="*/ 3 w 337"/>
                <a:gd name="T3" fmla="*/ 78 h 342"/>
                <a:gd name="T4" fmla="*/ 9 w 337"/>
                <a:gd name="T5" fmla="*/ 74 h 342"/>
                <a:gd name="T6" fmla="*/ 14 w 337"/>
                <a:gd name="T7" fmla="*/ 74 h 342"/>
                <a:gd name="T8" fmla="*/ 21 w 337"/>
                <a:gd name="T9" fmla="*/ 74 h 342"/>
                <a:gd name="T10" fmla="*/ 28 w 337"/>
                <a:gd name="T11" fmla="*/ 69 h 342"/>
                <a:gd name="T12" fmla="*/ 30 w 337"/>
                <a:gd name="T13" fmla="*/ 56 h 342"/>
                <a:gd name="T14" fmla="*/ 44 w 337"/>
                <a:gd name="T15" fmla="*/ 43 h 342"/>
                <a:gd name="T16" fmla="*/ 54 w 337"/>
                <a:gd name="T17" fmla="*/ 8 h 342"/>
                <a:gd name="T18" fmla="*/ 62 w 337"/>
                <a:gd name="T19" fmla="*/ 5 h 342"/>
                <a:gd name="T20" fmla="*/ 81 w 337"/>
                <a:gd name="T21" fmla="*/ 9 h 342"/>
                <a:gd name="T22" fmla="*/ 95 w 337"/>
                <a:gd name="T23" fmla="*/ 3 h 342"/>
                <a:gd name="T24" fmla="*/ 104 w 337"/>
                <a:gd name="T25" fmla="*/ 3 h 342"/>
                <a:gd name="T26" fmla="*/ 111 w 337"/>
                <a:gd name="T27" fmla="*/ 0 h 342"/>
                <a:gd name="T28" fmla="*/ 123 w 337"/>
                <a:gd name="T29" fmla="*/ 3 h 342"/>
                <a:gd name="T30" fmla="*/ 131 w 337"/>
                <a:gd name="T31" fmla="*/ 7 h 342"/>
                <a:gd name="T32" fmla="*/ 138 w 337"/>
                <a:gd name="T33" fmla="*/ 7 h 342"/>
                <a:gd name="T34" fmla="*/ 142 w 337"/>
                <a:gd name="T35" fmla="*/ 9 h 342"/>
                <a:gd name="T36" fmla="*/ 145 w 337"/>
                <a:gd name="T37" fmla="*/ 7 h 342"/>
                <a:gd name="T38" fmla="*/ 153 w 337"/>
                <a:gd name="T39" fmla="*/ 13 h 342"/>
                <a:gd name="T40" fmla="*/ 153 w 337"/>
                <a:gd name="T41" fmla="*/ 20 h 342"/>
                <a:gd name="T42" fmla="*/ 157 w 337"/>
                <a:gd name="T43" fmla="*/ 25 h 342"/>
                <a:gd name="T44" fmla="*/ 148 w 337"/>
                <a:gd name="T45" fmla="*/ 33 h 342"/>
                <a:gd name="T46" fmla="*/ 142 w 337"/>
                <a:gd name="T47" fmla="*/ 49 h 342"/>
                <a:gd name="T48" fmla="*/ 140 w 337"/>
                <a:gd name="T49" fmla="*/ 56 h 342"/>
                <a:gd name="T50" fmla="*/ 140 w 337"/>
                <a:gd name="T51" fmla="*/ 84 h 342"/>
                <a:gd name="T52" fmla="*/ 150 w 337"/>
                <a:gd name="T53" fmla="*/ 93 h 342"/>
                <a:gd name="T54" fmla="*/ 150 w 337"/>
                <a:gd name="T55" fmla="*/ 97 h 342"/>
                <a:gd name="T56" fmla="*/ 135 w 337"/>
                <a:gd name="T57" fmla="*/ 100 h 342"/>
                <a:gd name="T58" fmla="*/ 130 w 337"/>
                <a:gd name="T59" fmla="*/ 113 h 342"/>
                <a:gd name="T60" fmla="*/ 137 w 337"/>
                <a:gd name="T61" fmla="*/ 113 h 342"/>
                <a:gd name="T62" fmla="*/ 133 w 337"/>
                <a:gd name="T63" fmla="*/ 126 h 342"/>
                <a:gd name="T64" fmla="*/ 142 w 337"/>
                <a:gd name="T65" fmla="*/ 130 h 342"/>
                <a:gd name="T66" fmla="*/ 145 w 337"/>
                <a:gd name="T67" fmla="*/ 127 h 342"/>
                <a:gd name="T68" fmla="*/ 147 w 337"/>
                <a:gd name="T69" fmla="*/ 140 h 342"/>
                <a:gd name="T70" fmla="*/ 139 w 337"/>
                <a:gd name="T71" fmla="*/ 140 h 342"/>
                <a:gd name="T72" fmla="*/ 121 w 337"/>
                <a:gd name="T73" fmla="*/ 127 h 342"/>
                <a:gd name="T74" fmla="*/ 122 w 337"/>
                <a:gd name="T75" fmla="*/ 130 h 342"/>
                <a:gd name="T76" fmla="*/ 116 w 337"/>
                <a:gd name="T77" fmla="*/ 130 h 342"/>
                <a:gd name="T78" fmla="*/ 105 w 337"/>
                <a:gd name="T79" fmla="*/ 124 h 342"/>
                <a:gd name="T80" fmla="*/ 97 w 337"/>
                <a:gd name="T81" fmla="*/ 124 h 342"/>
                <a:gd name="T82" fmla="*/ 97 w 337"/>
                <a:gd name="T83" fmla="*/ 121 h 342"/>
                <a:gd name="T84" fmla="*/ 81 w 337"/>
                <a:gd name="T85" fmla="*/ 122 h 342"/>
                <a:gd name="T86" fmla="*/ 74 w 337"/>
                <a:gd name="T87" fmla="*/ 94 h 342"/>
                <a:gd name="T88" fmla="*/ 69 w 337"/>
                <a:gd name="T89" fmla="*/ 94 h 342"/>
                <a:gd name="T90" fmla="*/ 69 w 337"/>
                <a:gd name="T91" fmla="*/ 90 h 342"/>
                <a:gd name="T92" fmla="*/ 60 w 337"/>
                <a:gd name="T93" fmla="*/ 91 h 342"/>
                <a:gd name="T94" fmla="*/ 59 w 337"/>
                <a:gd name="T95" fmla="*/ 98 h 342"/>
                <a:gd name="T96" fmla="*/ 42 w 337"/>
                <a:gd name="T97" fmla="*/ 100 h 342"/>
                <a:gd name="T98" fmla="*/ 42 w 337"/>
                <a:gd name="T99" fmla="*/ 96 h 342"/>
                <a:gd name="T100" fmla="*/ 39 w 337"/>
                <a:gd name="T101" fmla="*/ 96 h 342"/>
                <a:gd name="T102" fmla="*/ 33 w 337"/>
                <a:gd name="T103" fmla="*/ 83 h 342"/>
                <a:gd name="T104" fmla="*/ 0 w 337"/>
                <a:gd name="T105" fmla="*/ 87 h 342"/>
                <a:gd name="T106" fmla="*/ 0 w 337"/>
                <a:gd name="T107" fmla="*/ 87 h 34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7" h="342">
                  <a:moveTo>
                    <a:pt x="0" y="212"/>
                  </a:moveTo>
                  <a:lnTo>
                    <a:pt x="8" y="190"/>
                  </a:lnTo>
                  <a:lnTo>
                    <a:pt x="20" y="180"/>
                  </a:lnTo>
                  <a:lnTo>
                    <a:pt x="30" y="178"/>
                  </a:lnTo>
                  <a:lnTo>
                    <a:pt x="45" y="182"/>
                  </a:lnTo>
                  <a:lnTo>
                    <a:pt x="63" y="168"/>
                  </a:lnTo>
                  <a:lnTo>
                    <a:pt x="65" y="138"/>
                  </a:lnTo>
                  <a:lnTo>
                    <a:pt x="96" y="107"/>
                  </a:lnTo>
                  <a:lnTo>
                    <a:pt x="115" y="20"/>
                  </a:lnTo>
                  <a:lnTo>
                    <a:pt x="133" y="12"/>
                  </a:lnTo>
                  <a:lnTo>
                    <a:pt x="176" y="23"/>
                  </a:lnTo>
                  <a:lnTo>
                    <a:pt x="206" y="5"/>
                  </a:lnTo>
                  <a:lnTo>
                    <a:pt x="223" y="8"/>
                  </a:lnTo>
                  <a:lnTo>
                    <a:pt x="238" y="0"/>
                  </a:lnTo>
                  <a:lnTo>
                    <a:pt x="265" y="7"/>
                  </a:lnTo>
                  <a:lnTo>
                    <a:pt x="282" y="17"/>
                  </a:lnTo>
                  <a:lnTo>
                    <a:pt x="297" y="15"/>
                  </a:lnTo>
                  <a:lnTo>
                    <a:pt x="305" y="22"/>
                  </a:lnTo>
                  <a:lnTo>
                    <a:pt x="312" y="15"/>
                  </a:lnTo>
                  <a:lnTo>
                    <a:pt x="328" y="33"/>
                  </a:lnTo>
                  <a:lnTo>
                    <a:pt x="330" y="50"/>
                  </a:lnTo>
                  <a:lnTo>
                    <a:pt x="337" y="62"/>
                  </a:lnTo>
                  <a:lnTo>
                    <a:pt x="317" y="80"/>
                  </a:lnTo>
                  <a:lnTo>
                    <a:pt x="308" y="122"/>
                  </a:lnTo>
                  <a:lnTo>
                    <a:pt x="302" y="138"/>
                  </a:lnTo>
                  <a:lnTo>
                    <a:pt x="302" y="205"/>
                  </a:lnTo>
                  <a:lnTo>
                    <a:pt x="323" y="227"/>
                  </a:lnTo>
                  <a:lnTo>
                    <a:pt x="323" y="238"/>
                  </a:lnTo>
                  <a:lnTo>
                    <a:pt x="290" y="243"/>
                  </a:lnTo>
                  <a:lnTo>
                    <a:pt x="280" y="275"/>
                  </a:lnTo>
                  <a:lnTo>
                    <a:pt x="295" y="278"/>
                  </a:lnTo>
                  <a:lnTo>
                    <a:pt x="287" y="308"/>
                  </a:lnTo>
                  <a:lnTo>
                    <a:pt x="307" y="318"/>
                  </a:lnTo>
                  <a:lnTo>
                    <a:pt x="313" y="312"/>
                  </a:lnTo>
                  <a:lnTo>
                    <a:pt x="315" y="342"/>
                  </a:lnTo>
                  <a:lnTo>
                    <a:pt x="300" y="342"/>
                  </a:lnTo>
                  <a:lnTo>
                    <a:pt x="260" y="312"/>
                  </a:lnTo>
                  <a:lnTo>
                    <a:pt x="262" y="318"/>
                  </a:lnTo>
                  <a:lnTo>
                    <a:pt x="248" y="318"/>
                  </a:lnTo>
                  <a:lnTo>
                    <a:pt x="225" y="302"/>
                  </a:lnTo>
                  <a:lnTo>
                    <a:pt x="210" y="303"/>
                  </a:lnTo>
                  <a:lnTo>
                    <a:pt x="210" y="295"/>
                  </a:lnTo>
                  <a:lnTo>
                    <a:pt x="175" y="298"/>
                  </a:lnTo>
                  <a:lnTo>
                    <a:pt x="160" y="230"/>
                  </a:lnTo>
                  <a:lnTo>
                    <a:pt x="151" y="232"/>
                  </a:lnTo>
                  <a:lnTo>
                    <a:pt x="148" y="220"/>
                  </a:lnTo>
                  <a:lnTo>
                    <a:pt x="131" y="222"/>
                  </a:lnTo>
                  <a:lnTo>
                    <a:pt x="130" y="240"/>
                  </a:lnTo>
                  <a:lnTo>
                    <a:pt x="91" y="243"/>
                  </a:lnTo>
                  <a:lnTo>
                    <a:pt x="91" y="235"/>
                  </a:lnTo>
                  <a:lnTo>
                    <a:pt x="83" y="235"/>
                  </a:lnTo>
                  <a:lnTo>
                    <a:pt x="73" y="202"/>
                  </a:lnTo>
                  <a:lnTo>
                    <a:pt x="0" y="21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2" name="Freeform 249"/>
            <p:cNvSpPr>
              <a:spLocks/>
            </p:cNvSpPr>
            <p:nvPr/>
          </p:nvSpPr>
          <p:spPr bwMode="auto">
            <a:xfrm>
              <a:off x="2776" y="2849"/>
              <a:ext cx="289" cy="286"/>
            </a:xfrm>
            <a:custGeom>
              <a:avLst/>
              <a:gdLst>
                <a:gd name="T0" fmla="*/ 0 w 337"/>
                <a:gd name="T1" fmla="*/ 87 h 342"/>
                <a:gd name="T2" fmla="*/ 3 w 337"/>
                <a:gd name="T3" fmla="*/ 78 h 342"/>
                <a:gd name="T4" fmla="*/ 9 w 337"/>
                <a:gd name="T5" fmla="*/ 74 h 342"/>
                <a:gd name="T6" fmla="*/ 14 w 337"/>
                <a:gd name="T7" fmla="*/ 74 h 342"/>
                <a:gd name="T8" fmla="*/ 21 w 337"/>
                <a:gd name="T9" fmla="*/ 74 h 342"/>
                <a:gd name="T10" fmla="*/ 28 w 337"/>
                <a:gd name="T11" fmla="*/ 69 h 342"/>
                <a:gd name="T12" fmla="*/ 30 w 337"/>
                <a:gd name="T13" fmla="*/ 56 h 342"/>
                <a:gd name="T14" fmla="*/ 44 w 337"/>
                <a:gd name="T15" fmla="*/ 43 h 342"/>
                <a:gd name="T16" fmla="*/ 54 w 337"/>
                <a:gd name="T17" fmla="*/ 8 h 342"/>
                <a:gd name="T18" fmla="*/ 62 w 337"/>
                <a:gd name="T19" fmla="*/ 5 h 342"/>
                <a:gd name="T20" fmla="*/ 81 w 337"/>
                <a:gd name="T21" fmla="*/ 9 h 342"/>
                <a:gd name="T22" fmla="*/ 95 w 337"/>
                <a:gd name="T23" fmla="*/ 3 h 342"/>
                <a:gd name="T24" fmla="*/ 104 w 337"/>
                <a:gd name="T25" fmla="*/ 3 h 342"/>
                <a:gd name="T26" fmla="*/ 111 w 337"/>
                <a:gd name="T27" fmla="*/ 0 h 342"/>
                <a:gd name="T28" fmla="*/ 123 w 337"/>
                <a:gd name="T29" fmla="*/ 3 h 342"/>
                <a:gd name="T30" fmla="*/ 131 w 337"/>
                <a:gd name="T31" fmla="*/ 7 h 342"/>
                <a:gd name="T32" fmla="*/ 138 w 337"/>
                <a:gd name="T33" fmla="*/ 7 h 342"/>
                <a:gd name="T34" fmla="*/ 142 w 337"/>
                <a:gd name="T35" fmla="*/ 9 h 342"/>
                <a:gd name="T36" fmla="*/ 145 w 337"/>
                <a:gd name="T37" fmla="*/ 7 h 342"/>
                <a:gd name="T38" fmla="*/ 153 w 337"/>
                <a:gd name="T39" fmla="*/ 13 h 342"/>
                <a:gd name="T40" fmla="*/ 153 w 337"/>
                <a:gd name="T41" fmla="*/ 20 h 342"/>
                <a:gd name="T42" fmla="*/ 157 w 337"/>
                <a:gd name="T43" fmla="*/ 25 h 342"/>
                <a:gd name="T44" fmla="*/ 148 w 337"/>
                <a:gd name="T45" fmla="*/ 33 h 342"/>
                <a:gd name="T46" fmla="*/ 142 w 337"/>
                <a:gd name="T47" fmla="*/ 49 h 342"/>
                <a:gd name="T48" fmla="*/ 140 w 337"/>
                <a:gd name="T49" fmla="*/ 56 h 342"/>
                <a:gd name="T50" fmla="*/ 140 w 337"/>
                <a:gd name="T51" fmla="*/ 84 h 342"/>
                <a:gd name="T52" fmla="*/ 150 w 337"/>
                <a:gd name="T53" fmla="*/ 93 h 342"/>
                <a:gd name="T54" fmla="*/ 150 w 337"/>
                <a:gd name="T55" fmla="*/ 97 h 342"/>
                <a:gd name="T56" fmla="*/ 135 w 337"/>
                <a:gd name="T57" fmla="*/ 100 h 342"/>
                <a:gd name="T58" fmla="*/ 130 w 337"/>
                <a:gd name="T59" fmla="*/ 113 h 342"/>
                <a:gd name="T60" fmla="*/ 137 w 337"/>
                <a:gd name="T61" fmla="*/ 113 h 342"/>
                <a:gd name="T62" fmla="*/ 133 w 337"/>
                <a:gd name="T63" fmla="*/ 126 h 342"/>
                <a:gd name="T64" fmla="*/ 142 w 337"/>
                <a:gd name="T65" fmla="*/ 130 h 342"/>
                <a:gd name="T66" fmla="*/ 145 w 337"/>
                <a:gd name="T67" fmla="*/ 127 h 342"/>
                <a:gd name="T68" fmla="*/ 147 w 337"/>
                <a:gd name="T69" fmla="*/ 140 h 342"/>
                <a:gd name="T70" fmla="*/ 139 w 337"/>
                <a:gd name="T71" fmla="*/ 140 h 342"/>
                <a:gd name="T72" fmla="*/ 121 w 337"/>
                <a:gd name="T73" fmla="*/ 127 h 342"/>
                <a:gd name="T74" fmla="*/ 122 w 337"/>
                <a:gd name="T75" fmla="*/ 130 h 342"/>
                <a:gd name="T76" fmla="*/ 116 w 337"/>
                <a:gd name="T77" fmla="*/ 130 h 342"/>
                <a:gd name="T78" fmla="*/ 105 w 337"/>
                <a:gd name="T79" fmla="*/ 124 h 342"/>
                <a:gd name="T80" fmla="*/ 97 w 337"/>
                <a:gd name="T81" fmla="*/ 124 h 342"/>
                <a:gd name="T82" fmla="*/ 97 w 337"/>
                <a:gd name="T83" fmla="*/ 121 h 342"/>
                <a:gd name="T84" fmla="*/ 81 w 337"/>
                <a:gd name="T85" fmla="*/ 122 h 342"/>
                <a:gd name="T86" fmla="*/ 74 w 337"/>
                <a:gd name="T87" fmla="*/ 94 h 342"/>
                <a:gd name="T88" fmla="*/ 69 w 337"/>
                <a:gd name="T89" fmla="*/ 94 h 342"/>
                <a:gd name="T90" fmla="*/ 69 w 337"/>
                <a:gd name="T91" fmla="*/ 90 h 342"/>
                <a:gd name="T92" fmla="*/ 60 w 337"/>
                <a:gd name="T93" fmla="*/ 91 h 342"/>
                <a:gd name="T94" fmla="*/ 59 w 337"/>
                <a:gd name="T95" fmla="*/ 98 h 342"/>
                <a:gd name="T96" fmla="*/ 42 w 337"/>
                <a:gd name="T97" fmla="*/ 100 h 342"/>
                <a:gd name="T98" fmla="*/ 42 w 337"/>
                <a:gd name="T99" fmla="*/ 96 h 342"/>
                <a:gd name="T100" fmla="*/ 39 w 337"/>
                <a:gd name="T101" fmla="*/ 96 h 342"/>
                <a:gd name="T102" fmla="*/ 33 w 337"/>
                <a:gd name="T103" fmla="*/ 83 h 342"/>
                <a:gd name="T104" fmla="*/ 0 w 337"/>
                <a:gd name="T105" fmla="*/ 87 h 342"/>
                <a:gd name="T106" fmla="*/ 0 w 337"/>
                <a:gd name="T107" fmla="*/ 87 h 34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7" h="342">
                  <a:moveTo>
                    <a:pt x="0" y="212"/>
                  </a:moveTo>
                  <a:lnTo>
                    <a:pt x="8" y="190"/>
                  </a:lnTo>
                  <a:lnTo>
                    <a:pt x="20" y="180"/>
                  </a:lnTo>
                  <a:lnTo>
                    <a:pt x="30" y="178"/>
                  </a:lnTo>
                  <a:lnTo>
                    <a:pt x="45" y="182"/>
                  </a:lnTo>
                  <a:lnTo>
                    <a:pt x="63" y="168"/>
                  </a:lnTo>
                  <a:lnTo>
                    <a:pt x="65" y="138"/>
                  </a:lnTo>
                  <a:lnTo>
                    <a:pt x="96" y="107"/>
                  </a:lnTo>
                  <a:lnTo>
                    <a:pt x="115" y="20"/>
                  </a:lnTo>
                  <a:lnTo>
                    <a:pt x="133" y="12"/>
                  </a:lnTo>
                  <a:lnTo>
                    <a:pt x="176" y="23"/>
                  </a:lnTo>
                  <a:lnTo>
                    <a:pt x="206" y="5"/>
                  </a:lnTo>
                  <a:lnTo>
                    <a:pt x="223" y="8"/>
                  </a:lnTo>
                  <a:lnTo>
                    <a:pt x="238" y="0"/>
                  </a:lnTo>
                  <a:lnTo>
                    <a:pt x="265" y="7"/>
                  </a:lnTo>
                  <a:lnTo>
                    <a:pt x="282" y="17"/>
                  </a:lnTo>
                  <a:lnTo>
                    <a:pt x="297" y="15"/>
                  </a:lnTo>
                  <a:lnTo>
                    <a:pt x="305" y="22"/>
                  </a:lnTo>
                  <a:lnTo>
                    <a:pt x="312" y="15"/>
                  </a:lnTo>
                  <a:lnTo>
                    <a:pt x="328" y="33"/>
                  </a:lnTo>
                  <a:lnTo>
                    <a:pt x="330" y="50"/>
                  </a:lnTo>
                  <a:lnTo>
                    <a:pt x="337" y="62"/>
                  </a:lnTo>
                  <a:lnTo>
                    <a:pt x="317" y="80"/>
                  </a:lnTo>
                  <a:lnTo>
                    <a:pt x="308" y="122"/>
                  </a:lnTo>
                  <a:lnTo>
                    <a:pt x="302" y="138"/>
                  </a:lnTo>
                  <a:lnTo>
                    <a:pt x="302" y="205"/>
                  </a:lnTo>
                  <a:lnTo>
                    <a:pt x="323" y="227"/>
                  </a:lnTo>
                  <a:lnTo>
                    <a:pt x="323" y="238"/>
                  </a:lnTo>
                  <a:lnTo>
                    <a:pt x="290" y="243"/>
                  </a:lnTo>
                  <a:lnTo>
                    <a:pt x="280" y="275"/>
                  </a:lnTo>
                  <a:lnTo>
                    <a:pt x="295" y="278"/>
                  </a:lnTo>
                  <a:lnTo>
                    <a:pt x="287" y="308"/>
                  </a:lnTo>
                  <a:lnTo>
                    <a:pt x="307" y="318"/>
                  </a:lnTo>
                  <a:lnTo>
                    <a:pt x="313" y="312"/>
                  </a:lnTo>
                  <a:lnTo>
                    <a:pt x="315" y="342"/>
                  </a:lnTo>
                  <a:lnTo>
                    <a:pt x="300" y="342"/>
                  </a:lnTo>
                  <a:lnTo>
                    <a:pt x="260" y="312"/>
                  </a:lnTo>
                  <a:lnTo>
                    <a:pt x="262" y="318"/>
                  </a:lnTo>
                  <a:lnTo>
                    <a:pt x="248" y="318"/>
                  </a:lnTo>
                  <a:lnTo>
                    <a:pt x="225" y="302"/>
                  </a:lnTo>
                  <a:lnTo>
                    <a:pt x="210" y="303"/>
                  </a:lnTo>
                  <a:lnTo>
                    <a:pt x="210" y="295"/>
                  </a:lnTo>
                  <a:lnTo>
                    <a:pt x="175" y="298"/>
                  </a:lnTo>
                  <a:lnTo>
                    <a:pt x="160" y="230"/>
                  </a:lnTo>
                  <a:lnTo>
                    <a:pt x="151" y="232"/>
                  </a:lnTo>
                  <a:lnTo>
                    <a:pt x="148" y="220"/>
                  </a:lnTo>
                  <a:lnTo>
                    <a:pt x="131" y="222"/>
                  </a:lnTo>
                  <a:lnTo>
                    <a:pt x="130" y="240"/>
                  </a:lnTo>
                  <a:lnTo>
                    <a:pt x="91" y="243"/>
                  </a:lnTo>
                  <a:lnTo>
                    <a:pt x="91" y="235"/>
                  </a:lnTo>
                  <a:lnTo>
                    <a:pt x="83" y="235"/>
                  </a:lnTo>
                  <a:lnTo>
                    <a:pt x="73" y="202"/>
                  </a:lnTo>
                  <a:lnTo>
                    <a:pt x="0" y="21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3" name="Freeform 250"/>
            <p:cNvSpPr>
              <a:spLocks/>
            </p:cNvSpPr>
            <p:nvPr/>
          </p:nvSpPr>
          <p:spPr bwMode="auto">
            <a:xfrm>
              <a:off x="3041" y="2863"/>
              <a:ext cx="81" cy="86"/>
            </a:xfrm>
            <a:custGeom>
              <a:avLst/>
              <a:gdLst>
                <a:gd name="T0" fmla="*/ 42 w 92"/>
                <a:gd name="T1" fmla="*/ 0 h 101"/>
                <a:gd name="T2" fmla="*/ 48 w 92"/>
                <a:gd name="T3" fmla="*/ 20 h 101"/>
                <a:gd name="T4" fmla="*/ 41 w 92"/>
                <a:gd name="T5" fmla="*/ 29 h 101"/>
                <a:gd name="T6" fmla="*/ 37 w 92"/>
                <a:gd name="T7" fmla="*/ 32 h 101"/>
                <a:gd name="T8" fmla="*/ 36 w 92"/>
                <a:gd name="T9" fmla="*/ 41 h 101"/>
                <a:gd name="T10" fmla="*/ 0 w 92"/>
                <a:gd name="T11" fmla="*/ 45 h 101"/>
                <a:gd name="T12" fmla="*/ 4 w 92"/>
                <a:gd name="T13" fmla="*/ 28 h 101"/>
                <a:gd name="T14" fmla="*/ 14 w 92"/>
                <a:gd name="T15" fmla="*/ 20 h 101"/>
                <a:gd name="T16" fmla="*/ 11 w 92"/>
                <a:gd name="T17" fmla="*/ 14 h 101"/>
                <a:gd name="T18" fmla="*/ 10 w 92"/>
                <a:gd name="T19" fmla="*/ 8 h 101"/>
                <a:gd name="T20" fmla="*/ 30 w 92"/>
                <a:gd name="T21" fmla="*/ 5 h 101"/>
                <a:gd name="T22" fmla="*/ 42 w 92"/>
                <a:gd name="T23" fmla="*/ 0 h 101"/>
                <a:gd name="T24" fmla="*/ 42 w 92"/>
                <a:gd name="T25" fmla="*/ 0 h 10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2" h="101">
                  <a:moveTo>
                    <a:pt x="78" y="0"/>
                  </a:moveTo>
                  <a:lnTo>
                    <a:pt x="92" y="45"/>
                  </a:lnTo>
                  <a:lnTo>
                    <a:pt x="77" y="65"/>
                  </a:lnTo>
                  <a:lnTo>
                    <a:pt x="72" y="70"/>
                  </a:lnTo>
                  <a:lnTo>
                    <a:pt x="68" y="91"/>
                  </a:lnTo>
                  <a:lnTo>
                    <a:pt x="0" y="101"/>
                  </a:lnTo>
                  <a:lnTo>
                    <a:pt x="7" y="63"/>
                  </a:lnTo>
                  <a:lnTo>
                    <a:pt x="27" y="45"/>
                  </a:lnTo>
                  <a:lnTo>
                    <a:pt x="20" y="33"/>
                  </a:lnTo>
                  <a:lnTo>
                    <a:pt x="18" y="16"/>
                  </a:lnTo>
                  <a:lnTo>
                    <a:pt x="57" y="11"/>
                  </a:lnTo>
                  <a:lnTo>
                    <a:pt x="7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4" name="Freeform 251"/>
            <p:cNvSpPr>
              <a:spLocks/>
            </p:cNvSpPr>
            <p:nvPr/>
          </p:nvSpPr>
          <p:spPr bwMode="auto">
            <a:xfrm>
              <a:off x="3041" y="2863"/>
              <a:ext cx="81" cy="86"/>
            </a:xfrm>
            <a:custGeom>
              <a:avLst/>
              <a:gdLst>
                <a:gd name="T0" fmla="*/ 42 w 92"/>
                <a:gd name="T1" fmla="*/ 0 h 101"/>
                <a:gd name="T2" fmla="*/ 48 w 92"/>
                <a:gd name="T3" fmla="*/ 20 h 101"/>
                <a:gd name="T4" fmla="*/ 41 w 92"/>
                <a:gd name="T5" fmla="*/ 29 h 101"/>
                <a:gd name="T6" fmla="*/ 37 w 92"/>
                <a:gd name="T7" fmla="*/ 32 h 101"/>
                <a:gd name="T8" fmla="*/ 36 w 92"/>
                <a:gd name="T9" fmla="*/ 41 h 101"/>
                <a:gd name="T10" fmla="*/ 0 w 92"/>
                <a:gd name="T11" fmla="*/ 45 h 101"/>
                <a:gd name="T12" fmla="*/ 4 w 92"/>
                <a:gd name="T13" fmla="*/ 28 h 101"/>
                <a:gd name="T14" fmla="*/ 14 w 92"/>
                <a:gd name="T15" fmla="*/ 20 h 101"/>
                <a:gd name="T16" fmla="*/ 11 w 92"/>
                <a:gd name="T17" fmla="*/ 14 h 101"/>
                <a:gd name="T18" fmla="*/ 10 w 92"/>
                <a:gd name="T19" fmla="*/ 8 h 101"/>
                <a:gd name="T20" fmla="*/ 30 w 92"/>
                <a:gd name="T21" fmla="*/ 5 h 101"/>
                <a:gd name="T22" fmla="*/ 42 w 92"/>
                <a:gd name="T23" fmla="*/ 0 h 101"/>
                <a:gd name="T24" fmla="*/ 42 w 92"/>
                <a:gd name="T25" fmla="*/ 0 h 10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2" h="101">
                  <a:moveTo>
                    <a:pt x="78" y="0"/>
                  </a:moveTo>
                  <a:lnTo>
                    <a:pt x="92" y="45"/>
                  </a:lnTo>
                  <a:lnTo>
                    <a:pt x="77" y="65"/>
                  </a:lnTo>
                  <a:lnTo>
                    <a:pt x="72" y="70"/>
                  </a:lnTo>
                  <a:lnTo>
                    <a:pt x="68" y="91"/>
                  </a:lnTo>
                  <a:lnTo>
                    <a:pt x="0" y="101"/>
                  </a:lnTo>
                  <a:lnTo>
                    <a:pt x="7" y="63"/>
                  </a:lnTo>
                  <a:lnTo>
                    <a:pt x="27" y="45"/>
                  </a:lnTo>
                  <a:lnTo>
                    <a:pt x="20" y="33"/>
                  </a:lnTo>
                  <a:lnTo>
                    <a:pt x="18" y="16"/>
                  </a:lnTo>
                  <a:lnTo>
                    <a:pt x="57" y="11"/>
                  </a:lnTo>
                  <a:lnTo>
                    <a:pt x="7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5" name="Freeform 252"/>
            <p:cNvSpPr>
              <a:spLocks/>
            </p:cNvSpPr>
            <p:nvPr/>
          </p:nvSpPr>
          <p:spPr bwMode="auto">
            <a:xfrm>
              <a:off x="3102" y="2856"/>
              <a:ext cx="118" cy="141"/>
            </a:xfrm>
            <a:custGeom>
              <a:avLst/>
              <a:gdLst>
                <a:gd name="T0" fmla="*/ 0 w 137"/>
                <a:gd name="T1" fmla="*/ 39 h 170"/>
                <a:gd name="T2" fmla="*/ 19 w 137"/>
                <a:gd name="T3" fmla="*/ 46 h 170"/>
                <a:gd name="T4" fmla="*/ 29 w 137"/>
                <a:gd name="T5" fmla="*/ 56 h 170"/>
                <a:gd name="T6" fmla="*/ 38 w 137"/>
                <a:gd name="T7" fmla="*/ 59 h 170"/>
                <a:gd name="T8" fmla="*/ 44 w 137"/>
                <a:gd name="T9" fmla="*/ 66 h 170"/>
                <a:gd name="T10" fmla="*/ 50 w 137"/>
                <a:gd name="T11" fmla="*/ 66 h 170"/>
                <a:gd name="T12" fmla="*/ 65 w 137"/>
                <a:gd name="T13" fmla="*/ 42 h 170"/>
                <a:gd name="T14" fmla="*/ 59 w 137"/>
                <a:gd name="T15" fmla="*/ 34 h 170"/>
                <a:gd name="T16" fmla="*/ 64 w 137"/>
                <a:gd name="T17" fmla="*/ 6 h 170"/>
                <a:gd name="T18" fmla="*/ 54 w 137"/>
                <a:gd name="T19" fmla="*/ 3 h 170"/>
                <a:gd name="T20" fmla="*/ 47 w 137"/>
                <a:gd name="T21" fmla="*/ 10 h 170"/>
                <a:gd name="T22" fmla="*/ 40 w 137"/>
                <a:gd name="T23" fmla="*/ 8 h 170"/>
                <a:gd name="T24" fmla="*/ 28 w 137"/>
                <a:gd name="T25" fmla="*/ 0 h 170"/>
                <a:gd name="T26" fmla="*/ 9 w 137"/>
                <a:gd name="T27" fmla="*/ 2 h 170"/>
                <a:gd name="T28" fmla="*/ 6 w 137"/>
                <a:gd name="T29" fmla="*/ 3 h 170"/>
                <a:gd name="T30" fmla="*/ 12 w 137"/>
                <a:gd name="T31" fmla="*/ 22 h 170"/>
                <a:gd name="T32" fmla="*/ 5 w 137"/>
                <a:gd name="T33" fmla="*/ 28 h 170"/>
                <a:gd name="T34" fmla="*/ 3 w 137"/>
                <a:gd name="T35" fmla="*/ 30 h 170"/>
                <a:gd name="T36" fmla="*/ 0 w 137"/>
                <a:gd name="T37" fmla="*/ 39 h 170"/>
                <a:gd name="T38" fmla="*/ 0 w 137"/>
                <a:gd name="T39" fmla="*/ 39 h 17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37" h="170">
                  <a:moveTo>
                    <a:pt x="0" y="100"/>
                  </a:moveTo>
                  <a:lnTo>
                    <a:pt x="39" y="117"/>
                  </a:lnTo>
                  <a:lnTo>
                    <a:pt x="64" y="142"/>
                  </a:lnTo>
                  <a:lnTo>
                    <a:pt x="80" y="149"/>
                  </a:lnTo>
                  <a:lnTo>
                    <a:pt x="92" y="167"/>
                  </a:lnTo>
                  <a:lnTo>
                    <a:pt x="104" y="170"/>
                  </a:lnTo>
                  <a:lnTo>
                    <a:pt x="137" y="110"/>
                  </a:lnTo>
                  <a:lnTo>
                    <a:pt x="125" y="85"/>
                  </a:lnTo>
                  <a:lnTo>
                    <a:pt x="135" y="15"/>
                  </a:lnTo>
                  <a:lnTo>
                    <a:pt x="115" y="9"/>
                  </a:lnTo>
                  <a:lnTo>
                    <a:pt x="100" y="25"/>
                  </a:lnTo>
                  <a:lnTo>
                    <a:pt x="82" y="22"/>
                  </a:lnTo>
                  <a:lnTo>
                    <a:pt x="59" y="0"/>
                  </a:lnTo>
                  <a:lnTo>
                    <a:pt x="20" y="4"/>
                  </a:lnTo>
                  <a:lnTo>
                    <a:pt x="12" y="9"/>
                  </a:lnTo>
                  <a:lnTo>
                    <a:pt x="24" y="54"/>
                  </a:lnTo>
                  <a:lnTo>
                    <a:pt x="10" y="72"/>
                  </a:lnTo>
                  <a:lnTo>
                    <a:pt x="4" y="77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6" name="Freeform 253"/>
            <p:cNvSpPr>
              <a:spLocks/>
            </p:cNvSpPr>
            <p:nvPr/>
          </p:nvSpPr>
          <p:spPr bwMode="auto">
            <a:xfrm>
              <a:off x="3102" y="2856"/>
              <a:ext cx="118" cy="141"/>
            </a:xfrm>
            <a:custGeom>
              <a:avLst/>
              <a:gdLst>
                <a:gd name="T0" fmla="*/ 0 w 137"/>
                <a:gd name="T1" fmla="*/ 39 h 170"/>
                <a:gd name="T2" fmla="*/ 19 w 137"/>
                <a:gd name="T3" fmla="*/ 46 h 170"/>
                <a:gd name="T4" fmla="*/ 29 w 137"/>
                <a:gd name="T5" fmla="*/ 56 h 170"/>
                <a:gd name="T6" fmla="*/ 38 w 137"/>
                <a:gd name="T7" fmla="*/ 59 h 170"/>
                <a:gd name="T8" fmla="*/ 44 w 137"/>
                <a:gd name="T9" fmla="*/ 66 h 170"/>
                <a:gd name="T10" fmla="*/ 50 w 137"/>
                <a:gd name="T11" fmla="*/ 66 h 170"/>
                <a:gd name="T12" fmla="*/ 65 w 137"/>
                <a:gd name="T13" fmla="*/ 42 h 170"/>
                <a:gd name="T14" fmla="*/ 59 w 137"/>
                <a:gd name="T15" fmla="*/ 34 h 170"/>
                <a:gd name="T16" fmla="*/ 64 w 137"/>
                <a:gd name="T17" fmla="*/ 6 h 170"/>
                <a:gd name="T18" fmla="*/ 54 w 137"/>
                <a:gd name="T19" fmla="*/ 3 h 170"/>
                <a:gd name="T20" fmla="*/ 47 w 137"/>
                <a:gd name="T21" fmla="*/ 10 h 170"/>
                <a:gd name="T22" fmla="*/ 40 w 137"/>
                <a:gd name="T23" fmla="*/ 8 h 170"/>
                <a:gd name="T24" fmla="*/ 28 w 137"/>
                <a:gd name="T25" fmla="*/ 0 h 170"/>
                <a:gd name="T26" fmla="*/ 9 w 137"/>
                <a:gd name="T27" fmla="*/ 2 h 170"/>
                <a:gd name="T28" fmla="*/ 6 w 137"/>
                <a:gd name="T29" fmla="*/ 3 h 170"/>
                <a:gd name="T30" fmla="*/ 12 w 137"/>
                <a:gd name="T31" fmla="*/ 22 h 170"/>
                <a:gd name="T32" fmla="*/ 5 w 137"/>
                <a:gd name="T33" fmla="*/ 28 h 170"/>
                <a:gd name="T34" fmla="*/ 3 w 137"/>
                <a:gd name="T35" fmla="*/ 30 h 170"/>
                <a:gd name="T36" fmla="*/ 0 w 137"/>
                <a:gd name="T37" fmla="*/ 39 h 170"/>
                <a:gd name="T38" fmla="*/ 0 w 137"/>
                <a:gd name="T39" fmla="*/ 39 h 17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37" h="170">
                  <a:moveTo>
                    <a:pt x="0" y="100"/>
                  </a:moveTo>
                  <a:lnTo>
                    <a:pt x="39" y="117"/>
                  </a:lnTo>
                  <a:lnTo>
                    <a:pt x="64" y="142"/>
                  </a:lnTo>
                  <a:lnTo>
                    <a:pt x="80" y="149"/>
                  </a:lnTo>
                  <a:lnTo>
                    <a:pt x="92" y="167"/>
                  </a:lnTo>
                  <a:lnTo>
                    <a:pt x="104" y="170"/>
                  </a:lnTo>
                  <a:lnTo>
                    <a:pt x="137" y="110"/>
                  </a:lnTo>
                  <a:lnTo>
                    <a:pt x="125" y="85"/>
                  </a:lnTo>
                  <a:lnTo>
                    <a:pt x="135" y="15"/>
                  </a:lnTo>
                  <a:lnTo>
                    <a:pt x="115" y="9"/>
                  </a:lnTo>
                  <a:lnTo>
                    <a:pt x="100" y="25"/>
                  </a:lnTo>
                  <a:lnTo>
                    <a:pt x="82" y="22"/>
                  </a:lnTo>
                  <a:lnTo>
                    <a:pt x="59" y="0"/>
                  </a:lnTo>
                  <a:lnTo>
                    <a:pt x="20" y="4"/>
                  </a:lnTo>
                  <a:lnTo>
                    <a:pt x="12" y="9"/>
                  </a:lnTo>
                  <a:lnTo>
                    <a:pt x="24" y="54"/>
                  </a:lnTo>
                  <a:lnTo>
                    <a:pt x="10" y="72"/>
                  </a:lnTo>
                  <a:lnTo>
                    <a:pt x="4" y="77"/>
                  </a:lnTo>
                  <a:lnTo>
                    <a:pt x="0" y="10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7" name="Freeform 254"/>
            <p:cNvSpPr>
              <a:spLocks/>
            </p:cNvSpPr>
            <p:nvPr/>
          </p:nvSpPr>
          <p:spPr bwMode="auto">
            <a:xfrm>
              <a:off x="3036" y="2940"/>
              <a:ext cx="169" cy="169"/>
            </a:xfrm>
            <a:custGeom>
              <a:avLst/>
              <a:gdLst>
                <a:gd name="T0" fmla="*/ 16 w 195"/>
                <a:gd name="T1" fmla="*/ 3 h 202"/>
                <a:gd name="T2" fmla="*/ 12 w 195"/>
                <a:gd name="T3" fmla="*/ 13 h 202"/>
                <a:gd name="T4" fmla="*/ 17 w 195"/>
                <a:gd name="T5" fmla="*/ 19 h 202"/>
                <a:gd name="T6" fmla="*/ 0 w 195"/>
                <a:gd name="T7" fmla="*/ 34 h 202"/>
                <a:gd name="T8" fmla="*/ 0 w 195"/>
                <a:gd name="T9" fmla="*/ 40 h 202"/>
                <a:gd name="T10" fmla="*/ 10 w 195"/>
                <a:gd name="T11" fmla="*/ 49 h 202"/>
                <a:gd name="T12" fmla="*/ 10 w 195"/>
                <a:gd name="T13" fmla="*/ 54 h 202"/>
                <a:gd name="T14" fmla="*/ 33 w 195"/>
                <a:gd name="T15" fmla="*/ 63 h 202"/>
                <a:gd name="T16" fmla="*/ 42 w 195"/>
                <a:gd name="T17" fmla="*/ 83 h 202"/>
                <a:gd name="T18" fmla="*/ 48 w 195"/>
                <a:gd name="T19" fmla="*/ 79 h 202"/>
                <a:gd name="T20" fmla="*/ 68 w 195"/>
                <a:gd name="T21" fmla="*/ 80 h 202"/>
                <a:gd name="T22" fmla="*/ 71 w 195"/>
                <a:gd name="T23" fmla="*/ 76 h 202"/>
                <a:gd name="T24" fmla="*/ 95 w 195"/>
                <a:gd name="T25" fmla="*/ 74 h 202"/>
                <a:gd name="T26" fmla="*/ 91 w 195"/>
                <a:gd name="T27" fmla="*/ 66 h 202"/>
                <a:gd name="T28" fmla="*/ 90 w 195"/>
                <a:gd name="T29" fmla="*/ 44 h 202"/>
                <a:gd name="T30" fmla="*/ 87 w 195"/>
                <a:gd name="T31" fmla="*/ 41 h 202"/>
                <a:gd name="T32" fmla="*/ 88 w 195"/>
                <a:gd name="T33" fmla="*/ 28 h 202"/>
                <a:gd name="T34" fmla="*/ 82 w 195"/>
                <a:gd name="T35" fmla="*/ 28 h 202"/>
                <a:gd name="T36" fmla="*/ 76 w 195"/>
                <a:gd name="T37" fmla="*/ 19 h 202"/>
                <a:gd name="T38" fmla="*/ 68 w 195"/>
                <a:gd name="T39" fmla="*/ 18 h 202"/>
                <a:gd name="T40" fmla="*/ 56 w 195"/>
                <a:gd name="T41" fmla="*/ 7 h 202"/>
                <a:gd name="T42" fmla="*/ 36 w 195"/>
                <a:gd name="T43" fmla="*/ 0 h 202"/>
                <a:gd name="T44" fmla="*/ 16 w 195"/>
                <a:gd name="T45" fmla="*/ 3 h 202"/>
                <a:gd name="T46" fmla="*/ 16 w 195"/>
                <a:gd name="T47" fmla="*/ 3 h 20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95" h="202">
                  <a:moveTo>
                    <a:pt x="33" y="7"/>
                  </a:moveTo>
                  <a:lnTo>
                    <a:pt x="25" y="30"/>
                  </a:lnTo>
                  <a:lnTo>
                    <a:pt x="35" y="45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21" y="119"/>
                  </a:lnTo>
                  <a:lnTo>
                    <a:pt x="21" y="130"/>
                  </a:lnTo>
                  <a:lnTo>
                    <a:pt x="68" y="154"/>
                  </a:lnTo>
                  <a:lnTo>
                    <a:pt x="86" y="202"/>
                  </a:lnTo>
                  <a:lnTo>
                    <a:pt x="98" y="194"/>
                  </a:lnTo>
                  <a:lnTo>
                    <a:pt x="140" y="197"/>
                  </a:lnTo>
                  <a:lnTo>
                    <a:pt x="146" y="185"/>
                  </a:lnTo>
                  <a:lnTo>
                    <a:pt x="195" y="182"/>
                  </a:lnTo>
                  <a:lnTo>
                    <a:pt x="186" y="160"/>
                  </a:lnTo>
                  <a:lnTo>
                    <a:pt x="185" y="107"/>
                  </a:lnTo>
                  <a:lnTo>
                    <a:pt x="178" y="99"/>
                  </a:lnTo>
                  <a:lnTo>
                    <a:pt x="180" y="69"/>
                  </a:lnTo>
                  <a:lnTo>
                    <a:pt x="168" y="67"/>
                  </a:lnTo>
                  <a:lnTo>
                    <a:pt x="156" y="49"/>
                  </a:lnTo>
                  <a:lnTo>
                    <a:pt x="140" y="44"/>
                  </a:lnTo>
                  <a:lnTo>
                    <a:pt x="115" y="17"/>
                  </a:lnTo>
                  <a:lnTo>
                    <a:pt x="76" y="0"/>
                  </a:lnTo>
                  <a:lnTo>
                    <a:pt x="33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8" name="Freeform 255"/>
            <p:cNvSpPr>
              <a:spLocks/>
            </p:cNvSpPr>
            <p:nvPr/>
          </p:nvSpPr>
          <p:spPr bwMode="auto">
            <a:xfrm>
              <a:off x="3036" y="2940"/>
              <a:ext cx="169" cy="169"/>
            </a:xfrm>
            <a:custGeom>
              <a:avLst/>
              <a:gdLst>
                <a:gd name="T0" fmla="*/ 16 w 195"/>
                <a:gd name="T1" fmla="*/ 3 h 202"/>
                <a:gd name="T2" fmla="*/ 12 w 195"/>
                <a:gd name="T3" fmla="*/ 13 h 202"/>
                <a:gd name="T4" fmla="*/ 17 w 195"/>
                <a:gd name="T5" fmla="*/ 19 h 202"/>
                <a:gd name="T6" fmla="*/ 0 w 195"/>
                <a:gd name="T7" fmla="*/ 34 h 202"/>
                <a:gd name="T8" fmla="*/ 0 w 195"/>
                <a:gd name="T9" fmla="*/ 40 h 202"/>
                <a:gd name="T10" fmla="*/ 10 w 195"/>
                <a:gd name="T11" fmla="*/ 49 h 202"/>
                <a:gd name="T12" fmla="*/ 10 w 195"/>
                <a:gd name="T13" fmla="*/ 54 h 202"/>
                <a:gd name="T14" fmla="*/ 33 w 195"/>
                <a:gd name="T15" fmla="*/ 63 h 202"/>
                <a:gd name="T16" fmla="*/ 42 w 195"/>
                <a:gd name="T17" fmla="*/ 83 h 202"/>
                <a:gd name="T18" fmla="*/ 48 w 195"/>
                <a:gd name="T19" fmla="*/ 79 h 202"/>
                <a:gd name="T20" fmla="*/ 68 w 195"/>
                <a:gd name="T21" fmla="*/ 80 h 202"/>
                <a:gd name="T22" fmla="*/ 71 w 195"/>
                <a:gd name="T23" fmla="*/ 76 h 202"/>
                <a:gd name="T24" fmla="*/ 95 w 195"/>
                <a:gd name="T25" fmla="*/ 74 h 202"/>
                <a:gd name="T26" fmla="*/ 91 w 195"/>
                <a:gd name="T27" fmla="*/ 66 h 202"/>
                <a:gd name="T28" fmla="*/ 90 w 195"/>
                <a:gd name="T29" fmla="*/ 44 h 202"/>
                <a:gd name="T30" fmla="*/ 87 w 195"/>
                <a:gd name="T31" fmla="*/ 41 h 202"/>
                <a:gd name="T32" fmla="*/ 88 w 195"/>
                <a:gd name="T33" fmla="*/ 28 h 202"/>
                <a:gd name="T34" fmla="*/ 82 w 195"/>
                <a:gd name="T35" fmla="*/ 28 h 202"/>
                <a:gd name="T36" fmla="*/ 76 w 195"/>
                <a:gd name="T37" fmla="*/ 19 h 202"/>
                <a:gd name="T38" fmla="*/ 68 w 195"/>
                <a:gd name="T39" fmla="*/ 18 h 202"/>
                <a:gd name="T40" fmla="*/ 56 w 195"/>
                <a:gd name="T41" fmla="*/ 7 h 202"/>
                <a:gd name="T42" fmla="*/ 36 w 195"/>
                <a:gd name="T43" fmla="*/ 0 h 202"/>
                <a:gd name="T44" fmla="*/ 16 w 195"/>
                <a:gd name="T45" fmla="*/ 3 h 202"/>
                <a:gd name="T46" fmla="*/ 16 w 195"/>
                <a:gd name="T47" fmla="*/ 3 h 20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95" h="202">
                  <a:moveTo>
                    <a:pt x="33" y="7"/>
                  </a:moveTo>
                  <a:lnTo>
                    <a:pt x="25" y="30"/>
                  </a:lnTo>
                  <a:lnTo>
                    <a:pt x="35" y="45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21" y="119"/>
                  </a:lnTo>
                  <a:lnTo>
                    <a:pt x="21" y="130"/>
                  </a:lnTo>
                  <a:lnTo>
                    <a:pt x="68" y="154"/>
                  </a:lnTo>
                  <a:lnTo>
                    <a:pt x="86" y="202"/>
                  </a:lnTo>
                  <a:lnTo>
                    <a:pt x="98" y="194"/>
                  </a:lnTo>
                  <a:lnTo>
                    <a:pt x="140" y="197"/>
                  </a:lnTo>
                  <a:lnTo>
                    <a:pt x="146" y="185"/>
                  </a:lnTo>
                  <a:lnTo>
                    <a:pt x="195" y="182"/>
                  </a:lnTo>
                  <a:lnTo>
                    <a:pt x="186" y="160"/>
                  </a:lnTo>
                  <a:lnTo>
                    <a:pt x="185" y="107"/>
                  </a:lnTo>
                  <a:lnTo>
                    <a:pt x="178" y="99"/>
                  </a:lnTo>
                  <a:lnTo>
                    <a:pt x="180" y="69"/>
                  </a:lnTo>
                  <a:lnTo>
                    <a:pt x="168" y="67"/>
                  </a:lnTo>
                  <a:lnTo>
                    <a:pt x="156" y="49"/>
                  </a:lnTo>
                  <a:lnTo>
                    <a:pt x="140" y="44"/>
                  </a:lnTo>
                  <a:lnTo>
                    <a:pt x="115" y="17"/>
                  </a:lnTo>
                  <a:lnTo>
                    <a:pt x="76" y="0"/>
                  </a:lnTo>
                  <a:lnTo>
                    <a:pt x="33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9" name="Freeform 256"/>
            <p:cNvSpPr>
              <a:spLocks/>
            </p:cNvSpPr>
            <p:nvPr/>
          </p:nvSpPr>
          <p:spPr bwMode="auto">
            <a:xfrm>
              <a:off x="3036" y="2970"/>
              <a:ext cx="29" cy="43"/>
            </a:xfrm>
            <a:custGeom>
              <a:avLst/>
              <a:gdLst>
                <a:gd name="T0" fmla="*/ 0 w 35"/>
                <a:gd name="T1" fmla="*/ 24 h 50"/>
                <a:gd name="T2" fmla="*/ 14 w 35"/>
                <a:gd name="T3" fmla="*/ 3 h 50"/>
                <a:gd name="T4" fmla="*/ 12 w 35"/>
                <a:gd name="T5" fmla="*/ 3 h 50"/>
                <a:gd name="T6" fmla="*/ 7 w 35"/>
                <a:gd name="T7" fmla="*/ 0 h 50"/>
                <a:gd name="T8" fmla="*/ 0 w 35"/>
                <a:gd name="T9" fmla="*/ 3 h 50"/>
                <a:gd name="T10" fmla="*/ 0 w 35"/>
                <a:gd name="T11" fmla="*/ 24 h 50"/>
                <a:gd name="T12" fmla="*/ 0 w 35"/>
                <a:gd name="T13" fmla="*/ 24 h 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50">
                  <a:moveTo>
                    <a:pt x="0" y="50"/>
                  </a:moveTo>
                  <a:lnTo>
                    <a:pt x="35" y="8"/>
                  </a:lnTo>
                  <a:lnTo>
                    <a:pt x="31" y="3"/>
                  </a:lnTo>
                  <a:lnTo>
                    <a:pt x="18" y="0"/>
                  </a:lnTo>
                  <a:lnTo>
                    <a:pt x="0" y="8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0" name="Freeform 257"/>
            <p:cNvSpPr>
              <a:spLocks/>
            </p:cNvSpPr>
            <p:nvPr/>
          </p:nvSpPr>
          <p:spPr bwMode="auto">
            <a:xfrm>
              <a:off x="3036" y="2970"/>
              <a:ext cx="29" cy="43"/>
            </a:xfrm>
            <a:custGeom>
              <a:avLst/>
              <a:gdLst>
                <a:gd name="T0" fmla="*/ 0 w 35"/>
                <a:gd name="T1" fmla="*/ 24 h 50"/>
                <a:gd name="T2" fmla="*/ 14 w 35"/>
                <a:gd name="T3" fmla="*/ 3 h 50"/>
                <a:gd name="T4" fmla="*/ 12 w 35"/>
                <a:gd name="T5" fmla="*/ 3 h 50"/>
                <a:gd name="T6" fmla="*/ 7 w 35"/>
                <a:gd name="T7" fmla="*/ 0 h 50"/>
                <a:gd name="T8" fmla="*/ 0 w 35"/>
                <a:gd name="T9" fmla="*/ 3 h 50"/>
                <a:gd name="T10" fmla="*/ 0 w 35"/>
                <a:gd name="T11" fmla="*/ 24 h 50"/>
                <a:gd name="T12" fmla="*/ 0 w 35"/>
                <a:gd name="T13" fmla="*/ 24 h 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50">
                  <a:moveTo>
                    <a:pt x="0" y="50"/>
                  </a:moveTo>
                  <a:lnTo>
                    <a:pt x="35" y="8"/>
                  </a:lnTo>
                  <a:lnTo>
                    <a:pt x="31" y="3"/>
                  </a:lnTo>
                  <a:lnTo>
                    <a:pt x="18" y="0"/>
                  </a:lnTo>
                  <a:lnTo>
                    <a:pt x="0" y="8"/>
                  </a:lnTo>
                  <a:lnTo>
                    <a:pt x="0" y="5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1" name="Freeform 258"/>
            <p:cNvSpPr>
              <a:spLocks/>
            </p:cNvSpPr>
            <p:nvPr/>
          </p:nvSpPr>
          <p:spPr bwMode="auto">
            <a:xfrm>
              <a:off x="3036" y="2945"/>
              <a:ext cx="28" cy="32"/>
            </a:xfrm>
            <a:custGeom>
              <a:avLst/>
              <a:gdLst>
                <a:gd name="T0" fmla="*/ 0 w 33"/>
                <a:gd name="T1" fmla="*/ 9 h 38"/>
                <a:gd name="T2" fmla="*/ 0 w 33"/>
                <a:gd name="T3" fmla="*/ 16 h 38"/>
                <a:gd name="T4" fmla="*/ 8 w 33"/>
                <a:gd name="T5" fmla="*/ 13 h 38"/>
                <a:gd name="T6" fmla="*/ 14 w 33"/>
                <a:gd name="T7" fmla="*/ 14 h 38"/>
                <a:gd name="T8" fmla="*/ 11 w 33"/>
                <a:gd name="T9" fmla="*/ 9 h 38"/>
                <a:gd name="T10" fmla="*/ 14 w 33"/>
                <a:gd name="T11" fmla="*/ 0 h 38"/>
                <a:gd name="T12" fmla="*/ 3 w 33"/>
                <a:gd name="T13" fmla="*/ 3 h 38"/>
                <a:gd name="T14" fmla="*/ 0 w 33"/>
                <a:gd name="T15" fmla="*/ 9 h 38"/>
                <a:gd name="T16" fmla="*/ 0 w 33"/>
                <a:gd name="T17" fmla="*/ 9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8">
                  <a:moveTo>
                    <a:pt x="0" y="23"/>
                  </a:moveTo>
                  <a:lnTo>
                    <a:pt x="0" y="38"/>
                  </a:lnTo>
                  <a:lnTo>
                    <a:pt x="18" y="30"/>
                  </a:lnTo>
                  <a:lnTo>
                    <a:pt x="31" y="33"/>
                  </a:lnTo>
                  <a:lnTo>
                    <a:pt x="25" y="23"/>
                  </a:lnTo>
                  <a:lnTo>
                    <a:pt x="33" y="0"/>
                  </a:lnTo>
                  <a:lnTo>
                    <a:pt x="6" y="3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2" name="Freeform 259"/>
            <p:cNvSpPr>
              <a:spLocks/>
            </p:cNvSpPr>
            <p:nvPr/>
          </p:nvSpPr>
          <p:spPr bwMode="auto">
            <a:xfrm>
              <a:off x="3036" y="2945"/>
              <a:ext cx="28" cy="32"/>
            </a:xfrm>
            <a:custGeom>
              <a:avLst/>
              <a:gdLst>
                <a:gd name="T0" fmla="*/ 0 w 33"/>
                <a:gd name="T1" fmla="*/ 9 h 38"/>
                <a:gd name="T2" fmla="*/ 0 w 33"/>
                <a:gd name="T3" fmla="*/ 16 h 38"/>
                <a:gd name="T4" fmla="*/ 8 w 33"/>
                <a:gd name="T5" fmla="*/ 13 h 38"/>
                <a:gd name="T6" fmla="*/ 14 w 33"/>
                <a:gd name="T7" fmla="*/ 14 h 38"/>
                <a:gd name="T8" fmla="*/ 11 w 33"/>
                <a:gd name="T9" fmla="*/ 9 h 38"/>
                <a:gd name="T10" fmla="*/ 14 w 33"/>
                <a:gd name="T11" fmla="*/ 0 h 38"/>
                <a:gd name="T12" fmla="*/ 3 w 33"/>
                <a:gd name="T13" fmla="*/ 3 h 38"/>
                <a:gd name="T14" fmla="*/ 0 w 33"/>
                <a:gd name="T15" fmla="*/ 9 h 38"/>
                <a:gd name="T16" fmla="*/ 0 w 33"/>
                <a:gd name="T17" fmla="*/ 9 h 3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8">
                  <a:moveTo>
                    <a:pt x="0" y="23"/>
                  </a:moveTo>
                  <a:lnTo>
                    <a:pt x="0" y="38"/>
                  </a:lnTo>
                  <a:lnTo>
                    <a:pt x="18" y="30"/>
                  </a:lnTo>
                  <a:lnTo>
                    <a:pt x="31" y="33"/>
                  </a:lnTo>
                  <a:lnTo>
                    <a:pt x="25" y="23"/>
                  </a:lnTo>
                  <a:lnTo>
                    <a:pt x="33" y="0"/>
                  </a:lnTo>
                  <a:lnTo>
                    <a:pt x="6" y="3"/>
                  </a:lnTo>
                  <a:lnTo>
                    <a:pt x="0" y="2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3" name="Freeform 260"/>
            <p:cNvSpPr>
              <a:spLocks/>
            </p:cNvSpPr>
            <p:nvPr/>
          </p:nvSpPr>
          <p:spPr bwMode="auto">
            <a:xfrm>
              <a:off x="2771" y="3018"/>
              <a:ext cx="186" cy="195"/>
            </a:xfrm>
            <a:custGeom>
              <a:avLst/>
              <a:gdLst>
                <a:gd name="T0" fmla="*/ 3 w 216"/>
                <a:gd name="T1" fmla="*/ 4 h 233"/>
                <a:gd name="T2" fmla="*/ 12 w 216"/>
                <a:gd name="T3" fmla="*/ 18 h 233"/>
                <a:gd name="T4" fmla="*/ 7 w 216"/>
                <a:gd name="T5" fmla="*/ 27 h 233"/>
                <a:gd name="T6" fmla="*/ 9 w 216"/>
                <a:gd name="T7" fmla="*/ 37 h 233"/>
                <a:gd name="T8" fmla="*/ 15 w 216"/>
                <a:gd name="T9" fmla="*/ 39 h 233"/>
                <a:gd name="T10" fmla="*/ 14 w 216"/>
                <a:gd name="T11" fmla="*/ 49 h 233"/>
                <a:gd name="T12" fmla="*/ 3 w 216"/>
                <a:gd name="T13" fmla="*/ 63 h 233"/>
                <a:gd name="T14" fmla="*/ 0 w 216"/>
                <a:gd name="T15" fmla="*/ 77 h 233"/>
                <a:gd name="T16" fmla="*/ 0 w 216"/>
                <a:gd name="T17" fmla="*/ 92 h 233"/>
                <a:gd name="T18" fmla="*/ 12 w 216"/>
                <a:gd name="T19" fmla="*/ 85 h 233"/>
                <a:gd name="T20" fmla="*/ 19 w 216"/>
                <a:gd name="T21" fmla="*/ 92 h 233"/>
                <a:gd name="T22" fmla="*/ 55 w 216"/>
                <a:gd name="T23" fmla="*/ 86 h 233"/>
                <a:gd name="T24" fmla="*/ 77 w 216"/>
                <a:gd name="T25" fmla="*/ 95 h 233"/>
                <a:gd name="T26" fmla="*/ 94 w 216"/>
                <a:gd name="T27" fmla="*/ 92 h 233"/>
                <a:gd name="T28" fmla="*/ 84 w 216"/>
                <a:gd name="T29" fmla="*/ 85 h 233"/>
                <a:gd name="T30" fmla="*/ 84 w 216"/>
                <a:gd name="T31" fmla="*/ 56 h 233"/>
                <a:gd name="T32" fmla="*/ 97 w 216"/>
                <a:gd name="T33" fmla="*/ 54 h 233"/>
                <a:gd name="T34" fmla="*/ 96 w 216"/>
                <a:gd name="T35" fmla="*/ 47 h 233"/>
                <a:gd name="T36" fmla="*/ 102 w 216"/>
                <a:gd name="T37" fmla="*/ 47 h 233"/>
                <a:gd name="T38" fmla="*/ 102 w 216"/>
                <a:gd name="T39" fmla="*/ 38 h 233"/>
                <a:gd name="T40" fmla="*/ 85 w 216"/>
                <a:gd name="T41" fmla="*/ 39 h 233"/>
                <a:gd name="T42" fmla="*/ 78 w 216"/>
                <a:gd name="T43" fmla="*/ 11 h 233"/>
                <a:gd name="T44" fmla="*/ 73 w 216"/>
                <a:gd name="T45" fmla="*/ 13 h 233"/>
                <a:gd name="T46" fmla="*/ 72 w 216"/>
                <a:gd name="T47" fmla="*/ 8 h 233"/>
                <a:gd name="T48" fmla="*/ 65 w 216"/>
                <a:gd name="T49" fmla="*/ 8 h 233"/>
                <a:gd name="T50" fmla="*/ 64 w 216"/>
                <a:gd name="T51" fmla="*/ 16 h 233"/>
                <a:gd name="T52" fmla="*/ 46 w 216"/>
                <a:gd name="T53" fmla="*/ 16 h 233"/>
                <a:gd name="T54" fmla="*/ 46 w 216"/>
                <a:gd name="T55" fmla="*/ 13 h 233"/>
                <a:gd name="T56" fmla="*/ 41 w 216"/>
                <a:gd name="T57" fmla="*/ 13 h 233"/>
                <a:gd name="T58" fmla="*/ 37 w 216"/>
                <a:gd name="T59" fmla="*/ 0 h 233"/>
                <a:gd name="T60" fmla="*/ 3 w 216"/>
                <a:gd name="T61" fmla="*/ 4 h 233"/>
                <a:gd name="T62" fmla="*/ 3 w 216"/>
                <a:gd name="T63" fmla="*/ 4 h 2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16" h="233">
                  <a:moveTo>
                    <a:pt x="5" y="10"/>
                  </a:moveTo>
                  <a:lnTo>
                    <a:pt x="25" y="43"/>
                  </a:lnTo>
                  <a:lnTo>
                    <a:pt x="15" y="66"/>
                  </a:lnTo>
                  <a:lnTo>
                    <a:pt x="20" y="90"/>
                  </a:lnTo>
                  <a:lnTo>
                    <a:pt x="31" y="95"/>
                  </a:lnTo>
                  <a:lnTo>
                    <a:pt x="30" y="121"/>
                  </a:lnTo>
                  <a:lnTo>
                    <a:pt x="5" y="153"/>
                  </a:lnTo>
                  <a:lnTo>
                    <a:pt x="0" y="188"/>
                  </a:lnTo>
                  <a:lnTo>
                    <a:pt x="0" y="225"/>
                  </a:lnTo>
                  <a:lnTo>
                    <a:pt x="25" y="208"/>
                  </a:lnTo>
                  <a:lnTo>
                    <a:pt x="41" y="223"/>
                  </a:lnTo>
                  <a:lnTo>
                    <a:pt x="116" y="210"/>
                  </a:lnTo>
                  <a:lnTo>
                    <a:pt x="161" y="233"/>
                  </a:lnTo>
                  <a:lnTo>
                    <a:pt x="196" y="223"/>
                  </a:lnTo>
                  <a:lnTo>
                    <a:pt x="176" y="206"/>
                  </a:lnTo>
                  <a:lnTo>
                    <a:pt x="176" y="138"/>
                  </a:lnTo>
                  <a:lnTo>
                    <a:pt x="206" y="133"/>
                  </a:lnTo>
                  <a:lnTo>
                    <a:pt x="203" y="113"/>
                  </a:lnTo>
                  <a:lnTo>
                    <a:pt x="216" y="113"/>
                  </a:lnTo>
                  <a:lnTo>
                    <a:pt x="215" y="93"/>
                  </a:lnTo>
                  <a:lnTo>
                    <a:pt x="180" y="96"/>
                  </a:lnTo>
                  <a:lnTo>
                    <a:pt x="165" y="28"/>
                  </a:lnTo>
                  <a:lnTo>
                    <a:pt x="156" y="30"/>
                  </a:lnTo>
                  <a:lnTo>
                    <a:pt x="153" y="18"/>
                  </a:lnTo>
                  <a:lnTo>
                    <a:pt x="136" y="20"/>
                  </a:lnTo>
                  <a:lnTo>
                    <a:pt x="135" y="38"/>
                  </a:lnTo>
                  <a:lnTo>
                    <a:pt x="96" y="41"/>
                  </a:lnTo>
                  <a:lnTo>
                    <a:pt x="96" y="33"/>
                  </a:lnTo>
                  <a:lnTo>
                    <a:pt x="88" y="33"/>
                  </a:lnTo>
                  <a:lnTo>
                    <a:pt x="78" y="0"/>
                  </a:lnTo>
                  <a:lnTo>
                    <a:pt x="5" y="1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4" name="Freeform 261"/>
            <p:cNvSpPr>
              <a:spLocks/>
            </p:cNvSpPr>
            <p:nvPr/>
          </p:nvSpPr>
          <p:spPr bwMode="auto">
            <a:xfrm>
              <a:off x="2771" y="3018"/>
              <a:ext cx="186" cy="195"/>
            </a:xfrm>
            <a:custGeom>
              <a:avLst/>
              <a:gdLst>
                <a:gd name="T0" fmla="*/ 3 w 216"/>
                <a:gd name="T1" fmla="*/ 4 h 233"/>
                <a:gd name="T2" fmla="*/ 12 w 216"/>
                <a:gd name="T3" fmla="*/ 18 h 233"/>
                <a:gd name="T4" fmla="*/ 7 w 216"/>
                <a:gd name="T5" fmla="*/ 27 h 233"/>
                <a:gd name="T6" fmla="*/ 9 w 216"/>
                <a:gd name="T7" fmla="*/ 37 h 233"/>
                <a:gd name="T8" fmla="*/ 15 w 216"/>
                <a:gd name="T9" fmla="*/ 39 h 233"/>
                <a:gd name="T10" fmla="*/ 14 w 216"/>
                <a:gd name="T11" fmla="*/ 49 h 233"/>
                <a:gd name="T12" fmla="*/ 3 w 216"/>
                <a:gd name="T13" fmla="*/ 63 h 233"/>
                <a:gd name="T14" fmla="*/ 0 w 216"/>
                <a:gd name="T15" fmla="*/ 77 h 233"/>
                <a:gd name="T16" fmla="*/ 0 w 216"/>
                <a:gd name="T17" fmla="*/ 92 h 233"/>
                <a:gd name="T18" fmla="*/ 12 w 216"/>
                <a:gd name="T19" fmla="*/ 85 h 233"/>
                <a:gd name="T20" fmla="*/ 19 w 216"/>
                <a:gd name="T21" fmla="*/ 92 h 233"/>
                <a:gd name="T22" fmla="*/ 55 w 216"/>
                <a:gd name="T23" fmla="*/ 86 h 233"/>
                <a:gd name="T24" fmla="*/ 77 w 216"/>
                <a:gd name="T25" fmla="*/ 95 h 233"/>
                <a:gd name="T26" fmla="*/ 94 w 216"/>
                <a:gd name="T27" fmla="*/ 92 h 233"/>
                <a:gd name="T28" fmla="*/ 84 w 216"/>
                <a:gd name="T29" fmla="*/ 85 h 233"/>
                <a:gd name="T30" fmla="*/ 84 w 216"/>
                <a:gd name="T31" fmla="*/ 56 h 233"/>
                <a:gd name="T32" fmla="*/ 97 w 216"/>
                <a:gd name="T33" fmla="*/ 54 h 233"/>
                <a:gd name="T34" fmla="*/ 96 w 216"/>
                <a:gd name="T35" fmla="*/ 47 h 233"/>
                <a:gd name="T36" fmla="*/ 102 w 216"/>
                <a:gd name="T37" fmla="*/ 47 h 233"/>
                <a:gd name="T38" fmla="*/ 102 w 216"/>
                <a:gd name="T39" fmla="*/ 38 h 233"/>
                <a:gd name="T40" fmla="*/ 85 w 216"/>
                <a:gd name="T41" fmla="*/ 39 h 233"/>
                <a:gd name="T42" fmla="*/ 78 w 216"/>
                <a:gd name="T43" fmla="*/ 11 h 233"/>
                <a:gd name="T44" fmla="*/ 73 w 216"/>
                <a:gd name="T45" fmla="*/ 13 h 233"/>
                <a:gd name="T46" fmla="*/ 72 w 216"/>
                <a:gd name="T47" fmla="*/ 8 h 233"/>
                <a:gd name="T48" fmla="*/ 65 w 216"/>
                <a:gd name="T49" fmla="*/ 8 h 233"/>
                <a:gd name="T50" fmla="*/ 64 w 216"/>
                <a:gd name="T51" fmla="*/ 16 h 233"/>
                <a:gd name="T52" fmla="*/ 46 w 216"/>
                <a:gd name="T53" fmla="*/ 16 h 233"/>
                <a:gd name="T54" fmla="*/ 46 w 216"/>
                <a:gd name="T55" fmla="*/ 13 h 233"/>
                <a:gd name="T56" fmla="*/ 41 w 216"/>
                <a:gd name="T57" fmla="*/ 13 h 233"/>
                <a:gd name="T58" fmla="*/ 37 w 216"/>
                <a:gd name="T59" fmla="*/ 0 h 233"/>
                <a:gd name="T60" fmla="*/ 3 w 216"/>
                <a:gd name="T61" fmla="*/ 4 h 233"/>
                <a:gd name="T62" fmla="*/ 3 w 216"/>
                <a:gd name="T63" fmla="*/ 4 h 23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16" h="233">
                  <a:moveTo>
                    <a:pt x="5" y="10"/>
                  </a:moveTo>
                  <a:lnTo>
                    <a:pt x="25" y="43"/>
                  </a:lnTo>
                  <a:lnTo>
                    <a:pt x="15" y="66"/>
                  </a:lnTo>
                  <a:lnTo>
                    <a:pt x="20" y="90"/>
                  </a:lnTo>
                  <a:lnTo>
                    <a:pt x="31" y="95"/>
                  </a:lnTo>
                  <a:lnTo>
                    <a:pt x="30" y="121"/>
                  </a:lnTo>
                  <a:lnTo>
                    <a:pt x="5" y="153"/>
                  </a:lnTo>
                  <a:lnTo>
                    <a:pt x="0" y="188"/>
                  </a:lnTo>
                  <a:lnTo>
                    <a:pt x="0" y="225"/>
                  </a:lnTo>
                  <a:lnTo>
                    <a:pt x="25" y="208"/>
                  </a:lnTo>
                  <a:lnTo>
                    <a:pt x="41" y="223"/>
                  </a:lnTo>
                  <a:lnTo>
                    <a:pt x="116" y="210"/>
                  </a:lnTo>
                  <a:lnTo>
                    <a:pt x="161" y="233"/>
                  </a:lnTo>
                  <a:lnTo>
                    <a:pt x="196" y="223"/>
                  </a:lnTo>
                  <a:lnTo>
                    <a:pt x="176" y="206"/>
                  </a:lnTo>
                  <a:lnTo>
                    <a:pt x="176" y="138"/>
                  </a:lnTo>
                  <a:lnTo>
                    <a:pt x="206" y="133"/>
                  </a:lnTo>
                  <a:lnTo>
                    <a:pt x="203" y="113"/>
                  </a:lnTo>
                  <a:lnTo>
                    <a:pt x="216" y="113"/>
                  </a:lnTo>
                  <a:lnTo>
                    <a:pt x="215" y="93"/>
                  </a:lnTo>
                  <a:lnTo>
                    <a:pt x="180" y="96"/>
                  </a:lnTo>
                  <a:lnTo>
                    <a:pt x="165" y="28"/>
                  </a:lnTo>
                  <a:lnTo>
                    <a:pt x="156" y="30"/>
                  </a:lnTo>
                  <a:lnTo>
                    <a:pt x="153" y="18"/>
                  </a:lnTo>
                  <a:lnTo>
                    <a:pt x="136" y="20"/>
                  </a:lnTo>
                  <a:lnTo>
                    <a:pt x="135" y="38"/>
                  </a:lnTo>
                  <a:lnTo>
                    <a:pt x="96" y="41"/>
                  </a:lnTo>
                  <a:lnTo>
                    <a:pt x="96" y="33"/>
                  </a:lnTo>
                  <a:lnTo>
                    <a:pt x="88" y="33"/>
                  </a:lnTo>
                  <a:lnTo>
                    <a:pt x="78" y="0"/>
                  </a:lnTo>
                  <a:lnTo>
                    <a:pt x="5" y="1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5" name="Freeform 262"/>
            <p:cNvSpPr>
              <a:spLocks/>
            </p:cNvSpPr>
            <p:nvPr/>
          </p:nvSpPr>
          <p:spPr bwMode="auto">
            <a:xfrm>
              <a:off x="2923" y="3048"/>
              <a:ext cx="182" cy="158"/>
            </a:xfrm>
            <a:custGeom>
              <a:avLst/>
              <a:gdLst>
                <a:gd name="T0" fmla="*/ 100 w 211"/>
                <a:gd name="T1" fmla="*/ 23 h 189"/>
                <a:gd name="T2" fmla="*/ 94 w 211"/>
                <a:gd name="T3" fmla="*/ 33 h 189"/>
                <a:gd name="T4" fmla="*/ 89 w 211"/>
                <a:gd name="T5" fmla="*/ 36 h 189"/>
                <a:gd name="T6" fmla="*/ 89 w 211"/>
                <a:gd name="T7" fmla="*/ 46 h 189"/>
                <a:gd name="T8" fmla="*/ 67 w 211"/>
                <a:gd name="T9" fmla="*/ 54 h 189"/>
                <a:gd name="T10" fmla="*/ 72 w 211"/>
                <a:gd name="T11" fmla="*/ 59 h 189"/>
                <a:gd name="T12" fmla="*/ 63 w 211"/>
                <a:gd name="T13" fmla="*/ 59 h 189"/>
                <a:gd name="T14" fmla="*/ 45 w 211"/>
                <a:gd name="T15" fmla="*/ 77 h 189"/>
                <a:gd name="T16" fmla="*/ 29 w 211"/>
                <a:gd name="T17" fmla="*/ 77 h 189"/>
                <a:gd name="T18" fmla="*/ 21 w 211"/>
                <a:gd name="T19" fmla="*/ 73 h 189"/>
                <a:gd name="T20" fmla="*/ 9 w 211"/>
                <a:gd name="T21" fmla="*/ 76 h 189"/>
                <a:gd name="T22" fmla="*/ 0 w 211"/>
                <a:gd name="T23" fmla="*/ 69 h 189"/>
                <a:gd name="T24" fmla="*/ 0 w 211"/>
                <a:gd name="T25" fmla="*/ 41 h 189"/>
                <a:gd name="T26" fmla="*/ 14 w 211"/>
                <a:gd name="T27" fmla="*/ 38 h 189"/>
                <a:gd name="T28" fmla="*/ 13 w 211"/>
                <a:gd name="T29" fmla="*/ 32 h 189"/>
                <a:gd name="T30" fmla="*/ 19 w 211"/>
                <a:gd name="T31" fmla="*/ 32 h 189"/>
                <a:gd name="T32" fmla="*/ 19 w 211"/>
                <a:gd name="T33" fmla="*/ 27 h 189"/>
                <a:gd name="T34" fmla="*/ 26 w 211"/>
                <a:gd name="T35" fmla="*/ 27 h 189"/>
                <a:gd name="T36" fmla="*/ 36 w 211"/>
                <a:gd name="T37" fmla="*/ 33 h 189"/>
                <a:gd name="T38" fmla="*/ 43 w 211"/>
                <a:gd name="T39" fmla="*/ 33 h 189"/>
                <a:gd name="T40" fmla="*/ 42 w 211"/>
                <a:gd name="T41" fmla="*/ 30 h 189"/>
                <a:gd name="T42" fmla="*/ 62 w 211"/>
                <a:gd name="T43" fmla="*/ 43 h 189"/>
                <a:gd name="T44" fmla="*/ 68 w 211"/>
                <a:gd name="T45" fmla="*/ 43 h 189"/>
                <a:gd name="T46" fmla="*/ 67 w 211"/>
                <a:gd name="T47" fmla="*/ 30 h 189"/>
                <a:gd name="T48" fmla="*/ 65 w 211"/>
                <a:gd name="T49" fmla="*/ 33 h 189"/>
                <a:gd name="T50" fmla="*/ 55 w 211"/>
                <a:gd name="T51" fmla="*/ 28 h 189"/>
                <a:gd name="T52" fmla="*/ 59 w 211"/>
                <a:gd name="T53" fmla="*/ 16 h 189"/>
                <a:gd name="T54" fmla="*/ 52 w 211"/>
                <a:gd name="T55" fmla="*/ 15 h 189"/>
                <a:gd name="T56" fmla="*/ 57 w 211"/>
                <a:gd name="T57" fmla="*/ 3 h 189"/>
                <a:gd name="T58" fmla="*/ 72 w 211"/>
                <a:gd name="T59" fmla="*/ 0 h 189"/>
                <a:gd name="T60" fmla="*/ 95 w 211"/>
                <a:gd name="T61" fmla="*/ 10 h 189"/>
                <a:gd name="T62" fmla="*/ 100 w 211"/>
                <a:gd name="T63" fmla="*/ 23 h 189"/>
                <a:gd name="T64" fmla="*/ 100 w 211"/>
                <a:gd name="T65" fmla="*/ 23 h 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1" h="189">
                  <a:moveTo>
                    <a:pt x="211" y="55"/>
                  </a:moveTo>
                  <a:lnTo>
                    <a:pt x="196" y="80"/>
                  </a:lnTo>
                  <a:lnTo>
                    <a:pt x="186" y="89"/>
                  </a:lnTo>
                  <a:lnTo>
                    <a:pt x="186" y="112"/>
                  </a:lnTo>
                  <a:lnTo>
                    <a:pt x="142" y="130"/>
                  </a:lnTo>
                  <a:lnTo>
                    <a:pt x="151" y="145"/>
                  </a:lnTo>
                  <a:lnTo>
                    <a:pt x="132" y="145"/>
                  </a:lnTo>
                  <a:lnTo>
                    <a:pt x="94" y="189"/>
                  </a:lnTo>
                  <a:lnTo>
                    <a:pt x="60" y="189"/>
                  </a:lnTo>
                  <a:lnTo>
                    <a:pt x="44" y="179"/>
                  </a:lnTo>
                  <a:lnTo>
                    <a:pt x="20" y="187"/>
                  </a:lnTo>
                  <a:lnTo>
                    <a:pt x="0" y="170"/>
                  </a:lnTo>
                  <a:lnTo>
                    <a:pt x="0" y="102"/>
                  </a:lnTo>
                  <a:lnTo>
                    <a:pt x="29" y="95"/>
                  </a:lnTo>
                  <a:lnTo>
                    <a:pt x="27" y="77"/>
                  </a:lnTo>
                  <a:lnTo>
                    <a:pt x="40" y="77"/>
                  </a:lnTo>
                  <a:lnTo>
                    <a:pt x="39" y="65"/>
                  </a:lnTo>
                  <a:lnTo>
                    <a:pt x="55" y="64"/>
                  </a:lnTo>
                  <a:lnTo>
                    <a:pt x="77" y="82"/>
                  </a:lnTo>
                  <a:lnTo>
                    <a:pt x="91" y="80"/>
                  </a:lnTo>
                  <a:lnTo>
                    <a:pt x="89" y="74"/>
                  </a:lnTo>
                  <a:lnTo>
                    <a:pt x="131" y="104"/>
                  </a:lnTo>
                  <a:lnTo>
                    <a:pt x="144" y="104"/>
                  </a:lnTo>
                  <a:lnTo>
                    <a:pt x="142" y="74"/>
                  </a:lnTo>
                  <a:lnTo>
                    <a:pt x="136" y="80"/>
                  </a:lnTo>
                  <a:lnTo>
                    <a:pt x="116" y="70"/>
                  </a:lnTo>
                  <a:lnTo>
                    <a:pt x="124" y="40"/>
                  </a:lnTo>
                  <a:lnTo>
                    <a:pt x="109" y="37"/>
                  </a:lnTo>
                  <a:lnTo>
                    <a:pt x="119" y="5"/>
                  </a:lnTo>
                  <a:lnTo>
                    <a:pt x="152" y="0"/>
                  </a:lnTo>
                  <a:lnTo>
                    <a:pt x="199" y="24"/>
                  </a:lnTo>
                  <a:lnTo>
                    <a:pt x="211" y="5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6" name="Freeform 263"/>
            <p:cNvSpPr>
              <a:spLocks/>
            </p:cNvSpPr>
            <p:nvPr/>
          </p:nvSpPr>
          <p:spPr bwMode="auto">
            <a:xfrm>
              <a:off x="2923" y="3048"/>
              <a:ext cx="182" cy="158"/>
            </a:xfrm>
            <a:custGeom>
              <a:avLst/>
              <a:gdLst>
                <a:gd name="T0" fmla="*/ 100 w 211"/>
                <a:gd name="T1" fmla="*/ 23 h 189"/>
                <a:gd name="T2" fmla="*/ 94 w 211"/>
                <a:gd name="T3" fmla="*/ 33 h 189"/>
                <a:gd name="T4" fmla="*/ 89 w 211"/>
                <a:gd name="T5" fmla="*/ 36 h 189"/>
                <a:gd name="T6" fmla="*/ 89 w 211"/>
                <a:gd name="T7" fmla="*/ 46 h 189"/>
                <a:gd name="T8" fmla="*/ 67 w 211"/>
                <a:gd name="T9" fmla="*/ 54 h 189"/>
                <a:gd name="T10" fmla="*/ 72 w 211"/>
                <a:gd name="T11" fmla="*/ 59 h 189"/>
                <a:gd name="T12" fmla="*/ 63 w 211"/>
                <a:gd name="T13" fmla="*/ 59 h 189"/>
                <a:gd name="T14" fmla="*/ 45 w 211"/>
                <a:gd name="T15" fmla="*/ 77 h 189"/>
                <a:gd name="T16" fmla="*/ 29 w 211"/>
                <a:gd name="T17" fmla="*/ 77 h 189"/>
                <a:gd name="T18" fmla="*/ 21 w 211"/>
                <a:gd name="T19" fmla="*/ 73 h 189"/>
                <a:gd name="T20" fmla="*/ 9 w 211"/>
                <a:gd name="T21" fmla="*/ 76 h 189"/>
                <a:gd name="T22" fmla="*/ 0 w 211"/>
                <a:gd name="T23" fmla="*/ 69 h 189"/>
                <a:gd name="T24" fmla="*/ 0 w 211"/>
                <a:gd name="T25" fmla="*/ 41 h 189"/>
                <a:gd name="T26" fmla="*/ 14 w 211"/>
                <a:gd name="T27" fmla="*/ 38 h 189"/>
                <a:gd name="T28" fmla="*/ 13 w 211"/>
                <a:gd name="T29" fmla="*/ 32 h 189"/>
                <a:gd name="T30" fmla="*/ 19 w 211"/>
                <a:gd name="T31" fmla="*/ 32 h 189"/>
                <a:gd name="T32" fmla="*/ 19 w 211"/>
                <a:gd name="T33" fmla="*/ 27 h 189"/>
                <a:gd name="T34" fmla="*/ 26 w 211"/>
                <a:gd name="T35" fmla="*/ 27 h 189"/>
                <a:gd name="T36" fmla="*/ 36 w 211"/>
                <a:gd name="T37" fmla="*/ 33 h 189"/>
                <a:gd name="T38" fmla="*/ 43 w 211"/>
                <a:gd name="T39" fmla="*/ 33 h 189"/>
                <a:gd name="T40" fmla="*/ 42 w 211"/>
                <a:gd name="T41" fmla="*/ 30 h 189"/>
                <a:gd name="T42" fmla="*/ 62 w 211"/>
                <a:gd name="T43" fmla="*/ 43 h 189"/>
                <a:gd name="T44" fmla="*/ 68 w 211"/>
                <a:gd name="T45" fmla="*/ 43 h 189"/>
                <a:gd name="T46" fmla="*/ 67 w 211"/>
                <a:gd name="T47" fmla="*/ 30 h 189"/>
                <a:gd name="T48" fmla="*/ 65 w 211"/>
                <a:gd name="T49" fmla="*/ 33 h 189"/>
                <a:gd name="T50" fmla="*/ 55 w 211"/>
                <a:gd name="T51" fmla="*/ 28 h 189"/>
                <a:gd name="T52" fmla="*/ 59 w 211"/>
                <a:gd name="T53" fmla="*/ 16 h 189"/>
                <a:gd name="T54" fmla="*/ 52 w 211"/>
                <a:gd name="T55" fmla="*/ 15 h 189"/>
                <a:gd name="T56" fmla="*/ 57 w 211"/>
                <a:gd name="T57" fmla="*/ 3 h 189"/>
                <a:gd name="T58" fmla="*/ 72 w 211"/>
                <a:gd name="T59" fmla="*/ 0 h 189"/>
                <a:gd name="T60" fmla="*/ 95 w 211"/>
                <a:gd name="T61" fmla="*/ 10 h 189"/>
                <a:gd name="T62" fmla="*/ 100 w 211"/>
                <a:gd name="T63" fmla="*/ 23 h 189"/>
                <a:gd name="T64" fmla="*/ 100 w 211"/>
                <a:gd name="T65" fmla="*/ 23 h 1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11" h="189">
                  <a:moveTo>
                    <a:pt x="211" y="55"/>
                  </a:moveTo>
                  <a:lnTo>
                    <a:pt x="196" y="80"/>
                  </a:lnTo>
                  <a:lnTo>
                    <a:pt x="186" y="89"/>
                  </a:lnTo>
                  <a:lnTo>
                    <a:pt x="186" y="112"/>
                  </a:lnTo>
                  <a:lnTo>
                    <a:pt x="142" y="130"/>
                  </a:lnTo>
                  <a:lnTo>
                    <a:pt x="151" y="145"/>
                  </a:lnTo>
                  <a:lnTo>
                    <a:pt x="132" y="145"/>
                  </a:lnTo>
                  <a:lnTo>
                    <a:pt x="94" y="189"/>
                  </a:lnTo>
                  <a:lnTo>
                    <a:pt x="60" y="189"/>
                  </a:lnTo>
                  <a:lnTo>
                    <a:pt x="44" y="179"/>
                  </a:lnTo>
                  <a:lnTo>
                    <a:pt x="20" y="187"/>
                  </a:lnTo>
                  <a:lnTo>
                    <a:pt x="0" y="170"/>
                  </a:lnTo>
                  <a:lnTo>
                    <a:pt x="0" y="102"/>
                  </a:lnTo>
                  <a:lnTo>
                    <a:pt x="29" y="95"/>
                  </a:lnTo>
                  <a:lnTo>
                    <a:pt x="27" y="77"/>
                  </a:lnTo>
                  <a:lnTo>
                    <a:pt x="40" y="77"/>
                  </a:lnTo>
                  <a:lnTo>
                    <a:pt x="39" y="65"/>
                  </a:lnTo>
                  <a:lnTo>
                    <a:pt x="55" y="64"/>
                  </a:lnTo>
                  <a:lnTo>
                    <a:pt x="77" y="82"/>
                  </a:lnTo>
                  <a:lnTo>
                    <a:pt x="91" y="80"/>
                  </a:lnTo>
                  <a:lnTo>
                    <a:pt x="89" y="74"/>
                  </a:lnTo>
                  <a:lnTo>
                    <a:pt x="131" y="104"/>
                  </a:lnTo>
                  <a:lnTo>
                    <a:pt x="144" y="104"/>
                  </a:lnTo>
                  <a:lnTo>
                    <a:pt x="142" y="74"/>
                  </a:lnTo>
                  <a:lnTo>
                    <a:pt x="136" y="80"/>
                  </a:lnTo>
                  <a:lnTo>
                    <a:pt x="116" y="70"/>
                  </a:lnTo>
                  <a:lnTo>
                    <a:pt x="124" y="40"/>
                  </a:lnTo>
                  <a:lnTo>
                    <a:pt x="109" y="37"/>
                  </a:lnTo>
                  <a:lnTo>
                    <a:pt x="119" y="5"/>
                  </a:lnTo>
                  <a:lnTo>
                    <a:pt x="152" y="0"/>
                  </a:lnTo>
                  <a:lnTo>
                    <a:pt x="199" y="24"/>
                  </a:lnTo>
                  <a:lnTo>
                    <a:pt x="211" y="5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7" name="Freeform 264"/>
            <p:cNvSpPr>
              <a:spLocks/>
            </p:cNvSpPr>
            <p:nvPr/>
          </p:nvSpPr>
          <p:spPr bwMode="auto">
            <a:xfrm>
              <a:off x="3081" y="3093"/>
              <a:ext cx="47" cy="103"/>
            </a:xfrm>
            <a:custGeom>
              <a:avLst/>
              <a:gdLst>
                <a:gd name="T0" fmla="*/ 0 w 51"/>
                <a:gd name="T1" fmla="*/ 23 h 123"/>
                <a:gd name="T2" fmla="*/ 18 w 51"/>
                <a:gd name="T3" fmla="*/ 28 h 123"/>
                <a:gd name="T4" fmla="*/ 27 w 51"/>
                <a:gd name="T5" fmla="*/ 50 h 123"/>
                <a:gd name="T6" fmla="*/ 33 w 51"/>
                <a:gd name="T7" fmla="*/ 41 h 123"/>
                <a:gd name="T8" fmla="*/ 34 w 51"/>
                <a:gd name="T9" fmla="*/ 25 h 123"/>
                <a:gd name="T10" fmla="*/ 17 w 51"/>
                <a:gd name="T11" fmla="*/ 0 h 123"/>
                <a:gd name="T12" fmla="*/ 6 w 51"/>
                <a:gd name="T13" fmla="*/ 11 h 123"/>
                <a:gd name="T14" fmla="*/ 0 w 51"/>
                <a:gd name="T15" fmla="*/ 14 h 123"/>
                <a:gd name="T16" fmla="*/ 0 w 51"/>
                <a:gd name="T17" fmla="*/ 23 h 123"/>
                <a:gd name="T18" fmla="*/ 0 w 51"/>
                <a:gd name="T19" fmla="*/ 23 h 1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1" h="123">
                  <a:moveTo>
                    <a:pt x="0" y="58"/>
                  </a:moveTo>
                  <a:lnTo>
                    <a:pt x="28" y="66"/>
                  </a:lnTo>
                  <a:lnTo>
                    <a:pt x="40" y="123"/>
                  </a:lnTo>
                  <a:lnTo>
                    <a:pt x="50" y="100"/>
                  </a:lnTo>
                  <a:lnTo>
                    <a:pt x="51" y="61"/>
                  </a:lnTo>
                  <a:lnTo>
                    <a:pt x="25" y="0"/>
                  </a:lnTo>
                  <a:lnTo>
                    <a:pt x="11" y="25"/>
                  </a:lnTo>
                  <a:lnTo>
                    <a:pt x="0" y="35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8" name="Freeform 265"/>
            <p:cNvSpPr>
              <a:spLocks/>
            </p:cNvSpPr>
            <p:nvPr/>
          </p:nvSpPr>
          <p:spPr bwMode="auto">
            <a:xfrm>
              <a:off x="3081" y="3093"/>
              <a:ext cx="47" cy="103"/>
            </a:xfrm>
            <a:custGeom>
              <a:avLst/>
              <a:gdLst>
                <a:gd name="T0" fmla="*/ 0 w 51"/>
                <a:gd name="T1" fmla="*/ 23 h 123"/>
                <a:gd name="T2" fmla="*/ 18 w 51"/>
                <a:gd name="T3" fmla="*/ 28 h 123"/>
                <a:gd name="T4" fmla="*/ 27 w 51"/>
                <a:gd name="T5" fmla="*/ 50 h 123"/>
                <a:gd name="T6" fmla="*/ 33 w 51"/>
                <a:gd name="T7" fmla="*/ 41 h 123"/>
                <a:gd name="T8" fmla="*/ 34 w 51"/>
                <a:gd name="T9" fmla="*/ 25 h 123"/>
                <a:gd name="T10" fmla="*/ 17 w 51"/>
                <a:gd name="T11" fmla="*/ 0 h 123"/>
                <a:gd name="T12" fmla="*/ 6 w 51"/>
                <a:gd name="T13" fmla="*/ 11 h 123"/>
                <a:gd name="T14" fmla="*/ 0 w 51"/>
                <a:gd name="T15" fmla="*/ 14 h 123"/>
                <a:gd name="T16" fmla="*/ 0 w 51"/>
                <a:gd name="T17" fmla="*/ 23 h 123"/>
                <a:gd name="T18" fmla="*/ 0 w 51"/>
                <a:gd name="T19" fmla="*/ 23 h 1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1" h="123">
                  <a:moveTo>
                    <a:pt x="0" y="58"/>
                  </a:moveTo>
                  <a:lnTo>
                    <a:pt x="28" y="66"/>
                  </a:lnTo>
                  <a:lnTo>
                    <a:pt x="40" y="123"/>
                  </a:lnTo>
                  <a:lnTo>
                    <a:pt x="50" y="100"/>
                  </a:lnTo>
                  <a:lnTo>
                    <a:pt x="51" y="61"/>
                  </a:lnTo>
                  <a:lnTo>
                    <a:pt x="25" y="0"/>
                  </a:lnTo>
                  <a:lnTo>
                    <a:pt x="11" y="25"/>
                  </a:lnTo>
                  <a:lnTo>
                    <a:pt x="0" y="35"/>
                  </a:lnTo>
                  <a:lnTo>
                    <a:pt x="0" y="5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9" name="Freeform 266"/>
            <p:cNvSpPr>
              <a:spLocks/>
            </p:cNvSpPr>
            <p:nvPr/>
          </p:nvSpPr>
          <p:spPr bwMode="auto">
            <a:xfrm>
              <a:off x="2771" y="3191"/>
              <a:ext cx="141" cy="196"/>
            </a:xfrm>
            <a:custGeom>
              <a:avLst/>
              <a:gdLst>
                <a:gd name="T0" fmla="*/ 75 w 165"/>
                <a:gd name="T1" fmla="*/ 11 h 233"/>
                <a:gd name="T2" fmla="*/ 73 w 165"/>
                <a:gd name="T3" fmla="*/ 36 h 233"/>
                <a:gd name="T4" fmla="*/ 62 w 165"/>
                <a:gd name="T5" fmla="*/ 41 h 233"/>
                <a:gd name="T6" fmla="*/ 64 w 165"/>
                <a:gd name="T7" fmla="*/ 91 h 233"/>
                <a:gd name="T8" fmla="*/ 57 w 165"/>
                <a:gd name="T9" fmla="*/ 98 h 233"/>
                <a:gd name="T10" fmla="*/ 48 w 165"/>
                <a:gd name="T11" fmla="*/ 96 h 233"/>
                <a:gd name="T12" fmla="*/ 47 w 165"/>
                <a:gd name="T13" fmla="*/ 86 h 233"/>
                <a:gd name="T14" fmla="*/ 42 w 165"/>
                <a:gd name="T15" fmla="*/ 94 h 233"/>
                <a:gd name="T16" fmla="*/ 28 w 165"/>
                <a:gd name="T17" fmla="*/ 81 h 233"/>
                <a:gd name="T18" fmla="*/ 21 w 165"/>
                <a:gd name="T19" fmla="*/ 40 h 233"/>
                <a:gd name="T20" fmla="*/ 14 w 165"/>
                <a:gd name="T21" fmla="*/ 34 h 233"/>
                <a:gd name="T22" fmla="*/ 0 w 165"/>
                <a:gd name="T23" fmla="*/ 7 h 233"/>
                <a:gd name="T24" fmla="*/ 11 w 165"/>
                <a:gd name="T25" fmla="*/ 0 h 233"/>
                <a:gd name="T26" fmla="*/ 19 w 165"/>
                <a:gd name="T27" fmla="*/ 7 h 233"/>
                <a:gd name="T28" fmla="*/ 53 w 165"/>
                <a:gd name="T29" fmla="*/ 2 h 233"/>
                <a:gd name="T30" fmla="*/ 75 w 165"/>
                <a:gd name="T31" fmla="*/ 11 h 233"/>
                <a:gd name="T32" fmla="*/ 75 w 165"/>
                <a:gd name="T33" fmla="*/ 11 h 23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5" h="233">
                  <a:moveTo>
                    <a:pt x="165" y="25"/>
                  </a:moveTo>
                  <a:lnTo>
                    <a:pt x="160" y="86"/>
                  </a:lnTo>
                  <a:lnTo>
                    <a:pt x="138" y="98"/>
                  </a:lnTo>
                  <a:lnTo>
                    <a:pt x="140" y="215"/>
                  </a:lnTo>
                  <a:lnTo>
                    <a:pt x="125" y="233"/>
                  </a:lnTo>
                  <a:lnTo>
                    <a:pt x="105" y="226"/>
                  </a:lnTo>
                  <a:lnTo>
                    <a:pt x="103" y="203"/>
                  </a:lnTo>
                  <a:lnTo>
                    <a:pt x="91" y="223"/>
                  </a:lnTo>
                  <a:lnTo>
                    <a:pt x="63" y="190"/>
                  </a:lnTo>
                  <a:lnTo>
                    <a:pt x="46" y="95"/>
                  </a:lnTo>
                  <a:lnTo>
                    <a:pt x="30" y="78"/>
                  </a:lnTo>
                  <a:lnTo>
                    <a:pt x="0" y="17"/>
                  </a:lnTo>
                  <a:lnTo>
                    <a:pt x="25" y="0"/>
                  </a:lnTo>
                  <a:lnTo>
                    <a:pt x="41" y="15"/>
                  </a:lnTo>
                  <a:lnTo>
                    <a:pt x="116" y="2"/>
                  </a:lnTo>
                  <a:lnTo>
                    <a:pt x="165" y="2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0" name="Freeform 267"/>
            <p:cNvSpPr>
              <a:spLocks/>
            </p:cNvSpPr>
            <p:nvPr/>
          </p:nvSpPr>
          <p:spPr bwMode="auto">
            <a:xfrm>
              <a:off x="2771" y="3191"/>
              <a:ext cx="141" cy="196"/>
            </a:xfrm>
            <a:custGeom>
              <a:avLst/>
              <a:gdLst>
                <a:gd name="T0" fmla="*/ 75 w 165"/>
                <a:gd name="T1" fmla="*/ 11 h 233"/>
                <a:gd name="T2" fmla="*/ 73 w 165"/>
                <a:gd name="T3" fmla="*/ 36 h 233"/>
                <a:gd name="T4" fmla="*/ 62 w 165"/>
                <a:gd name="T5" fmla="*/ 41 h 233"/>
                <a:gd name="T6" fmla="*/ 64 w 165"/>
                <a:gd name="T7" fmla="*/ 91 h 233"/>
                <a:gd name="T8" fmla="*/ 57 w 165"/>
                <a:gd name="T9" fmla="*/ 98 h 233"/>
                <a:gd name="T10" fmla="*/ 48 w 165"/>
                <a:gd name="T11" fmla="*/ 96 h 233"/>
                <a:gd name="T12" fmla="*/ 47 w 165"/>
                <a:gd name="T13" fmla="*/ 86 h 233"/>
                <a:gd name="T14" fmla="*/ 42 w 165"/>
                <a:gd name="T15" fmla="*/ 94 h 233"/>
                <a:gd name="T16" fmla="*/ 28 w 165"/>
                <a:gd name="T17" fmla="*/ 81 h 233"/>
                <a:gd name="T18" fmla="*/ 21 w 165"/>
                <a:gd name="T19" fmla="*/ 40 h 233"/>
                <a:gd name="T20" fmla="*/ 14 w 165"/>
                <a:gd name="T21" fmla="*/ 34 h 233"/>
                <a:gd name="T22" fmla="*/ 0 w 165"/>
                <a:gd name="T23" fmla="*/ 7 h 233"/>
                <a:gd name="T24" fmla="*/ 11 w 165"/>
                <a:gd name="T25" fmla="*/ 0 h 233"/>
                <a:gd name="T26" fmla="*/ 19 w 165"/>
                <a:gd name="T27" fmla="*/ 7 h 233"/>
                <a:gd name="T28" fmla="*/ 53 w 165"/>
                <a:gd name="T29" fmla="*/ 2 h 233"/>
                <a:gd name="T30" fmla="*/ 75 w 165"/>
                <a:gd name="T31" fmla="*/ 11 h 233"/>
                <a:gd name="T32" fmla="*/ 75 w 165"/>
                <a:gd name="T33" fmla="*/ 11 h 23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5" h="233">
                  <a:moveTo>
                    <a:pt x="165" y="25"/>
                  </a:moveTo>
                  <a:lnTo>
                    <a:pt x="160" y="86"/>
                  </a:lnTo>
                  <a:lnTo>
                    <a:pt x="138" y="98"/>
                  </a:lnTo>
                  <a:lnTo>
                    <a:pt x="140" y="215"/>
                  </a:lnTo>
                  <a:lnTo>
                    <a:pt x="125" y="233"/>
                  </a:lnTo>
                  <a:lnTo>
                    <a:pt x="105" y="226"/>
                  </a:lnTo>
                  <a:lnTo>
                    <a:pt x="103" y="203"/>
                  </a:lnTo>
                  <a:lnTo>
                    <a:pt x="91" y="223"/>
                  </a:lnTo>
                  <a:lnTo>
                    <a:pt x="63" y="190"/>
                  </a:lnTo>
                  <a:lnTo>
                    <a:pt x="46" y="95"/>
                  </a:lnTo>
                  <a:lnTo>
                    <a:pt x="30" y="78"/>
                  </a:lnTo>
                  <a:lnTo>
                    <a:pt x="0" y="17"/>
                  </a:lnTo>
                  <a:lnTo>
                    <a:pt x="25" y="0"/>
                  </a:lnTo>
                  <a:lnTo>
                    <a:pt x="41" y="15"/>
                  </a:lnTo>
                  <a:lnTo>
                    <a:pt x="116" y="2"/>
                  </a:lnTo>
                  <a:lnTo>
                    <a:pt x="165" y="2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1" name="Freeform 268"/>
            <p:cNvSpPr>
              <a:spLocks/>
            </p:cNvSpPr>
            <p:nvPr/>
          </p:nvSpPr>
          <p:spPr bwMode="auto">
            <a:xfrm>
              <a:off x="3045" y="3090"/>
              <a:ext cx="160" cy="257"/>
            </a:xfrm>
            <a:custGeom>
              <a:avLst/>
              <a:gdLst>
                <a:gd name="T0" fmla="*/ 4 w 184"/>
                <a:gd name="T1" fmla="*/ 39 h 309"/>
                <a:gd name="T2" fmla="*/ 24 w 184"/>
                <a:gd name="T3" fmla="*/ 48 h 309"/>
                <a:gd name="T4" fmla="*/ 24 w 184"/>
                <a:gd name="T5" fmla="*/ 60 h 309"/>
                <a:gd name="T6" fmla="*/ 17 w 184"/>
                <a:gd name="T7" fmla="*/ 61 h 309"/>
                <a:gd name="T8" fmla="*/ 23 w 184"/>
                <a:gd name="T9" fmla="*/ 72 h 309"/>
                <a:gd name="T10" fmla="*/ 7 w 184"/>
                <a:gd name="T11" fmla="*/ 88 h 309"/>
                <a:gd name="T12" fmla="*/ 12 w 184"/>
                <a:gd name="T13" fmla="*/ 121 h 309"/>
                <a:gd name="T14" fmla="*/ 20 w 184"/>
                <a:gd name="T15" fmla="*/ 123 h 309"/>
                <a:gd name="T16" fmla="*/ 24 w 184"/>
                <a:gd name="T17" fmla="*/ 111 h 309"/>
                <a:gd name="T18" fmla="*/ 43 w 184"/>
                <a:gd name="T19" fmla="*/ 99 h 309"/>
                <a:gd name="T20" fmla="*/ 42 w 184"/>
                <a:gd name="T21" fmla="*/ 76 h 309"/>
                <a:gd name="T22" fmla="*/ 37 w 184"/>
                <a:gd name="T23" fmla="*/ 73 h 309"/>
                <a:gd name="T24" fmla="*/ 39 w 184"/>
                <a:gd name="T25" fmla="*/ 67 h 309"/>
                <a:gd name="T26" fmla="*/ 51 w 184"/>
                <a:gd name="T27" fmla="*/ 61 h 309"/>
                <a:gd name="T28" fmla="*/ 55 w 184"/>
                <a:gd name="T29" fmla="*/ 56 h 309"/>
                <a:gd name="T30" fmla="*/ 86 w 184"/>
                <a:gd name="T31" fmla="*/ 36 h 309"/>
                <a:gd name="T32" fmla="*/ 91 w 184"/>
                <a:gd name="T33" fmla="*/ 0 h 309"/>
                <a:gd name="T34" fmla="*/ 67 w 184"/>
                <a:gd name="T35" fmla="*/ 2 h 309"/>
                <a:gd name="T36" fmla="*/ 63 w 184"/>
                <a:gd name="T37" fmla="*/ 7 h 309"/>
                <a:gd name="T38" fmla="*/ 44 w 184"/>
                <a:gd name="T39" fmla="*/ 6 h 309"/>
                <a:gd name="T40" fmla="*/ 37 w 184"/>
                <a:gd name="T41" fmla="*/ 8 h 309"/>
                <a:gd name="T42" fmla="*/ 47 w 184"/>
                <a:gd name="T43" fmla="*/ 25 h 309"/>
                <a:gd name="T44" fmla="*/ 47 w 184"/>
                <a:gd name="T45" fmla="*/ 43 h 309"/>
                <a:gd name="T46" fmla="*/ 42 w 184"/>
                <a:gd name="T47" fmla="*/ 51 h 309"/>
                <a:gd name="T48" fmla="*/ 37 w 184"/>
                <a:gd name="T49" fmla="*/ 28 h 309"/>
                <a:gd name="T50" fmla="*/ 22 w 184"/>
                <a:gd name="T51" fmla="*/ 25 h 309"/>
                <a:gd name="T52" fmla="*/ 0 w 184"/>
                <a:gd name="T53" fmla="*/ 32 h 309"/>
                <a:gd name="T54" fmla="*/ 4 w 184"/>
                <a:gd name="T55" fmla="*/ 39 h 309"/>
                <a:gd name="T56" fmla="*/ 4 w 184"/>
                <a:gd name="T57" fmla="*/ 39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84" h="309">
                  <a:moveTo>
                    <a:pt x="9" y="96"/>
                  </a:moveTo>
                  <a:lnTo>
                    <a:pt x="49" y="121"/>
                  </a:lnTo>
                  <a:lnTo>
                    <a:pt x="50" y="151"/>
                  </a:lnTo>
                  <a:lnTo>
                    <a:pt x="35" y="153"/>
                  </a:lnTo>
                  <a:lnTo>
                    <a:pt x="45" y="179"/>
                  </a:lnTo>
                  <a:lnTo>
                    <a:pt x="14" y="223"/>
                  </a:lnTo>
                  <a:lnTo>
                    <a:pt x="24" y="306"/>
                  </a:lnTo>
                  <a:lnTo>
                    <a:pt x="40" y="309"/>
                  </a:lnTo>
                  <a:lnTo>
                    <a:pt x="49" y="278"/>
                  </a:lnTo>
                  <a:lnTo>
                    <a:pt x="89" y="249"/>
                  </a:lnTo>
                  <a:lnTo>
                    <a:pt x="84" y="191"/>
                  </a:lnTo>
                  <a:lnTo>
                    <a:pt x="74" y="184"/>
                  </a:lnTo>
                  <a:lnTo>
                    <a:pt x="79" y="169"/>
                  </a:lnTo>
                  <a:lnTo>
                    <a:pt x="104" y="154"/>
                  </a:lnTo>
                  <a:lnTo>
                    <a:pt x="110" y="140"/>
                  </a:lnTo>
                  <a:lnTo>
                    <a:pt x="174" y="91"/>
                  </a:lnTo>
                  <a:lnTo>
                    <a:pt x="184" y="0"/>
                  </a:lnTo>
                  <a:lnTo>
                    <a:pt x="135" y="6"/>
                  </a:lnTo>
                  <a:lnTo>
                    <a:pt x="129" y="18"/>
                  </a:lnTo>
                  <a:lnTo>
                    <a:pt x="90" y="15"/>
                  </a:lnTo>
                  <a:lnTo>
                    <a:pt x="75" y="21"/>
                  </a:lnTo>
                  <a:lnTo>
                    <a:pt x="94" y="63"/>
                  </a:lnTo>
                  <a:lnTo>
                    <a:pt x="94" y="108"/>
                  </a:lnTo>
                  <a:lnTo>
                    <a:pt x="84" y="128"/>
                  </a:lnTo>
                  <a:lnTo>
                    <a:pt x="72" y="71"/>
                  </a:lnTo>
                  <a:lnTo>
                    <a:pt x="44" y="63"/>
                  </a:lnTo>
                  <a:lnTo>
                    <a:pt x="0" y="81"/>
                  </a:lnTo>
                  <a:lnTo>
                    <a:pt x="9" y="9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2" name="Freeform 269"/>
            <p:cNvSpPr>
              <a:spLocks/>
            </p:cNvSpPr>
            <p:nvPr/>
          </p:nvSpPr>
          <p:spPr bwMode="auto">
            <a:xfrm>
              <a:off x="3045" y="3090"/>
              <a:ext cx="160" cy="257"/>
            </a:xfrm>
            <a:custGeom>
              <a:avLst/>
              <a:gdLst>
                <a:gd name="T0" fmla="*/ 4 w 184"/>
                <a:gd name="T1" fmla="*/ 39 h 309"/>
                <a:gd name="T2" fmla="*/ 24 w 184"/>
                <a:gd name="T3" fmla="*/ 48 h 309"/>
                <a:gd name="T4" fmla="*/ 24 w 184"/>
                <a:gd name="T5" fmla="*/ 60 h 309"/>
                <a:gd name="T6" fmla="*/ 17 w 184"/>
                <a:gd name="T7" fmla="*/ 61 h 309"/>
                <a:gd name="T8" fmla="*/ 23 w 184"/>
                <a:gd name="T9" fmla="*/ 72 h 309"/>
                <a:gd name="T10" fmla="*/ 7 w 184"/>
                <a:gd name="T11" fmla="*/ 88 h 309"/>
                <a:gd name="T12" fmla="*/ 12 w 184"/>
                <a:gd name="T13" fmla="*/ 121 h 309"/>
                <a:gd name="T14" fmla="*/ 20 w 184"/>
                <a:gd name="T15" fmla="*/ 123 h 309"/>
                <a:gd name="T16" fmla="*/ 24 w 184"/>
                <a:gd name="T17" fmla="*/ 111 h 309"/>
                <a:gd name="T18" fmla="*/ 43 w 184"/>
                <a:gd name="T19" fmla="*/ 99 h 309"/>
                <a:gd name="T20" fmla="*/ 42 w 184"/>
                <a:gd name="T21" fmla="*/ 76 h 309"/>
                <a:gd name="T22" fmla="*/ 37 w 184"/>
                <a:gd name="T23" fmla="*/ 73 h 309"/>
                <a:gd name="T24" fmla="*/ 39 w 184"/>
                <a:gd name="T25" fmla="*/ 67 h 309"/>
                <a:gd name="T26" fmla="*/ 51 w 184"/>
                <a:gd name="T27" fmla="*/ 61 h 309"/>
                <a:gd name="T28" fmla="*/ 55 w 184"/>
                <a:gd name="T29" fmla="*/ 56 h 309"/>
                <a:gd name="T30" fmla="*/ 86 w 184"/>
                <a:gd name="T31" fmla="*/ 36 h 309"/>
                <a:gd name="T32" fmla="*/ 91 w 184"/>
                <a:gd name="T33" fmla="*/ 0 h 309"/>
                <a:gd name="T34" fmla="*/ 67 w 184"/>
                <a:gd name="T35" fmla="*/ 2 h 309"/>
                <a:gd name="T36" fmla="*/ 63 w 184"/>
                <a:gd name="T37" fmla="*/ 7 h 309"/>
                <a:gd name="T38" fmla="*/ 44 w 184"/>
                <a:gd name="T39" fmla="*/ 6 h 309"/>
                <a:gd name="T40" fmla="*/ 37 w 184"/>
                <a:gd name="T41" fmla="*/ 8 h 309"/>
                <a:gd name="T42" fmla="*/ 47 w 184"/>
                <a:gd name="T43" fmla="*/ 25 h 309"/>
                <a:gd name="T44" fmla="*/ 47 w 184"/>
                <a:gd name="T45" fmla="*/ 43 h 309"/>
                <a:gd name="T46" fmla="*/ 42 w 184"/>
                <a:gd name="T47" fmla="*/ 51 h 309"/>
                <a:gd name="T48" fmla="*/ 37 w 184"/>
                <a:gd name="T49" fmla="*/ 28 h 309"/>
                <a:gd name="T50" fmla="*/ 22 w 184"/>
                <a:gd name="T51" fmla="*/ 25 h 309"/>
                <a:gd name="T52" fmla="*/ 0 w 184"/>
                <a:gd name="T53" fmla="*/ 32 h 309"/>
                <a:gd name="T54" fmla="*/ 4 w 184"/>
                <a:gd name="T55" fmla="*/ 39 h 309"/>
                <a:gd name="T56" fmla="*/ 4 w 184"/>
                <a:gd name="T57" fmla="*/ 39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84" h="309">
                  <a:moveTo>
                    <a:pt x="9" y="96"/>
                  </a:moveTo>
                  <a:lnTo>
                    <a:pt x="49" y="121"/>
                  </a:lnTo>
                  <a:lnTo>
                    <a:pt x="50" y="151"/>
                  </a:lnTo>
                  <a:lnTo>
                    <a:pt x="35" y="153"/>
                  </a:lnTo>
                  <a:lnTo>
                    <a:pt x="45" y="179"/>
                  </a:lnTo>
                  <a:lnTo>
                    <a:pt x="14" y="223"/>
                  </a:lnTo>
                  <a:lnTo>
                    <a:pt x="24" y="306"/>
                  </a:lnTo>
                  <a:lnTo>
                    <a:pt x="40" y="309"/>
                  </a:lnTo>
                  <a:lnTo>
                    <a:pt x="49" y="278"/>
                  </a:lnTo>
                  <a:lnTo>
                    <a:pt x="89" y="249"/>
                  </a:lnTo>
                  <a:lnTo>
                    <a:pt x="84" y="191"/>
                  </a:lnTo>
                  <a:lnTo>
                    <a:pt x="74" y="184"/>
                  </a:lnTo>
                  <a:lnTo>
                    <a:pt x="79" y="169"/>
                  </a:lnTo>
                  <a:lnTo>
                    <a:pt x="104" y="154"/>
                  </a:lnTo>
                  <a:lnTo>
                    <a:pt x="110" y="140"/>
                  </a:lnTo>
                  <a:lnTo>
                    <a:pt x="174" y="91"/>
                  </a:lnTo>
                  <a:lnTo>
                    <a:pt x="184" y="0"/>
                  </a:lnTo>
                  <a:lnTo>
                    <a:pt x="135" y="6"/>
                  </a:lnTo>
                  <a:lnTo>
                    <a:pt x="129" y="18"/>
                  </a:lnTo>
                  <a:lnTo>
                    <a:pt x="90" y="15"/>
                  </a:lnTo>
                  <a:lnTo>
                    <a:pt x="75" y="21"/>
                  </a:lnTo>
                  <a:lnTo>
                    <a:pt x="94" y="63"/>
                  </a:lnTo>
                  <a:lnTo>
                    <a:pt x="94" y="108"/>
                  </a:lnTo>
                  <a:lnTo>
                    <a:pt x="84" y="128"/>
                  </a:lnTo>
                  <a:lnTo>
                    <a:pt x="72" y="71"/>
                  </a:lnTo>
                  <a:lnTo>
                    <a:pt x="44" y="63"/>
                  </a:lnTo>
                  <a:lnTo>
                    <a:pt x="0" y="81"/>
                  </a:lnTo>
                  <a:lnTo>
                    <a:pt x="9" y="9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3" name="Freeform 270"/>
            <p:cNvSpPr>
              <a:spLocks/>
            </p:cNvSpPr>
            <p:nvPr/>
          </p:nvSpPr>
          <p:spPr bwMode="auto">
            <a:xfrm>
              <a:off x="2974" y="3169"/>
              <a:ext cx="115" cy="107"/>
            </a:xfrm>
            <a:custGeom>
              <a:avLst/>
              <a:gdLst>
                <a:gd name="T0" fmla="*/ 0 w 132"/>
                <a:gd name="T1" fmla="*/ 19 h 127"/>
                <a:gd name="T2" fmla="*/ 9 w 132"/>
                <a:gd name="T3" fmla="*/ 38 h 127"/>
                <a:gd name="T4" fmla="*/ 17 w 132"/>
                <a:gd name="T5" fmla="*/ 38 h 127"/>
                <a:gd name="T6" fmla="*/ 18 w 132"/>
                <a:gd name="T7" fmla="*/ 44 h 127"/>
                <a:gd name="T8" fmla="*/ 49 w 132"/>
                <a:gd name="T9" fmla="*/ 54 h 127"/>
                <a:gd name="T10" fmla="*/ 64 w 132"/>
                <a:gd name="T11" fmla="*/ 35 h 127"/>
                <a:gd name="T12" fmla="*/ 59 w 132"/>
                <a:gd name="T13" fmla="*/ 24 h 127"/>
                <a:gd name="T14" fmla="*/ 66 w 132"/>
                <a:gd name="T15" fmla="*/ 24 h 127"/>
                <a:gd name="T16" fmla="*/ 65 w 132"/>
                <a:gd name="T17" fmla="*/ 11 h 127"/>
                <a:gd name="T18" fmla="*/ 45 w 132"/>
                <a:gd name="T19" fmla="*/ 0 h 127"/>
                <a:gd name="T20" fmla="*/ 37 w 132"/>
                <a:gd name="T21" fmla="*/ 0 h 127"/>
                <a:gd name="T22" fmla="*/ 17 w 132"/>
                <a:gd name="T23" fmla="*/ 19 h 127"/>
                <a:gd name="T24" fmla="*/ 0 w 132"/>
                <a:gd name="T25" fmla="*/ 19 h 127"/>
                <a:gd name="T26" fmla="*/ 0 w 132"/>
                <a:gd name="T27" fmla="*/ 19 h 1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2" h="127">
                  <a:moveTo>
                    <a:pt x="0" y="44"/>
                  </a:moveTo>
                  <a:lnTo>
                    <a:pt x="17" y="90"/>
                  </a:lnTo>
                  <a:lnTo>
                    <a:pt x="34" y="90"/>
                  </a:lnTo>
                  <a:lnTo>
                    <a:pt x="37" y="105"/>
                  </a:lnTo>
                  <a:lnTo>
                    <a:pt x="96" y="127"/>
                  </a:lnTo>
                  <a:lnTo>
                    <a:pt x="127" y="83"/>
                  </a:lnTo>
                  <a:lnTo>
                    <a:pt x="117" y="57"/>
                  </a:lnTo>
                  <a:lnTo>
                    <a:pt x="132" y="55"/>
                  </a:lnTo>
                  <a:lnTo>
                    <a:pt x="131" y="25"/>
                  </a:lnTo>
                  <a:lnTo>
                    <a:pt x="91" y="0"/>
                  </a:lnTo>
                  <a:lnTo>
                    <a:pt x="72" y="0"/>
                  </a:lnTo>
                  <a:lnTo>
                    <a:pt x="34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4" name="Freeform 271"/>
            <p:cNvSpPr>
              <a:spLocks/>
            </p:cNvSpPr>
            <p:nvPr/>
          </p:nvSpPr>
          <p:spPr bwMode="auto">
            <a:xfrm>
              <a:off x="2974" y="3169"/>
              <a:ext cx="115" cy="107"/>
            </a:xfrm>
            <a:custGeom>
              <a:avLst/>
              <a:gdLst>
                <a:gd name="T0" fmla="*/ 0 w 132"/>
                <a:gd name="T1" fmla="*/ 19 h 127"/>
                <a:gd name="T2" fmla="*/ 9 w 132"/>
                <a:gd name="T3" fmla="*/ 38 h 127"/>
                <a:gd name="T4" fmla="*/ 17 w 132"/>
                <a:gd name="T5" fmla="*/ 38 h 127"/>
                <a:gd name="T6" fmla="*/ 18 w 132"/>
                <a:gd name="T7" fmla="*/ 44 h 127"/>
                <a:gd name="T8" fmla="*/ 49 w 132"/>
                <a:gd name="T9" fmla="*/ 54 h 127"/>
                <a:gd name="T10" fmla="*/ 64 w 132"/>
                <a:gd name="T11" fmla="*/ 35 h 127"/>
                <a:gd name="T12" fmla="*/ 59 w 132"/>
                <a:gd name="T13" fmla="*/ 24 h 127"/>
                <a:gd name="T14" fmla="*/ 66 w 132"/>
                <a:gd name="T15" fmla="*/ 24 h 127"/>
                <a:gd name="T16" fmla="*/ 65 w 132"/>
                <a:gd name="T17" fmla="*/ 11 h 127"/>
                <a:gd name="T18" fmla="*/ 45 w 132"/>
                <a:gd name="T19" fmla="*/ 0 h 127"/>
                <a:gd name="T20" fmla="*/ 37 w 132"/>
                <a:gd name="T21" fmla="*/ 0 h 127"/>
                <a:gd name="T22" fmla="*/ 17 w 132"/>
                <a:gd name="T23" fmla="*/ 19 h 127"/>
                <a:gd name="T24" fmla="*/ 0 w 132"/>
                <a:gd name="T25" fmla="*/ 19 h 127"/>
                <a:gd name="T26" fmla="*/ 0 w 132"/>
                <a:gd name="T27" fmla="*/ 19 h 1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2" h="127">
                  <a:moveTo>
                    <a:pt x="0" y="44"/>
                  </a:moveTo>
                  <a:lnTo>
                    <a:pt x="17" y="90"/>
                  </a:lnTo>
                  <a:lnTo>
                    <a:pt x="34" y="90"/>
                  </a:lnTo>
                  <a:lnTo>
                    <a:pt x="37" y="105"/>
                  </a:lnTo>
                  <a:lnTo>
                    <a:pt x="96" y="127"/>
                  </a:lnTo>
                  <a:lnTo>
                    <a:pt x="127" y="83"/>
                  </a:lnTo>
                  <a:lnTo>
                    <a:pt x="117" y="57"/>
                  </a:lnTo>
                  <a:lnTo>
                    <a:pt x="132" y="55"/>
                  </a:lnTo>
                  <a:lnTo>
                    <a:pt x="131" y="25"/>
                  </a:lnTo>
                  <a:lnTo>
                    <a:pt x="91" y="0"/>
                  </a:lnTo>
                  <a:lnTo>
                    <a:pt x="72" y="0"/>
                  </a:lnTo>
                  <a:lnTo>
                    <a:pt x="34" y="44"/>
                  </a:lnTo>
                  <a:lnTo>
                    <a:pt x="0" y="44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5" name="Freeform 272"/>
            <p:cNvSpPr>
              <a:spLocks/>
            </p:cNvSpPr>
            <p:nvPr/>
          </p:nvSpPr>
          <p:spPr bwMode="auto">
            <a:xfrm>
              <a:off x="2892" y="3197"/>
              <a:ext cx="137" cy="152"/>
            </a:xfrm>
            <a:custGeom>
              <a:avLst/>
              <a:gdLst>
                <a:gd name="T0" fmla="*/ 0 w 160"/>
                <a:gd name="T1" fmla="*/ 70 h 181"/>
                <a:gd name="T2" fmla="*/ 5 w 160"/>
                <a:gd name="T3" fmla="*/ 76 h 181"/>
                <a:gd name="T4" fmla="*/ 16 w 160"/>
                <a:gd name="T5" fmla="*/ 72 h 181"/>
                <a:gd name="T6" fmla="*/ 26 w 160"/>
                <a:gd name="T7" fmla="*/ 61 h 181"/>
                <a:gd name="T8" fmla="*/ 42 w 160"/>
                <a:gd name="T9" fmla="*/ 66 h 181"/>
                <a:gd name="T10" fmla="*/ 46 w 160"/>
                <a:gd name="T11" fmla="*/ 61 h 181"/>
                <a:gd name="T12" fmla="*/ 44 w 160"/>
                <a:gd name="T13" fmla="*/ 55 h 181"/>
                <a:gd name="T14" fmla="*/ 74 w 160"/>
                <a:gd name="T15" fmla="*/ 33 h 181"/>
                <a:gd name="T16" fmla="*/ 63 w 160"/>
                <a:gd name="T17" fmla="*/ 29 h 181"/>
                <a:gd name="T18" fmla="*/ 59 w 160"/>
                <a:gd name="T19" fmla="*/ 24 h 181"/>
                <a:gd name="T20" fmla="*/ 52 w 160"/>
                <a:gd name="T21" fmla="*/ 24 h 181"/>
                <a:gd name="T22" fmla="*/ 44 w 160"/>
                <a:gd name="T23" fmla="*/ 4 h 181"/>
                <a:gd name="T24" fmla="*/ 38 w 160"/>
                <a:gd name="T25" fmla="*/ 0 h 181"/>
                <a:gd name="T26" fmla="*/ 11 w 160"/>
                <a:gd name="T27" fmla="*/ 8 h 181"/>
                <a:gd name="T28" fmla="*/ 9 w 160"/>
                <a:gd name="T29" fmla="*/ 33 h 181"/>
                <a:gd name="T30" fmla="*/ 0 w 160"/>
                <a:gd name="T31" fmla="*/ 38 h 181"/>
                <a:gd name="T32" fmla="*/ 0 w 160"/>
                <a:gd name="T33" fmla="*/ 70 h 181"/>
                <a:gd name="T34" fmla="*/ 0 w 160"/>
                <a:gd name="T35" fmla="*/ 70 h 18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60" h="181">
                  <a:moveTo>
                    <a:pt x="0" y="168"/>
                  </a:moveTo>
                  <a:lnTo>
                    <a:pt x="11" y="181"/>
                  </a:lnTo>
                  <a:lnTo>
                    <a:pt x="35" y="173"/>
                  </a:lnTo>
                  <a:lnTo>
                    <a:pt x="56" y="148"/>
                  </a:lnTo>
                  <a:lnTo>
                    <a:pt x="90" y="158"/>
                  </a:lnTo>
                  <a:lnTo>
                    <a:pt x="101" y="148"/>
                  </a:lnTo>
                  <a:lnTo>
                    <a:pt x="96" y="131"/>
                  </a:lnTo>
                  <a:lnTo>
                    <a:pt x="160" y="79"/>
                  </a:lnTo>
                  <a:lnTo>
                    <a:pt x="135" y="71"/>
                  </a:lnTo>
                  <a:lnTo>
                    <a:pt x="130" y="56"/>
                  </a:lnTo>
                  <a:lnTo>
                    <a:pt x="113" y="56"/>
                  </a:lnTo>
                  <a:lnTo>
                    <a:pt x="96" y="10"/>
                  </a:lnTo>
                  <a:lnTo>
                    <a:pt x="80" y="0"/>
                  </a:lnTo>
                  <a:lnTo>
                    <a:pt x="25" y="18"/>
                  </a:lnTo>
                  <a:lnTo>
                    <a:pt x="20" y="79"/>
                  </a:lnTo>
                  <a:lnTo>
                    <a:pt x="0" y="91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6" name="Freeform 273"/>
            <p:cNvSpPr>
              <a:spLocks/>
            </p:cNvSpPr>
            <p:nvPr/>
          </p:nvSpPr>
          <p:spPr bwMode="auto">
            <a:xfrm>
              <a:off x="2892" y="3197"/>
              <a:ext cx="137" cy="152"/>
            </a:xfrm>
            <a:custGeom>
              <a:avLst/>
              <a:gdLst>
                <a:gd name="T0" fmla="*/ 0 w 160"/>
                <a:gd name="T1" fmla="*/ 70 h 181"/>
                <a:gd name="T2" fmla="*/ 5 w 160"/>
                <a:gd name="T3" fmla="*/ 76 h 181"/>
                <a:gd name="T4" fmla="*/ 16 w 160"/>
                <a:gd name="T5" fmla="*/ 72 h 181"/>
                <a:gd name="T6" fmla="*/ 26 w 160"/>
                <a:gd name="T7" fmla="*/ 61 h 181"/>
                <a:gd name="T8" fmla="*/ 42 w 160"/>
                <a:gd name="T9" fmla="*/ 66 h 181"/>
                <a:gd name="T10" fmla="*/ 46 w 160"/>
                <a:gd name="T11" fmla="*/ 61 h 181"/>
                <a:gd name="T12" fmla="*/ 44 w 160"/>
                <a:gd name="T13" fmla="*/ 55 h 181"/>
                <a:gd name="T14" fmla="*/ 74 w 160"/>
                <a:gd name="T15" fmla="*/ 33 h 181"/>
                <a:gd name="T16" fmla="*/ 63 w 160"/>
                <a:gd name="T17" fmla="*/ 29 h 181"/>
                <a:gd name="T18" fmla="*/ 59 w 160"/>
                <a:gd name="T19" fmla="*/ 24 h 181"/>
                <a:gd name="T20" fmla="*/ 52 w 160"/>
                <a:gd name="T21" fmla="*/ 24 h 181"/>
                <a:gd name="T22" fmla="*/ 44 w 160"/>
                <a:gd name="T23" fmla="*/ 4 h 181"/>
                <a:gd name="T24" fmla="*/ 38 w 160"/>
                <a:gd name="T25" fmla="*/ 0 h 181"/>
                <a:gd name="T26" fmla="*/ 11 w 160"/>
                <a:gd name="T27" fmla="*/ 8 h 181"/>
                <a:gd name="T28" fmla="*/ 9 w 160"/>
                <a:gd name="T29" fmla="*/ 33 h 181"/>
                <a:gd name="T30" fmla="*/ 0 w 160"/>
                <a:gd name="T31" fmla="*/ 38 h 181"/>
                <a:gd name="T32" fmla="*/ 0 w 160"/>
                <a:gd name="T33" fmla="*/ 70 h 181"/>
                <a:gd name="T34" fmla="*/ 0 w 160"/>
                <a:gd name="T35" fmla="*/ 70 h 18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60" h="181">
                  <a:moveTo>
                    <a:pt x="0" y="168"/>
                  </a:moveTo>
                  <a:lnTo>
                    <a:pt x="11" y="181"/>
                  </a:lnTo>
                  <a:lnTo>
                    <a:pt x="35" y="173"/>
                  </a:lnTo>
                  <a:lnTo>
                    <a:pt x="56" y="148"/>
                  </a:lnTo>
                  <a:lnTo>
                    <a:pt x="90" y="158"/>
                  </a:lnTo>
                  <a:lnTo>
                    <a:pt x="101" y="148"/>
                  </a:lnTo>
                  <a:lnTo>
                    <a:pt x="96" y="131"/>
                  </a:lnTo>
                  <a:lnTo>
                    <a:pt x="160" y="79"/>
                  </a:lnTo>
                  <a:lnTo>
                    <a:pt x="135" y="71"/>
                  </a:lnTo>
                  <a:lnTo>
                    <a:pt x="130" y="56"/>
                  </a:lnTo>
                  <a:lnTo>
                    <a:pt x="113" y="56"/>
                  </a:lnTo>
                  <a:lnTo>
                    <a:pt x="96" y="10"/>
                  </a:lnTo>
                  <a:lnTo>
                    <a:pt x="80" y="0"/>
                  </a:lnTo>
                  <a:lnTo>
                    <a:pt x="25" y="18"/>
                  </a:lnTo>
                  <a:lnTo>
                    <a:pt x="20" y="79"/>
                  </a:lnTo>
                  <a:lnTo>
                    <a:pt x="0" y="91"/>
                  </a:lnTo>
                  <a:lnTo>
                    <a:pt x="0" y="16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7" name="Freeform 274"/>
            <p:cNvSpPr>
              <a:spLocks/>
            </p:cNvSpPr>
            <p:nvPr/>
          </p:nvSpPr>
          <p:spPr bwMode="auto">
            <a:xfrm>
              <a:off x="2848" y="3264"/>
              <a:ext cx="232" cy="219"/>
            </a:xfrm>
            <a:custGeom>
              <a:avLst/>
              <a:gdLst>
                <a:gd name="T0" fmla="*/ 0 w 267"/>
                <a:gd name="T1" fmla="*/ 55 h 262"/>
                <a:gd name="T2" fmla="*/ 15 w 267"/>
                <a:gd name="T3" fmla="*/ 79 h 262"/>
                <a:gd name="T4" fmla="*/ 11 w 267"/>
                <a:gd name="T5" fmla="*/ 91 h 262"/>
                <a:gd name="T6" fmla="*/ 17 w 267"/>
                <a:gd name="T7" fmla="*/ 104 h 262"/>
                <a:gd name="T8" fmla="*/ 27 w 267"/>
                <a:gd name="T9" fmla="*/ 107 h 262"/>
                <a:gd name="T10" fmla="*/ 40 w 267"/>
                <a:gd name="T11" fmla="*/ 100 h 262"/>
                <a:gd name="T12" fmla="*/ 56 w 267"/>
                <a:gd name="T13" fmla="*/ 99 h 262"/>
                <a:gd name="T14" fmla="*/ 80 w 267"/>
                <a:gd name="T15" fmla="*/ 90 h 262"/>
                <a:gd name="T16" fmla="*/ 102 w 267"/>
                <a:gd name="T17" fmla="*/ 79 h 262"/>
                <a:gd name="T18" fmla="*/ 129 w 267"/>
                <a:gd name="T19" fmla="*/ 48 h 262"/>
                <a:gd name="T20" fmla="*/ 133 w 267"/>
                <a:gd name="T21" fmla="*/ 41 h 262"/>
                <a:gd name="T22" fmla="*/ 124 w 267"/>
                <a:gd name="T23" fmla="*/ 40 h 262"/>
                <a:gd name="T24" fmla="*/ 116 w 267"/>
                <a:gd name="T25" fmla="*/ 46 h 262"/>
                <a:gd name="T26" fmla="*/ 110 w 267"/>
                <a:gd name="T27" fmla="*/ 44 h 262"/>
                <a:gd name="T28" fmla="*/ 112 w 267"/>
                <a:gd name="T29" fmla="*/ 37 h 262"/>
                <a:gd name="T30" fmla="*/ 116 w 267"/>
                <a:gd name="T31" fmla="*/ 33 h 262"/>
                <a:gd name="T32" fmla="*/ 124 w 267"/>
                <a:gd name="T33" fmla="*/ 33 h 262"/>
                <a:gd name="T34" fmla="*/ 119 w 267"/>
                <a:gd name="T35" fmla="*/ 6 h 262"/>
                <a:gd name="T36" fmla="*/ 103 w 267"/>
                <a:gd name="T37" fmla="*/ 0 h 262"/>
                <a:gd name="T38" fmla="*/ 72 w 267"/>
                <a:gd name="T39" fmla="*/ 19 h 262"/>
                <a:gd name="T40" fmla="*/ 75 w 267"/>
                <a:gd name="T41" fmla="*/ 28 h 262"/>
                <a:gd name="T42" fmla="*/ 70 w 267"/>
                <a:gd name="T43" fmla="*/ 32 h 262"/>
                <a:gd name="T44" fmla="*/ 53 w 267"/>
                <a:gd name="T45" fmla="*/ 28 h 262"/>
                <a:gd name="T46" fmla="*/ 43 w 267"/>
                <a:gd name="T47" fmla="*/ 37 h 262"/>
                <a:gd name="T48" fmla="*/ 31 w 267"/>
                <a:gd name="T49" fmla="*/ 41 h 262"/>
                <a:gd name="T50" fmla="*/ 24 w 267"/>
                <a:gd name="T51" fmla="*/ 36 h 262"/>
                <a:gd name="T52" fmla="*/ 24 w 267"/>
                <a:gd name="T53" fmla="*/ 53 h 262"/>
                <a:gd name="T54" fmla="*/ 17 w 267"/>
                <a:gd name="T55" fmla="*/ 60 h 262"/>
                <a:gd name="T56" fmla="*/ 9 w 267"/>
                <a:gd name="T57" fmla="*/ 58 h 262"/>
                <a:gd name="T58" fmla="*/ 7 w 267"/>
                <a:gd name="T59" fmla="*/ 48 h 262"/>
                <a:gd name="T60" fmla="*/ 0 w 267"/>
                <a:gd name="T61" fmla="*/ 55 h 262"/>
                <a:gd name="T62" fmla="*/ 0 w 267"/>
                <a:gd name="T63" fmla="*/ 55 h 26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7" h="262">
                  <a:moveTo>
                    <a:pt x="0" y="135"/>
                  </a:moveTo>
                  <a:lnTo>
                    <a:pt x="30" y="192"/>
                  </a:lnTo>
                  <a:lnTo>
                    <a:pt x="23" y="224"/>
                  </a:lnTo>
                  <a:lnTo>
                    <a:pt x="35" y="255"/>
                  </a:lnTo>
                  <a:lnTo>
                    <a:pt x="55" y="262"/>
                  </a:lnTo>
                  <a:lnTo>
                    <a:pt x="81" y="245"/>
                  </a:lnTo>
                  <a:lnTo>
                    <a:pt x="113" y="242"/>
                  </a:lnTo>
                  <a:lnTo>
                    <a:pt x="161" y="220"/>
                  </a:lnTo>
                  <a:lnTo>
                    <a:pt x="205" y="195"/>
                  </a:lnTo>
                  <a:lnTo>
                    <a:pt x="262" y="117"/>
                  </a:lnTo>
                  <a:lnTo>
                    <a:pt x="267" y="100"/>
                  </a:lnTo>
                  <a:lnTo>
                    <a:pt x="252" y="97"/>
                  </a:lnTo>
                  <a:lnTo>
                    <a:pt x="235" y="112"/>
                  </a:lnTo>
                  <a:lnTo>
                    <a:pt x="222" y="110"/>
                  </a:lnTo>
                  <a:lnTo>
                    <a:pt x="228" y="90"/>
                  </a:lnTo>
                  <a:lnTo>
                    <a:pt x="232" y="82"/>
                  </a:lnTo>
                  <a:lnTo>
                    <a:pt x="250" y="82"/>
                  </a:lnTo>
                  <a:lnTo>
                    <a:pt x="242" y="14"/>
                  </a:lnTo>
                  <a:lnTo>
                    <a:pt x="207" y="0"/>
                  </a:lnTo>
                  <a:lnTo>
                    <a:pt x="146" y="47"/>
                  </a:lnTo>
                  <a:lnTo>
                    <a:pt x="151" y="69"/>
                  </a:lnTo>
                  <a:lnTo>
                    <a:pt x="140" y="79"/>
                  </a:lnTo>
                  <a:lnTo>
                    <a:pt x="106" y="69"/>
                  </a:lnTo>
                  <a:lnTo>
                    <a:pt x="88" y="90"/>
                  </a:lnTo>
                  <a:lnTo>
                    <a:pt x="63" y="102"/>
                  </a:lnTo>
                  <a:lnTo>
                    <a:pt x="50" y="89"/>
                  </a:lnTo>
                  <a:lnTo>
                    <a:pt x="50" y="129"/>
                  </a:lnTo>
                  <a:lnTo>
                    <a:pt x="35" y="147"/>
                  </a:lnTo>
                  <a:lnTo>
                    <a:pt x="18" y="140"/>
                  </a:lnTo>
                  <a:lnTo>
                    <a:pt x="13" y="117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8" name="Freeform 275"/>
            <p:cNvSpPr>
              <a:spLocks/>
            </p:cNvSpPr>
            <p:nvPr/>
          </p:nvSpPr>
          <p:spPr bwMode="auto">
            <a:xfrm>
              <a:off x="2848" y="3264"/>
              <a:ext cx="232" cy="219"/>
            </a:xfrm>
            <a:custGeom>
              <a:avLst/>
              <a:gdLst>
                <a:gd name="T0" fmla="*/ 0 w 267"/>
                <a:gd name="T1" fmla="*/ 55 h 262"/>
                <a:gd name="T2" fmla="*/ 15 w 267"/>
                <a:gd name="T3" fmla="*/ 79 h 262"/>
                <a:gd name="T4" fmla="*/ 11 w 267"/>
                <a:gd name="T5" fmla="*/ 91 h 262"/>
                <a:gd name="T6" fmla="*/ 17 w 267"/>
                <a:gd name="T7" fmla="*/ 104 h 262"/>
                <a:gd name="T8" fmla="*/ 27 w 267"/>
                <a:gd name="T9" fmla="*/ 107 h 262"/>
                <a:gd name="T10" fmla="*/ 40 w 267"/>
                <a:gd name="T11" fmla="*/ 100 h 262"/>
                <a:gd name="T12" fmla="*/ 56 w 267"/>
                <a:gd name="T13" fmla="*/ 99 h 262"/>
                <a:gd name="T14" fmla="*/ 80 w 267"/>
                <a:gd name="T15" fmla="*/ 90 h 262"/>
                <a:gd name="T16" fmla="*/ 102 w 267"/>
                <a:gd name="T17" fmla="*/ 79 h 262"/>
                <a:gd name="T18" fmla="*/ 129 w 267"/>
                <a:gd name="T19" fmla="*/ 48 h 262"/>
                <a:gd name="T20" fmla="*/ 133 w 267"/>
                <a:gd name="T21" fmla="*/ 41 h 262"/>
                <a:gd name="T22" fmla="*/ 124 w 267"/>
                <a:gd name="T23" fmla="*/ 40 h 262"/>
                <a:gd name="T24" fmla="*/ 116 w 267"/>
                <a:gd name="T25" fmla="*/ 46 h 262"/>
                <a:gd name="T26" fmla="*/ 110 w 267"/>
                <a:gd name="T27" fmla="*/ 44 h 262"/>
                <a:gd name="T28" fmla="*/ 112 w 267"/>
                <a:gd name="T29" fmla="*/ 37 h 262"/>
                <a:gd name="T30" fmla="*/ 116 w 267"/>
                <a:gd name="T31" fmla="*/ 33 h 262"/>
                <a:gd name="T32" fmla="*/ 124 w 267"/>
                <a:gd name="T33" fmla="*/ 33 h 262"/>
                <a:gd name="T34" fmla="*/ 119 w 267"/>
                <a:gd name="T35" fmla="*/ 6 h 262"/>
                <a:gd name="T36" fmla="*/ 103 w 267"/>
                <a:gd name="T37" fmla="*/ 0 h 262"/>
                <a:gd name="T38" fmla="*/ 72 w 267"/>
                <a:gd name="T39" fmla="*/ 19 h 262"/>
                <a:gd name="T40" fmla="*/ 75 w 267"/>
                <a:gd name="T41" fmla="*/ 28 h 262"/>
                <a:gd name="T42" fmla="*/ 70 w 267"/>
                <a:gd name="T43" fmla="*/ 32 h 262"/>
                <a:gd name="T44" fmla="*/ 53 w 267"/>
                <a:gd name="T45" fmla="*/ 28 h 262"/>
                <a:gd name="T46" fmla="*/ 43 w 267"/>
                <a:gd name="T47" fmla="*/ 37 h 262"/>
                <a:gd name="T48" fmla="*/ 31 w 267"/>
                <a:gd name="T49" fmla="*/ 41 h 262"/>
                <a:gd name="T50" fmla="*/ 24 w 267"/>
                <a:gd name="T51" fmla="*/ 36 h 262"/>
                <a:gd name="T52" fmla="*/ 24 w 267"/>
                <a:gd name="T53" fmla="*/ 53 h 262"/>
                <a:gd name="T54" fmla="*/ 17 w 267"/>
                <a:gd name="T55" fmla="*/ 60 h 262"/>
                <a:gd name="T56" fmla="*/ 9 w 267"/>
                <a:gd name="T57" fmla="*/ 58 h 262"/>
                <a:gd name="T58" fmla="*/ 7 w 267"/>
                <a:gd name="T59" fmla="*/ 48 h 262"/>
                <a:gd name="T60" fmla="*/ 0 w 267"/>
                <a:gd name="T61" fmla="*/ 55 h 262"/>
                <a:gd name="T62" fmla="*/ 0 w 267"/>
                <a:gd name="T63" fmla="*/ 55 h 26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7" h="262">
                  <a:moveTo>
                    <a:pt x="0" y="135"/>
                  </a:moveTo>
                  <a:lnTo>
                    <a:pt x="30" y="192"/>
                  </a:lnTo>
                  <a:lnTo>
                    <a:pt x="23" y="224"/>
                  </a:lnTo>
                  <a:lnTo>
                    <a:pt x="35" y="255"/>
                  </a:lnTo>
                  <a:lnTo>
                    <a:pt x="55" y="262"/>
                  </a:lnTo>
                  <a:lnTo>
                    <a:pt x="81" y="245"/>
                  </a:lnTo>
                  <a:lnTo>
                    <a:pt x="113" y="242"/>
                  </a:lnTo>
                  <a:lnTo>
                    <a:pt x="161" y="220"/>
                  </a:lnTo>
                  <a:lnTo>
                    <a:pt x="205" y="195"/>
                  </a:lnTo>
                  <a:lnTo>
                    <a:pt x="262" y="117"/>
                  </a:lnTo>
                  <a:lnTo>
                    <a:pt x="267" y="100"/>
                  </a:lnTo>
                  <a:lnTo>
                    <a:pt x="252" y="97"/>
                  </a:lnTo>
                  <a:lnTo>
                    <a:pt x="235" y="112"/>
                  </a:lnTo>
                  <a:lnTo>
                    <a:pt x="222" y="110"/>
                  </a:lnTo>
                  <a:lnTo>
                    <a:pt x="228" y="90"/>
                  </a:lnTo>
                  <a:lnTo>
                    <a:pt x="232" y="82"/>
                  </a:lnTo>
                  <a:lnTo>
                    <a:pt x="250" y="82"/>
                  </a:lnTo>
                  <a:lnTo>
                    <a:pt x="242" y="14"/>
                  </a:lnTo>
                  <a:lnTo>
                    <a:pt x="207" y="0"/>
                  </a:lnTo>
                  <a:lnTo>
                    <a:pt x="146" y="47"/>
                  </a:lnTo>
                  <a:lnTo>
                    <a:pt x="151" y="69"/>
                  </a:lnTo>
                  <a:lnTo>
                    <a:pt x="140" y="79"/>
                  </a:lnTo>
                  <a:lnTo>
                    <a:pt x="106" y="69"/>
                  </a:lnTo>
                  <a:lnTo>
                    <a:pt x="88" y="90"/>
                  </a:lnTo>
                  <a:lnTo>
                    <a:pt x="63" y="102"/>
                  </a:lnTo>
                  <a:lnTo>
                    <a:pt x="50" y="89"/>
                  </a:lnTo>
                  <a:lnTo>
                    <a:pt x="50" y="129"/>
                  </a:lnTo>
                  <a:lnTo>
                    <a:pt x="35" y="147"/>
                  </a:lnTo>
                  <a:lnTo>
                    <a:pt x="18" y="140"/>
                  </a:lnTo>
                  <a:lnTo>
                    <a:pt x="13" y="117"/>
                  </a:lnTo>
                  <a:lnTo>
                    <a:pt x="0" y="13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9" name="Freeform 276"/>
            <p:cNvSpPr>
              <a:spLocks/>
            </p:cNvSpPr>
            <p:nvPr/>
          </p:nvSpPr>
          <p:spPr bwMode="auto">
            <a:xfrm>
              <a:off x="3040" y="3332"/>
              <a:ext cx="25" cy="25"/>
            </a:xfrm>
            <a:custGeom>
              <a:avLst/>
              <a:gdLst>
                <a:gd name="T0" fmla="*/ 11 w 30"/>
                <a:gd name="T1" fmla="*/ 0 h 30"/>
                <a:gd name="T2" fmla="*/ 4 w 30"/>
                <a:gd name="T3" fmla="*/ 0 h 30"/>
                <a:gd name="T4" fmla="*/ 0 w 30"/>
                <a:gd name="T5" fmla="*/ 11 h 30"/>
                <a:gd name="T6" fmla="*/ 6 w 30"/>
                <a:gd name="T7" fmla="*/ 13 h 30"/>
                <a:gd name="T8" fmla="*/ 13 w 30"/>
                <a:gd name="T9" fmla="*/ 7 h 30"/>
                <a:gd name="T10" fmla="*/ 11 w 30"/>
                <a:gd name="T11" fmla="*/ 0 h 30"/>
                <a:gd name="T12" fmla="*/ 11 w 30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0" h="30">
                  <a:moveTo>
                    <a:pt x="28" y="0"/>
                  </a:moveTo>
                  <a:lnTo>
                    <a:pt x="10" y="0"/>
                  </a:lnTo>
                  <a:lnTo>
                    <a:pt x="0" y="28"/>
                  </a:lnTo>
                  <a:lnTo>
                    <a:pt x="13" y="30"/>
                  </a:lnTo>
                  <a:lnTo>
                    <a:pt x="30" y="1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0" name="Freeform 277"/>
            <p:cNvSpPr>
              <a:spLocks/>
            </p:cNvSpPr>
            <p:nvPr/>
          </p:nvSpPr>
          <p:spPr bwMode="auto">
            <a:xfrm>
              <a:off x="3040" y="3332"/>
              <a:ext cx="25" cy="25"/>
            </a:xfrm>
            <a:custGeom>
              <a:avLst/>
              <a:gdLst>
                <a:gd name="T0" fmla="*/ 11 w 30"/>
                <a:gd name="T1" fmla="*/ 0 h 30"/>
                <a:gd name="T2" fmla="*/ 4 w 30"/>
                <a:gd name="T3" fmla="*/ 0 h 30"/>
                <a:gd name="T4" fmla="*/ 0 w 30"/>
                <a:gd name="T5" fmla="*/ 11 h 30"/>
                <a:gd name="T6" fmla="*/ 6 w 30"/>
                <a:gd name="T7" fmla="*/ 13 h 30"/>
                <a:gd name="T8" fmla="*/ 13 w 30"/>
                <a:gd name="T9" fmla="*/ 7 h 30"/>
                <a:gd name="T10" fmla="*/ 11 w 30"/>
                <a:gd name="T11" fmla="*/ 0 h 30"/>
                <a:gd name="T12" fmla="*/ 11 w 30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0" h="30">
                  <a:moveTo>
                    <a:pt x="28" y="0"/>
                  </a:moveTo>
                  <a:lnTo>
                    <a:pt x="10" y="0"/>
                  </a:lnTo>
                  <a:lnTo>
                    <a:pt x="0" y="28"/>
                  </a:lnTo>
                  <a:lnTo>
                    <a:pt x="13" y="30"/>
                  </a:lnTo>
                  <a:lnTo>
                    <a:pt x="30" y="15"/>
                  </a:lnTo>
                  <a:lnTo>
                    <a:pt x="2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1" name="Freeform 278"/>
            <p:cNvSpPr>
              <a:spLocks/>
            </p:cNvSpPr>
            <p:nvPr/>
          </p:nvSpPr>
          <p:spPr bwMode="auto">
            <a:xfrm>
              <a:off x="2993" y="3373"/>
              <a:ext cx="32" cy="33"/>
            </a:xfrm>
            <a:custGeom>
              <a:avLst/>
              <a:gdLst>
                <a:gd name="T0" fmla="*/ 12 w 38"/>
                <a:gd name="T1" fmla="*/ 0 h 40"/>
                <a:gd name="T2" fmla="*/ 3 w 38"/>
                <a:gd name="T3" fmla="*/ 2 h 40"/>
                <a:gd name="T4" fmla="*/ 0 w 38"/>
                <a:gd name="T5" fmla="*/ 8 h 40"/>
                <a:gd name="T6" fmla="*/ 3 w 38"/>
                <a:gd name="T7" fmla="*/ 15 h 40"/>
                <a:gd name="T8" fmla="*/ 9 w 38"/>
                <a:gd name="T9" fmla="*/ 15 h 40"/>
                <a:gd name="T10" fmla="*/ 16 w 38"/>
                <a:gd name="T11" fmla="*/ 8 h 40"/>
                <a:gd name="T12" fmla="*/ 16 w 38"/>
                <a:gd name="T13" fmla="*/ 5 h 40"/>
                <a:gd name="T14" fmla="*/ 16 w 38"/>
                <a:gd name="T15" fmla="*/ 2 h 40"/>
                <a:gd name="T16" fmla="*/ 12 w 38"/>
                <a:gd name="T17" fmla="*/ 0 h 40"/>
                <a:gd name="T18" fmla="*/ 12 w 38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8" h="40">
                  <a:moveTo>
                    <a:pt x="28" y="0"/>
                  </a:moveTo>
                  <a:lnTo>
                    <a:pt x="7" y="7"/>
                  </a:lnTo>
                  <a:lnTo>
                    <a:pt x="0" y="22"/>
                  </a:lnTo>
                  <a:lnTo>
                    <a:pt x="8" y="40"/>
                  </a:lnTo>
                  <a:lnTo>
                    <a:pt x="23" y="40"/>
                  </a:lnTo>
                  <a:lnTo>
                    <a:pt x="38" y="20"/>
                  </a:lnTo>
                  <a:lnTo>
                    <a:pt x="37" y="12"/>
                  </a:lnTo>
                  <a:lnTo>
                    <a:pt x="37" y="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2" name="Freeform 279"/>
            <p:cNvSpPr>
              <a:spLocks/>
            </p:cNvSpPr>
            <p:nvPr/>
          </p:nvSpPr>
          <p:spPr bwMode="auto">
            <a:xfrm>
              <a:off x="2993" y="3373"/>
              <a:ext cx="32" cy="33"/>
            </a:xfrm>
            <a:custGeom>
              <a:avLst/>
              <a:gdLst>
                <a:gd name="T0" fmla="*/ 12 w 38"/>
                <a:gd name="T1" fmla="*/ 0 h 40"/>
                <a:gd name="T2" fmla="*/ 3 w 38"/>
                <a:gd name="T3" fmla="*/ 2 h 40"/>
                <a:gd name="T4" fmla="*/ 0 w 38"/>
                <a:gd name="T5" fmla="*/ 8 h 40"/>
                <a:gd name="T6" fmla="*/ 3 w 38"/>
                <a:gd name="T7" fmla="*/ 15 h 40"/>
                <a:gd name="T8" fmla="*/ 9 w 38"/>
                <a:gd name="T9" fmla="*/ 15 h 40"/>
                <a:gd name="T10" fmla="*/ 16 w 38"/>
                <a:gd name="T11" fmla="*/ 8 h 40"/>
                <a:gd name="T12" fmla="*/ 16 w 38"/>
                <a:gd name="T13" fmla="*/ 5 h 40"/>
                <a:gd name="T14" fmla="*/ 16 w 38"/>
                <a:gd name="T15" fmla="*/ 2 h 40"/>
                <a:gd name="T16" fmla="*/ 12 w 38"/>
                <a:gd name="T17" fmla="*/ 0 h 40"/>
                <a:gd name="T18" fmla="*/ 12 w 38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8" h="40">
                  <a:moveTo>
                    <a:pt x="28" y="0"/>
                  </a:moveTo>
                  <a:lnTo>
                    <a:pt x="7" y="7"/>
                  </a:lnTo>
                  <a:lnTo>
                    <a:pt x="0" y="22"/>
                  </a:lnTo>
                  <a:lnTo>
                    <a:pt x="8" y="40"/>
                  </a:lnTo>
                  <a:lnTo>
                    <a:pt x="23" y="40"/>
                  </a:lnTo>
                  <a:lnTo>
                    <a:pt x="38" y="20"/>
                  </a:lnTo>
                  <a:lnTo>
                    <a:pt x="37" y="12"/>
                  </a:lnTo>
                  <a:lnTo>
                    <a:pt x="37" y="5"/>
                  </a:lnTo>
                  <a:lnTo>
                    <a:pt x="2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3" name="Freeform 280"/>
            <p:cNvSpPr>
              <a:spLocks/>
            </p:cNvSpPr>
            <p:nvPr/>
          </p:nvSpPr>
          <p:spPr bwMode="auto">
            <a:xfrm>
              <a:off x="3232" y="3104"/>
              <a:ext cx="118" cy="212"/>
            </a:xfrm>
            <a:custGeom>
              <a:avLst/>
              <a:gdLst>
                <a:gd name="T0" fmla="*/ 11 w 138"/>
                <a:gd name="T1" fmla="*/ 41 h 253"/>
                <a:gd name="T2" fmla="*/ 13 w 138"/>
                <a:gd name="T3" fmla="*/ 59 h 253"/>
                <a:gd name="T4" fmla="*/ 0 w 138"/>
                <a:gd name="T5" fmla="*/ 77 h 253"/>
                <a:gd name="T6" fmla="*/ 3 w 138"/>
                <a:gd name="T7" fmla="*/ 80 h 253"/>
                <a:gd name="T8" fmla="*/ 3 w 138"/>
                <a:gd name="T9" fmla="*/ 101 h 253"/>
                <a:gd name="T10" fmla="*/ 13 w 138"/>
                <a:gd name="T11" fmla="*/ 105 h 253"/>
                <a:gd name="T12" fmla="*/ 20 w 138"/>
                <a:gd name="T13" fmla="*/ 101 h 253"/>
                <a:gd name="T14" fmla="*/ 27 w 138"/>
                <a:gd name="T15" fmla="*/ 102 h 253"/>
                <a:gd name="T16" fmla="*/ 35 w 138"/>
                <a:gd name="T17" fmla="*/ 90 h 253"/>
                <a:gd name="T18" fmla="*/ 37 w 138"/>
                <a:gd name="T19" fmla="*/ 83 h 253"/>
                <a:gd name="T20" fmla="*/ 53 w 138"/>
                <a:gd name="T21" fmla="*/ 49 h 253"/>
                <a:gd name="T22" fmla="*/ 53 w 138"/>
                <a:gd name="T23" fmla="*/ 41 h 253"/>
                <a:gd name="T24" fmla="*/ 56 w 138"/>
                <a:gd name="T25" fmla="*/ 39 h 253"/>
                <a:gd name="T26" fmla="*/ 54 w 138"/>
                <a:gd name="T27" fmla="*/ 23 h 253"/>
                <a:gd name="T28" fmla="*/ 58 w 138"/>
                <a:gd name="T29" fmla="*/ 28 h 253"/>
                <a:gd name="T30" fmla="*/ 61 w 138"/>
                <a:gd name="T31" fmla="*/ 36 h 253"/>
                <a:gd name="T32" fmla="*/ 62 w 138"/>
                <a:gd name="T33" fmla="*/ 34 h 253"/>
                <a:gd name="T34" fmla="*/ 63 w 138"/>
                <a:gd name="T35" fmla="*/ 22 h 253"/>
                <a:gd name="T36" fmla="*/ 61 w 138"/>
                <a:gd name="T37" fmla="*/ 13 h 253"/>
                <a:gd name="T38" fmla="*/ 56 w 138"/>
                <a:gd name="T39" fmla="*/ 5 h 253"/>
                <a:gd name="T40" fmla="*/ 53 w 138"/>
                <a:gd name="T41" fmla="*/ 0 h 253"/>
                <a:gd name="T42" fmla="*/ 38 w 138"/>
                <a:gd name="T43" fmla="*/ 28 h 253"/>
                <a:gd name="T44" fmla="*/ 31 w 138"/>
                <a:gd name="T45" fmla="*/ 27 h 253"/>
                <a:gd name="T46" fmla="*/ 28 w 138"/>
                <a:gd name="T47" fmla="*/ 33 h 253"/>
                <a:gd name="T48" fmla="*/ 23 w 138"/>
                <a:gd name="T49" fmla="*/ 32 h 253"/>
                <a:gd name="T50" fmla="*/ 14 w 138"/>
                <a:gd name="T51" fmla="*/ 38 h 253"/>
                <a:gd name="T52" fmla="*/ 11 w 138"/>
                <a:gd name="T53" fmla="*/ 41 h 253"/>
                <a:gd name="T54" fmla="*/ 11 w 138"/>
                <a:gd name="T55" fmla="*/ 41 h 25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38" h="253">
                  <a:moveTo>
                    <a:pt x="23" y="102"/>
                  </a:moveTo>
                  <a:lnTo>
                    <a:pt x="27" y="141"/>
                  </a:lnTo>
                  <a:lnTo>
                    <a:pt x="0" y="186"/>
                  </a:lnTo>
                  <a:lnTo>
                    <a:pt x="3" y="193"/>
                  </a:lnTo>
                  <a:lnTo>
                    <a:pt x="7" y="243"/>
                  </a:lnTo>
                  <a:lnTo>
                    <a:pt x="27" y="253"/>
                  </a:lnTo>
                  <a:lnTo>
                    <a:pt x="42" y="243"/>
                  </a:lnTo>
                  <a:lnTo>
                    <a:pt x="60" y="246"/>
                  </a:lnTo>
                  <a:lnTo>
                    <a:pt x="77" y="218"/>
                  </a:lnTo>
                  <a:lnTo>
                    <a:pt x="80" y="200"/>
                  </a:lnTo>
                  <a:lnTo>
                    <a:pt x="115" y="117"/>
                  </a:lnTo>
                  <a:lnTo>
                    <a:pt x="115" y="98"/>
                  </a:lnTo>
                  <a:lnTo>
                    <a:pt x="122" y="95"/>
                  </a:lnTo>
                  <a:lnTo>
                    <a:pt x="118" y="57"/>
                  </a:lnTo>
                  <a:lnTo>
                    <a:pt x="127" y="67"/>
                  </a:lnTo>
                  <a:lnTo>
                    <a:pt x="132" y="87"/>
                  </a:lnTo>
                  <a:lnTo>
                    <a:pt x="135" y="82"/>
                  </a:lnTo>
                  <a:lnTo>
                    <a:pt x="138" y="53"/>
                  </a:lnTo>
                  <a:lnTo>
                    <a:pt x="132" y="30"/>
                  </a:lnTo>
                  <a:lnTo>
                    <a:pt x="123" y="12"/>
                  </a:lnTo>
                  <a:lnTo>
                    <a:pt x="115" y="0"/>
                  </a:lnTo>
                  <a:lnTo>
                    <a:pt x="82" y="67"/>
                  </a:lnTo>
                  <a:lnTo>
                    <a:pt x="67" y="65"/>
                  </a:lnTo>
                  <a:lnTo>
                    <a:pt x="63" y="80"/>
                  </a:lnTo>
                  <a:lnTo>
                    <a:pt x="52" y="77"/>
                  </a:lnTo>
                  <a:lnTo>
                    <a:pt x="30" y="93"/>
                  </a:lnTo>
                  <a:lnTo>
                    <a:pt x="23" y="10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4" name="Freeform 281"/>
            <p:cNvSpPr>
              <a:spLocks/>
            </p:cNvSpPr>
            <p:nvPr/>
          </p:nvSpPr>
          <p:spPr bwMode="auto">
            <a:xfrm>
              <a:off x="3232" y="3104"/>
              <a:ext cx="118" cy="212"/>
            </a:xfrm>
            <a:custGeom>
              <a:avLst/>
              <a:gdLst>
                <a:gd name="T0" fmla="*/ 11 w 138"/>
                <a:gd name="T1" fmla="*/ 41 h 253"/>
                <a:gd name="T2" fmla="*/ 13 w 138"/>
                <a:gd name="T3" fmla="*/ 59 h 253"/>
                <a:gd name="T4" fmla="*/ 0 w 138"/>
                <a:gd name="T5" fmla="*/ 77 h 253"/>
                <a:gd name="T6" fmla="*/ 3 w 138"/>
                <a:gd name="T7" fmla="*/ 80 h 253"/>
                <a:gd name="T8" fmla="*/ 3 w 138"/>
                <a:gd name="T9" fmla="*/ 101 h 253"/>
                <a:gd name="T10" fmla="*/ 13 w 138"/>
                <a:gd name="T11" fmla="*/ 105 h 253"/>
                <a:gd name="T12" fmla="*/ 20 w 138"/>
                <a:gd name="T13" fmla="*/ 101 h 253"/>
                <a:gd name="T14" fmla="*/ 27 w 138"/>
                <a:gd name="T15" fmla="*/ 102 h 253"/>
                <a:gd name="T16" fmla="*/ 35 w 138"/>
                <a:gd name="T17" fmla="*/ 90 h 253"/>
                <a:gd name="T18" fmla="*/ 37 w 138"/>
                <a:gd name="T19" fmla="*/ 83 h 253"/>
                <a:gd name="T20" fmla="*/ 53 w 138"/>
                <a:gd name="T21" fmla="*/ 49 h 253"/>
                <a:gd name="T22" fmla="*/ 53 w 138"/>
                <a:gd name="T23" fmla="*/ 41 h 253"/>
                <a:gd name="T24" fmla="*/ 56 w 138"/>
                <a:gd name="T25" fmla="*/ 39 h 253"/>
                <a:gd name="T26" fmla="*/ 54 w 138"/>
                <a:gd name="T27" fmla="*/ 23 h 253"/>
                <a:gd name="T28" fmla="*/ 58 w 138"/>
                <a:gd name="T29" fmla="*/ 28 h 253"/>
                <a:gd name="T30" fmla="*/ 61 w 138"/>
                <a:gd name="T31" fmla="*/ 36 h 253"/>
                <a:gd name="T32" fmla="*/ 62 w 138"/>
                <a:gd name="T33" fmla="*/ 34 h 253"/>
                <a:gd name="T34" fmla="*/ 63 w 138"/>
                <a:gd name="T35" fmla="*/ 22 h 253"/>
                <a:gd name="T36" fmla="*/ 61 w 138"/>
                <a:gd name="T37" fmla="*/ 13 h 253"/>
                <a:gd name="T38" fmla="*/ 56 w 138"/>
                <a:gd name="T39" fmla="*/ 5 h 253"/>
                <a:gd name="T40" fmla="*/ 53 w 138"/>
                <a:gd name="T41" fmla="*/ 0 h 253"/>
                <a:gd name="T42" fmla="*/ 38 w 138"/>
                <a:gd name="T43" fmla="*/ 28 h 253"/>
                <a:gd name="T44" fmla="*/ 31 w 138"/>
                <a:gd name="T45" fmla="*/ 27 h 253"/>
                <a:gd name="T46" fmla="*/ 28 w 138"/>
                <a:gd name="T47" fmla="*/ 33 h 253"/>
                <a:gd name="T48" fmla="*/ 23 w 138"/>
                <a:gd name="T49" fmla="*/ 32 h 253"/>
                <a:gd name="T50" fmla="*/ 14 w 138"/>
                <a:gd name="T51" fmla="*/ 38 h 253"/>
                <a:gd name="T52" fmla="*/ 11 w 138"/>
                <a:gd name="T53" fmla="*/ 41 h 253"/>
                <a:gd name="T54" fmla="*/ 11 w 138"/>
                <a:gd name="T55" fmla="*/ 41 h 25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38" h="253">
                  <a:moveTo>
                    <a:pt x="23" y="102"/>
                  </a:moveTo>
                  <a:lnTo>
                    <a:pt x="27" y="141"/>
                  </a:lnTo>
                  <a:lnTo>
                    <a:pt x="0" y="186"/>
                  </a:lnTo>
                  <a:lnTo>
                    <a:pt x="3" y="193"/>
                  </a:lnTo>
                  <a:lnTo>
                    <a:pt x="7" y="243"/>
                  </a:lnTo>
                  <a:lnTo>
                    <a:pt x="27" y="253"/>
                  </a:lnTo>
                  <a:lnTo>
                    <a:pt x="42" y="243"/>
                  </a:lnTo>
                  <a:lnTo>
                    <a:pt x="60" y="246"/>
                  </a:lnTo>
                  <a:lnTo>
                    <a:pt x="77" y="218"/>
                  </a:lnTo>
                  <a:lnTo>
                    <a:pt x="80" y="200"/>
                  </a:lnTo>
                  <a:lnTo>
                    <a:pt x="115" y="117"/>
                  </a:lnTo>
                  <a:lnTo>
                    <a:pt x="115" y="98"/>
                  </a:lnTo>
                  <a:lnTo>
                    <a:pt x="122" y="95"/>
                  </a:lnTo>
                  <a:lnTo>
                    <a:pt x="118" y="57"/>
                  </a:lnTo>
                  <a:lnTo>
                    <a:pt x="127" y="67"/>
                  </a:lnTo>
                  <a:lnTo>
                    <a:pt x="132" y="87"/>
                  </a:lnTo>
                  <a:lnTo>
                    <a:pt x="135" y="82"/>
                  </a:lnTo>
                  <a:lnTo>
                    <a:pt x="138" y="53"/>
                  </a:lnTo>
                  <a:lnTo>
                    <a:pt x="132" y="30"/>
                  </a:lnTo>
                  <a:lnTo>
                    <a:pt x="123" y="12"/>
                  </a:lnTo>
                  <a:lnTo>
                    <a:pt x="115" y="0"/>
                  </a:lnTo>
                  <a:lnTo>
                    <a:pt x="82" y="67"/>
                  </a:lnTo>
                  <a:lnTo>
                    <a:pt x="67" y="65"/>
                  </a:lnTo>
                  <a:lnTo>
                    <a:pt x="63" y="80"/>
                  </a:lnTo>
                  <a:lnTo>
                    <a:pt x="52" y="77"/>
                  </a:lnTo>
                  <a:lnTo>
                    <a:pt x="30" y="93"/>
                  </a:lnTo>
                  <a:lnTo>
                    <a:pt x="23" y="10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5" name="Freeform 282"/>
            <p:cNvSpPr>
              <a:spLocks/>
            </p:cNvSpPr>
            <p:nvPr/>
          </p:nvSpPr>
          <p:spPr bwMode="auto">
            <a:xfrm>
              <a:off x="2610" y="1934"/>
              <a:ext cx="3" cy="12"/>
            </a:xfrm>
            <a:custGeom>
              <a:avLst/>
              <a:gdLst>
                <a:gd name="T0" fmla="*/ 1 w 5"/>
                <a:gd name="T1" fmla="*/ 0 h 15"/>
                <a:gd name="T2" fmla="*/ 1 w 5"/>
                <a:gd name="T3" fmla="*/ 2 h 15"/>
                <a:gd name="T4" fmla="*/ 1 w 5"/>
                <a:gd name="T5" fmla="*/ 5 h 15"/>
                <a:gd name="T6" fmla="*/ 0 w 5"/>
                <a:gd name="T7" fmla="*/ 4 h 15"/>
                <a:gd name="T8" fmla="*/ 1 w 5"/>
                <a:gd name="T9" fmla="*/ 3 h 15"/>
                <a:gd name="T10" fmla="*/ 0 w 5"/>
                <a:gd name="T11" fmla="*/ 2 h 15"/>
                <a:gd name="T12" fmla="*/ 1 w 5"/>
                <a:gd name="T13" fmla="*/ 0 h 15"/>
                <a:gd name="T14" fmla="*/ 1 w 5"/>
                <a:gd name="T15" fmla="*/ 0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" h="15">
                  <a:moveTo>
                    <a:pt x="3" y="0"/>
                  </a:moveTo>
                  <a:lnTo>
                    <a:pt x="5" y="8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2" y="10"/>
                  </a:lnTo>
                  <a:lnTo>
                    <a:pt x="0" y="3"/>
                  </a:lnTo>
                  <a:lnTo>
                    <a:pt x="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6" name="Freeform 283"/>
            <p:cNvSpPr>
              <a:spLocks/>
            </p:cNvSpPr>
            <p:nvPr/>
          </p:nvSpPr>
          <p:spPr bwMode="auto">
            <a:xfrm>
              <a:off x="2603" y="1934"/>
              <a:ext cx="5" cy="9"/>
            </a:xfrm>
            <a:custGeom>
              <a:avLst/>
              <a:gdLst>
                <a:gd name="T0" fmla="*/ 1 w 5"/>
                <a:gd name="T1" fmla="*/ 0 h 10"/>
                <a:gd name="T2" fmla="*/ 0 w 5"/>
                <a:gd name="T3" fmla="*/ 5 h 10"/>
                <a:gd name="T4" fmla="*/ 3 w 5"/>
                <a:gd name="T5" fmla="*/ 5 h 10"/>
                <a:gd name="T6" fmla="*/ 5 w 5"/>
                <a:gd name="T7" fmla="*/ 5 h 10"/>
                <a:gd name="T8" fmla="*/ 5 w 5"/>
                <a:gd name="T9" fmla="*/ 3 h 10"/>
                <a:gd name="T10" fmla="*/ 1 w 5"/>
                <a:gd name="T11" fmla="*/ 0 h 10"/>
                <a:gd name="T12" fmla="*/ 1 w 5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10">
                  <a:moveTo>
                    <a:pt x="1" y="0"/>
                  </a:moveTo>
                  <a:lnTo>
                    <a:pt x="0" y="7"/>
                  </a:lnTo>
                  <a:lnTo>
                    <a:pt x="3" y="10"/>
                  </a:lnTo>
                  <a:lnTo>
                    <a:pt x="5" y="5"/>
                  </a:lnTo>
                  <a:lnTo>
                    <a:pt x="5" y="3"/>
                  </a:lnTo>
                  <a:lnTo>
                    <a:pt x="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7" name="Freeform 284"/>
            <p:cNvSpPr>
              <a:spLocks/>
            </p:cNvSpPr>
            <p:nvPr/>
          </p:nvSpPr>
          <p:spPr bwMode="auto">
            <a:xfrm>
              <a:off x="2606" y="1917"/>
              <a:ext cx="10" cy="12"/>
            </a:xfrm>
            <a:custGeom>
              <a:avLst/>
              <a:gdLst>
                <a:gd name="T0" fmla="*/ 2 w 13"/>
                <a:gd name="T1" fmla="*/ 5 h 13"/>
                <a:gd name="T2" fmla="*/ 0 w 13"/>
                <a:gd name="T3" fmla="*/ 6 h 13"/>
                <a:gd name="T4" fmla="*/ 2 w 13"/>
                <a:gd name="T5" fmla="*/ 8 h 13"/>
                <a:gd name="T6" fmla="*/ 3 w 13"/>
                <a:gd name="T7" fmla="*/ 6 h 13"/>
                <a:gd name="T8" fmla="*/ 4 w 13"/>
                <a:gd name="T9" fmla="*/ 5 h 13"/>
                <a:gd name="T10" fmla="*/ 2 w 13"/>
                <a:gd name="T11" fmla="*/ 0 h 13"/>
                <a:gd name="T12" fmla="*/ 2 w 13"/>
                <a:gd name="T13" fmla="*/ 0 h 13"/>
                <a:gd name="T14" fmla="*/ 2 w 13"/>
                <a:gd name="T15" fmla="*/ 5 h 13"/>
                <a:gd name="T16" fmla="*/ 2 w 13"/>
                <a:gd name="T17" fmla="*/ 5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3">
                  <a:moveTo>
                    <a:pt x="2" y="5"/>
                  </a:moveTo>
                  <a:lnTo>
                    <a:pt x="0" y="8"/>
                  </a:lnTo>
                  <a:lnTo>
                    <a:pt x="3" y="13"/>
                  </a:lnTo>
                  <a:lnTo>
                    <a:pt x="12" y="10"/>
                  </a:lnTo>
                  <a:lnTo>
                    <a:pt x="13" y="5"/>
                  </a:lnTo>
                  <a:lnTo>
                    <a:pt x="8" y="0"/>
                  </a:lnTo>
                  <a:lnTo>
                    <a:pt x="2" y="0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8" name="Freeform 285"/>
            <p:cNvSpPr>
              <a:spLocks/>
            </p:cNvSpPr>
            <p:nvPr/>
          </p:nvSpPr>
          <p:spPr bwMode="auto">
            <a:xfrm>
              <a:off x="2606" y="1917"/>
              <a:ext cx="10" cy="12"/>
            </a:xfrm>
            <a:custGeom>
              <a:avLst/>
              <a:gdLst>
                <a:gd name="T0" fmla="*/ 2 w 13"/>
                <a:gd name="T1" fmla="*/ 5 h 13"/>
                <a:gd name="T2" fmla="*/ 0 w 13"/>
                <a:gd name="T3" fmla="*/ 6 h 13"/>
                <a:gd name="T4" fmla="*/ 2 w 13"/>
                <a:gd name="T5" fmla="*/ 8 h 13"/>
                <a:gd name="T6" fmla="*/ 3 w 13"/>
                <a:gd name="T7" fmla="*/ 6 h 13"/>
                <a:gd name="T8" fmla="*/ 4 w 13"/>
                <a:gd name="T9" fmla="*/ 5 h 13"/>
                <a:gd name="T10" fmla="*/ 2 w 13"/>
                <a:gd name="T11" fmla="*/ 0 h 13"/>
                <a:gd name="T12" fmla="*/ 2 w 13"/>
                <a:gd name="T13" fmla="*/ 0 h 13"/>
                <a:gd name="T14" fmla="*/ 2 w 13"/>
                <a:gd name="T15" fmla="*/ 5 h 13"/>
                <a:gd name="T16" fmla="*/ 2 w 13"/>
                <a:gd name="T17" fmla="*/ 5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3">
                  <a:moveTo>
                    <a:pt x="2" y="5"/>
                  </a:moveTo>
                  <a:lnTo>
                    <a:pt x="0" y="8"/>
                  </a:lnTo>
                  <a:lnTo>
                    <a:pt x="3" y="13"/>
                  </a:lnTo>
                  <a:lnTo>
                    <a:pt x="12" y="10"/>
                  </a:lnTo>
                  <a:lnTo>
                    <a:pt x="13" y="5"/>
                  </a:lnTo>
                  <a:lnTo>
                    <a:pt x="8" y="0"/>
                  </a:lnTo>
                  <a:lnTo>
                    <a:pt x="2" y="0"/>
                  </a:lnTo>
                  <a:lnTo>
                    <a:pt x="2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9" name="Freeform 286"/>
            <p:cNvSpPr>
              <a:spLocks/>
            </p:cNvSpPr>
            <p:nvPr/>
          </p:nvSpPr>
          <p:spPr bwMode="auto">
            <a:xfrm>
              <a:off x="2648" y="1913"/>
              <a:ext cx="7" cy="4"/>
            </a:xfrm>
            <a:custGeom>
              <a:avLst/>
              <a:gdLst>
                <a:gd name="T0" fmla="*/ 2 w 9"/>
                <a:gd name="T1" fmla="*/ 0 h 5"/>
                <a:gd name="T2" fmla="*/ 0 w 9"/>
                <a:gd name="T3" fmla="*/ 2 h 5"/>
                <a:gd name="T4" fmla="*/ 2 w 9"/>
                <a:gd name="T5" fmla="*/ 2 h 5"/>
                <a:gd name="T6" fmla="*/ 2 w 9"/>
                <a:gd name="T7" fmla="*/ 2 h 5"/>
                <a:gd name="T8" fmla="*/ 2 w 9"/>
                <a:gd name="T9" fmla="*/ 0 h 5"/>
                <a:gd name="T10" fmla="*/ 2 w 9"/>
                <a:gd name="T11" fmla="*/ 0 h 5"/>
                <a:gd name="T12" fmla="*/ 2 w 9"/>
                <a:gd name="T13" fmla="*/ 0 h 5"/>
                <a:gd name="T14" fmla="*/ 2 w 9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" h="5">
                  <a:moveTo>
                    <a:pt x="4" y="0"/>
                  </a:moveTo>
                  <a:lnTo>
                    <a:pt x="0" y="3"/>
                  </a:lnTo>
                  <a:lnTo>
                    <a:pt x="4" y="5"/>
                  </a:lnTo>
                  <a:lnTo>
                    <a:pt x="9" y="5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0" name="Freeform 287"/>
            <p:cNvSpPr>
              <a:spLocks/>
            </p:cNvSpPr>
            <p:nvPr/>
          </p:nvSpPr>
          <p:spPr bwMode="auto">
            <a:xfrm>
              <a:off x="2591" y="1980"/>
              <a:ext cx="30" cy="28"/>
            </a:xfrm>
            <a:custGeom>
              <a:avLst/>
              <a:gdLst>
                <a:gd name="T0" fmla="*/ 7 w 35"/>
                <a:gd name="T1" fmla="*/ 0 h 35"/>
                <a:gd name="T2" fmla="*/ 3 w 35"/>
                <a:gd name="T3" fmla="*/ 3 h 35"/>
                <a:gd name="T4" fmla="*/ 0 w 35"/>
                <a:gd name="T5" fmla="*/ 8 h 35"/>
                <a:gd name="T6" fmla="*/ 3 w 35"/>
                <a:gd name="T7" fmla="*/ 9 h 35"/>
                <a:gd name="T8" fmla="*/ 4 w 35"/>
                <a:gd name="T9" fmla="*/ 9 h 35"/>
                <a:gd name="T10" fmla="*/ 10 w 35"/>
                <a:gd name="T11" fmla="*/ 11 h 35"/>
                <a:gd name="T12" fmla="*/ 11 w 35"/>
                <a:gd name="T13" fmla="*/ 11 h 35"/>
                <a:gd name="T14" fmla="*/ 16 w 35"/>
                <a:gd name="T15" fmla="*/ 7 h 35"/>
                <a:gd name="T16" fmla="*/ 14 w 35"/>
                <a:gd name="T17" fmla="*/ 2 h 35"/>
                <a:gd name="T18" fmla="*/ 9 w 35"/>
                <a:gd name="T19" fmla="*/ 2 h 35"/>
                <a:gd name="T20" fmla="*/ 7 w 35"/>
                <a:gd name="T21" fmla="*/ 0 h 35"/>
                <a:gd name="T22" fmla="*/ 7 w 35"/>
                <a:gd name="T23" fmla="*/ 0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5" h="35">
                  <a:moveTo>
                    <a:pt x="15" y="0"/>
                  </a:moveTo>
                  <a:lnTo>
                    <a:pt x="4" y="10"/>
                  </a:lnTo>
                  <a:lnTo>
                    <a:pt x="0" y="24"/>
                  </a:lnTo>
                  <a:lnTo>
                    <a:pt x="4" y="29"/>
                  </a:lnTo>
                  <a:lnTo>
                    <a:pt x="9" y="27"/>
                  </a:lnTo>
                  <a:lnTo>
                    <a:pt x="22" y="35"/>
                  </a:lnTo>
                  <a:lnTo>
                    <a:pt x="25" y="34"/>
                  </a:lnTo>
                  <a:lnTo>
                    <a:pt x="35" y="22"/>
                  </a:lnTo>
                  <a:lnTo>
                    <a:pt x="30" y="7"/>
                  </a:lnTo>
                  <a:lnTo>
                    <a:pt x="20" y="4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1" name="Freeform 288"/>
            <p:cNvSpPr>
              <a:spLocks/>
            </p:cNvSpPr>
            <p:nvPr/>
          </p:nvSpPr>
          <p:spPr bwMode="auto">
            <a:xfrm>
              <a:off x="2591" y="1980"/>
              <a:ext cx="30" cy="28"/>
            </a:xfrm>
            <a:custGeom>
              <a:avLst/>
              <a:gdLst>
                <a:gd name="T0" fmla="*/ 7 w 35"/>
                <a:gd name="T1" fmla="*/ 0 h 35"/>
                <a:gd name="T2" fmla="*/ 3 w 35"/>
                <a:gd name="T3" fmla="*/ 3 h 35"/>
                <a:gd name="T4" fmla="*/ 0 w 35"/>
                <a:gd name="T5" fmla="*/ 8 h 35"/>
                <a:gd name="T6" fmla="*/ 3 w 35"/>
                <a:gd name="T7" fmla="*/ 9 h 35"/>
                <a:gd name="T8" fmla="*/ 4 w 35"/>
                <a:gd name="T9" fmla="*/ 9 h 35"/>
                <a:gd name="T10" fmla="*/ 10 w 35"/>
                <a:gd name="T11" fmla="*/ 11 h 35"/>
                <a:gd name="T12" fmla="*/ 11 w 35"/>
                <a:gd name="T13" fmla="*/ 11 h 35"/>
                <a:gd name="T14" fmla="*/ 16 w 35"/>
                <a:gd name="T15" fmla="*/ 7 h 35"/>
                <a:gd name="T16" fmla="*/ 14 w 35"/>
                <a:gd name="T17" fmla="*/ 2 h 35"/>
                <a:gd name="T18" fmla="*/ 9 w 35"/>
                <a:gd name="T19" fmla="*/ 2 h 35"/>
                <a:gd name="T20" fmla="*/ 7 w 35"/>
                <a:gd name="T21" fmla="*/ 0 h 35"/>
                <a:gd name="T22" fmla="*/ 7 w 35"/>
                <a:gd name="T23" fmla="*/ 0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5" h="35">
                  <a:moveTo>
                    <a:pt x="15" y="0"/>
                  </a:moveTo>
                  <a:lnTo>
                    <a:pt x="4" y="10"/>
                  </a:lnTo>
                  <a:lnTo>
                    <a:pt x="0" y="24"/>
                  </a:lnTo>
                  <a:lnTo>
                    <a:pt x="4" y="29"/>
                  </a:lnTo>
                  <a:lnTo>
                    <a:pt x="9" y="27"/>
                  </a:lnTo>
                  <a:lnTo>
                    <a:pt x="22" y="35"/>
                  </a:lnTo>
                  <a:lnTo>
                    <a:pt x="25" y="34"/>
                  </a:lnTo>
                  <a:lnTo>
                    <a:pt x="35" y="22"/>
                  </a:lnTo>
                  <a:lnTo>
                    <a:pt x="30" y="7"/>
                  </a:lnTo>
                  <a:lnTo>
                    <a:pt x="20" y="4"/>
                  </a:lnTo>
                  <a:lnTo>
                    <a:pt x="1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2" name="Freeform 289"/>
            <p:cNvSpPr>
              <a:spLocks/>
            </p:cNvSpPr>
            <p:nvPr/>
          </p:nvSpPr>
          <p:spPr bwMode="auto">
            <a:xfrm>
              <a:off x="2559" y="1976"/>
              <a:ext cx="53" cy="69"/>
            </a:xfrm>
            <a:custGeom>
              <a:avLst/>
              <a:gdLst>
                <a:gd name="T0" fmla="*/ 23 w 63"/>
                <a:gd name="T1" fmla="*/ 3 h 82"/>
                <a:gd name="T2" fmla="*/ 23 w 63"/>
                <a:gd name="T3" fmla="*/ 0 h 82"/>
                <a:gd name="T4" fmla="*/ 17 w 63"/>
                <a:gd name="T5" fmla="*/ 3 h 82"/>
                <a:gd name="T6" fmla="*/ 14 w 63"/>
                <a:gd name="T7" fmla="*/ 3 h 82"/>
                <a:gd name="T8" fmla="*/ 9 w 63"/>
                <a:gd name="T9" fmla="*/ 5 h 82"/>
                <a:gd name="T10" fmla="*/ 13 w 63"/>
                <a:gd name="T11" fmla="*/ 8 h 82"/>
                <a:gd name="T12" fmla="*/ 8 w 63"/>
                <a:gd name="T13" fmla="*/ 8 h 82"/>
                <a:gd name="T14" fmla="*/ 6 w 63"/>
                <a:gd name="T15" fmla="*/ 9 h 82"/>
                <a:gd name="T16" fmla="*/ 7 w 63"/>
                <a:gd name="T17" fmla="*/ 14 h 82"/>
                <a:gd name="T18" fmla="*/ 5 w 63"/>
                <a:gd name="T19" fmla="*/ 16 h 82"/>
                <a:gd name="T20" fmla="*/ 5 w 63"/>
                <a:gd name="T21" fmla="*/ 17 h 82"/>
                <a:gd name="T22" fmla="*/ 8 w 63"/>
                <a:gd name="T23" fmla="*/ 20 h 82"/>
                <a:gd name="T24" fmla="*/ 0 w 63"/>
                <a:gd name="T25" fmla="*/ 28 h 82"/>
                <a:gd name="T26" fmla="*/ 6 w 63"/>
                <a:gd name="T27" fmla="*/ 34 h 82"/>
                <a:gd name="T28" fmla="*/ 13 w 63"/>
                <a:gd name="T29" fmla="*/ 35 h 82"/>
                <a:gd name="T30" fmla="*/ 18 w 63"/>
                <a:gd name="T31" fmla="*/ 29 h 82"/>
                <a:gd name="T32" fmla="*/ 23 w 63"/>
                <a:gd name="T33" fmla="*/ 34 h 82"/>
                <a:gd name="T34" fmla="*/ 24 w 63"/>
                <a:gd name="T35" fmla="*/ 30 h 82"/>
                <a:gd name="T36" fmla="*/ 24 w 63"/>
                <a:gd name="T37" fmla="*/ 24 h 82"/>
                <a:gd name="T38" fmla="*/ 26 w 63"/>
                <a:gd name="T39" fmla="*/ 20 h 82"/>
                <a:gd name="T40" fmla="*/ 27 w 63"/>
                <a:gd name="T41" fmla="*/ 16 h 82"/>
                <a:gd name="T42" fmla="*/ 24 w 63"/>
                <a:gd name="T43" fmla="*/ 16 h 82"/>
                <a:gd name="T44" fmla="*/ 20 w 63"/>
                <a:gd name="T45" fmla="*/ 13 h 82"/>
                <a:gd name="T46" fmla="*/ 18 w 63"/>
                <a:gd name="T47" fmla="*/ 13 h 82"/>
                <a:gd name="T48" fmla="*/ 16 w 63"/>
                <a:gd name="T49" fmla="*/ 11 h 82"/>
                <a:gd name="T50" fmla="*/ 18 w 63"/>
                <a:gd name="T51" fmla="*/ 6 h 82"/>
                <a:gd name="T52" fmla="*/ 23 w 63"/>
                <a:gd name="T53" fmla="*/ 3 h 82"/>
                <a:gd name="T54" fmla="*/ 23 w 63"/>
                <a:gd name="T55" fmla="*/ 3 h 8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63" h="82">
                  <a:moveTo>
                    <a:pt x="53" y="3"/>
                  </a:moveTo>
                  <a:lnTo>
                    <a:pt x="53" y="0"/>
                  </a:lnTo>
                  <a:lnTo>
                    <a:pt x="42" y="7"/>
                  </a:lnTo>
                  <a:lnTo>
                    <a:pt x="33" y="8"/>
                  </a:lnTo>
                  <a:lnTo>
                    <a:pt x="23" y="12"/>
                  </a:lnTo>
                  <a:lnTo>
                    <a:pt x="32" y="20"/>
                  </a:lnTo>
                  <a:lnTo>
                    <a:pt x="18" y="18"/>
                  </a:lnTo>
                  <a:lnTo>
                    <a:pt x="13" y="23"/>
                  </a:lnTo>
                  <a:lnTo>
                    <a:pt x="17" y="35"/>
                  </a:lnTo>
                  <a:lnTo>
                    <a:pt x="12" y="37"/>
                  </a:lnTo>
                  <a:lnTo>
                    <a:pt x="12" y="40"/>
                  </a:lnTo>
                  <a:lnTo>
                    <a:pt x="18" y="48"/>
                  </a:lnTo>
                  <a:lnTo>
                    <a:pt x="0" y="65"/>
                  </a:lnTo>
                  <a:lnTo>
                    <a:pt x="13" y="78"/>
                  </a:lnTo>
                  <a:lnTo>
                    <a:pt x="32" y="82"/>
                  </a:lnTo>
                  <a:lnTo>
                    <a:pt x="43" y="67"/>
                  </a:lnTo>
                  <a:lnTo>
                    <a:pt x="53" y="78"/>
                  </a:lnTo>
                  <a:lnTo>
                    <a:pt x="60" y="72"/>
                  </a:lnTo>
                  <a:lnTo>
                    <a:pt x="57" y="55"/>
                  </a:lnTo>
                  <a:lnTo>
                    <a:pt x="62" y="50"/>
                  </a:lnTo>
                  <a:lnTo>
                    <a:pt x="63" y="37"/>
                  </a:lnTo>
                  <a:lnTo>
                    <a:pt x="60" y="38"/>
                  </a:lnTo>
                  <a:lnTo>
                    <a:pt x="47" y="30"/>
                  </a:lnTo>
                  <a:lnTo>
                    <a:pt x="43" y="32"/>
                  </a:lnTo>
                  <a:lnTo>
                    <a:pt x="38" y="27"/>
                  </a:lnTo>
                  <a:lnTo>
                    <a:pt x="43" y="13"/>
                  </a:lnTo>
                  <a:lnTo>
                    <a:pt x="53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3" name="Freeform 290"/>
            <p:cNvSpPr>
              <a:spLocks/>
            </p:cNvSpPr>
            <p:nvPr/>
          </p:nvSpPr>
          <p:spPr bwMode="auto">
            <a:xfrm>
              <a:off x="2559" y="1976"/>
              <a:ext cx="53" cy="69"/>
            </a:xfrm>
            <a:custGeom>
              <a:avLst/>
              <a:gdLst>
                <a:gd name="T0" fmla="*/ 23 w 63"/>
                <a:gd name="T1" fmla="*/ 3 h 82"/>
                <a:gd name="T2" fmla="*/ 23 w 63"/>
                <a:gd name="T3" fmla="*/ 0 h 82"/>
                <a:gd name="T4" fmla="*/ 17 w 63"/>
                <a:gd name="T5" fmla="*/ 3 h 82"/>
                <a:gd name="T6" fmla="*/ 14 w 63"/>
                <a:gd name="T7" fmla="*/ 3 h 82"/>
                <a:gd name="T8" fmla="*/ 9 w 63"/>
                <a:gd name="T9" fmla="*/ 5 h 82"/>
                <a:gd name="T10" fmla="*/ 13 w 63"/>
                <a:gd name="T11" fmla="*/ 8 h 82"/>
                <a:gd name="T12" fmla="*/ 8 w 63"/>
                <a:gd name="T13" fmla="*/ 8 h 82"/>
                <a:gd name="T14" fmla="*/ 6 w 63"/>
                <a:gd name="T15" fmla="*/ 9 h 82"/>
                <a:gd name="T16" fmla="*/ 7 w 63"/>
                <a:gd name="T17" fmla="*/ 14 h 82"/>
                <a:gd name="T18" fmla="*/ 5 w 63"/>
                <a:gd name="T19" fmla="*/ 16 h 82"/>
                <a:gd name="T20" fmla="*/ 5 w 63"/>
                <a:gd name="T21" fmla="*/ 17 h 82"/>
                <a:gd name="T22" fmla="*/ 8 w 63"/>
                <a:gd name="T23" fmla="*/ 20 h 82"/>
                <a:gd name="T24" fmla="*/ 0 w 63"/>
                <a:gd name="T25" fmla="*/ 28 h 82"/>
                <a:gd name="T26" fmla="*/ 6 w 63"/>
                <a:gd name="T27" fmla="*/ 34 h 82"/>
                <a:gd name="T28" fmla="*/ 13 w 63"/>
                <a:gd name="T29" fmla="*/ 35 h 82"/>
                <a:gd name="T30" fmla="*/ 18 w 63"/>
                <a:gd name="T31" fmla="*/ 29 h 82"/>
                <a:gd name="T32" fmla="*/ 23 w 63"/>
                <a:gd name="T33" fmla="*/ 34 h 82"/>
                <a:gd name="T34" fmla="*/ 24 w 63"/>
                <a:gd name="T35" fmla="*/ 30 h 82"/>
                <a:gd name="T36" fmla="*/ 24 w 63"/>
                <a:gd name="T37" fmla="*/ 24 h 82"/>
                <a:gd name="T38" fmla="*/ 26 w 63"/>
                <a:gd name="T39" fmla="*/ 20 h 82"/>
                <a:gd name="T40" fmla="*/ 27 w 63"/>
                <a:gd name="T41" fmla="*/ 16 h 82"/>
                <a:gd name="T42" fmla="*/ 24 w 63"/>
                <a:gd name="T43" fmla="*/ 16 h 82"/>
                <a:gd name="T44" fmla="*/ 20 w 63"/>
                <a:gd name="T45" fmla="*/ 13 h 82"/>
                <a:gd name="T46" fmla="*/ 18 w 63"/>
                <a:gd name="T47" fmla="*/ 13 h 82"/>
                <a:gd name="T48" fmla="*/ 16 w 63"/>
                <a:gd name="T49" fmla="*/ 11 h 82"/>
                <a:gd name="T50" fmla="*/ 18 w 63"/>
                <a:gd name="T51" fmla="*/ 6 h 82"/>
                <a:gd name="T52" fmla="*/ 23 w 63"/>
                <a:gd name="T53" fmla="*/ 3 h 82"/>
                <a:gd name="T54" fmla="*/ 23 w 63"/>
                <a:gd name="T55" fmla="*/ 3 h 8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63" h="82">
                  <a:moveTo>
                    <a:pt x="53" y="3"/>
                  </a:moveTo>
                  <a:lnTo>
                    <a:pt x="53" y="0"/>
                  </a:lnTo>
                  <a:lnTo>
                    <a:pt x="42" y="7"/>
                  </a:lnTo>
                  <a:lnTo>
                    <a:pt x="33" y="8"/>
                  </a:lnTo>
                  <a:lnTo>
                    <a:pt x="23" y="12"/>
                  </a:lnTo>
                  <a:lnTo>
                    <a:pt x="32" y="20"/>
                  </a:lnTo>
                  <a:lnTo>
                    <a:pt x="18" y="18"/>
                  </a:lnTo>
                  <a:lnTo>
                    <a:pt x="13" y="23"/>
                  </a:lnTo>
                  <a:lnTo>
                    <a:pt x="17" y="35"/>
                  </a:lnTo>
                  <a:lnTo>
                    <a:pt x="12" y="37"/>
                  </a:lnTo>
                  <a:lnTo>
                    <a:pt x="12" y="40"/>
                  </a:lnTo>
                  <a:lnTo>
                    <a:pt x="18" y="48"/>
                  </a:lnTo>
                  <a:lnTo>
                    <a:pt x="0" y="65"/>
                  </a:lnTo>
                  <a:lnTo>
                    <a:pt x="13" y="78"/>
                  </a:lnTo>
                  <a:lnTo>
                    <a:pt x="32" y="82"/>
                  </a:lnTo>
                  <a:lnTo>
                    <a:pt x="43" y="67"/>
                  </a:lnTo>
                  <a:lnTo>
                    <a:pt x="53" y="78"/>
                  </a:lnTo>
                  <a:lnTo>
                    <a:pt x="60" y="72"/>
                  </a:lnTo>
                  <a:lnTo>
                    <a:pt x="57" y="55"/>
                  </a:lnTo>
                  <a:lnTo>
                    <a:pt x="62" y="50"/>
                  </a:lnTo>
                  <a:lnTo>
                    <a:pt x="63" y="37"/>
                  </a:lnTo>
                  <a:lnTo>
                    <a:pt x="60" y="38"/>
                  </a:lnTo>
                  <a:lnTo>
                    <a:pt x="47" y="30"/>
                  </a:lnTo>
                  <a:lnTo>
                    <a:pt x="43" y="32"/>
                  </a:lnTo>
                  <a:lnTo>
                    <a:pt x="38" y="27"/>
                  </a:lnTo>
                  <a:lnTo>
                    <a:pt x="43" y="13"/>
                  </a:lnTo>
                  <a:lnTo>
                    <a:pt x="53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4" name="Freeform 291"/>
            <p:cNvSpPr>
              <a:spLocks/>
            </p:cNvSpPr>
            <p:nvPr/>
          </p:nvSpPr>
          <p:spPr bwMode="auto">
            <a:xfrm>
              <a:off x="2618" y="2016"/>
              <a:ext cx="30" cy="38"/>
            </a:xfrm>
            <a:custGeom>
              <a:avLst/>
              <a:gdLst>
                <a:gd name="T0" fmla="*/ 17 w 33"/>
                <a:gd name="T1" fmla="*/ 2 h 45"/>
                <a:gd name="T2" fmla="*/ 21 w 33"/>
                <a:gd name="T3" fmla="*/ 6 h 45"/>
                <a:gd name="T4" fmla="*/ 17 w 33"/>
                <a:gd name="T5" fmla="*/ 7 h 45"/>
                <a:gd name="T6" fmla="*/ 20 w 33"/>
                <a:gd name="T7" fmla="*/ 10 h 45"/>
                <a:gd name="T8" fmla="*/ 17 w 33"/>
                <a:gd name="T9" fmla="*/ 13 h 45"/>
                <a:gd name="T10" fmla="*/ 17 w 33"/>
                <a:gd name="T11" fmla="*/ 14 h 45"/>
                <a:gd name="T12" fmla="*/ 12 w 33"/>
                <a:gd name="T13" fmla="*/ 19 h 45"/>
                <a:gd name="T14" fmla="*/ 0 w 33"/>
                <a:gd name="T15" fmla="*/ 17 h 45"/>
                <a:gd name="T16" fmla="*/ 2 w 33"/>
                <a:gd name="T17" fmla="*/ 13 h 45"/>
                <a:gd name="T18" fmla="*/ 5 w 33"/>
                <a:gd name="T19" fmla="*/ 12 h 45"/>
                <a:gd name="T20" fmla="*/ 7 w 33"/>
                <a:gd name="T21" fmla="*/ 5 h 45"/>
                <a:gd name="T22" fmla="*/ 5 w 33"/>
                <a:gd name="T23" fmla="*/ 3 h 45"/>
                <a:gd name="T24" fmla="*/ 8 w 33"/>
                <a:gd name="T25" fmla="*/ 0 h 45"/>
                <a:gd name="T26" fmla="*/ 13 w 33"/>
                <a:gd name="T27" fmla="*/ 3 h 45"/>
                <a:gd name="T28" fmla="*/ 17 w 33"/>
                <a:gd name="T29" fmla="*/ 2 h 45"/>
                <a:gd name="T30" fmla="*/ 17 w 33"/>
                <a:gd name="T31" fmla="*/ 2 h 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45">
                  <a:moveTo>
                    <a:pt x="27" y="2"/>
                  </a:moveTo>
                  <a:lnTo>
                    <a:pt x="33" y="14"/>
                  </a:lnTo>
                  <a:lnTo>
                    <a:pt x="28" y="15"/>
                  </a:lnTo>
                  <a:lnTo>
                    <a:pt x="32" y="22"/>
                  </a:lnTo>
                  <a:lnTo>
                    <a:pt x="27" y="30"/>
                  </a:lnTo>
                  <a:lnTo>
                    <a:pt x="28" y="34"/>
                  </a:lnTo>
                  <a:lnTo>
                    <a:pt x="18" y="45"/>
                  </a:lnTo>
                  <a:lnTo>
                    <a:pt x="0" y="40"/>
                  </a:lnTo>
                  <a:lnTo>
                    <a:pt x="2" y="30"/>
                  </a:lnTo>
                  <a:lnTo>
                    <a:pt x="10" y="29"/>
                  </a:lnTo>
                  <a:lnTo>
                    <a:pt x="12" y="12"/>
                  </a:lnTo>
                  <a:lnTo>
                    <a:pt x="10" y="4"/>
                  </a:lnTo>
                  <a:lnTo>
                    <a:pt x="13" y="0"/>
                  </a:lnTo>
                  <a:lnTo>
                    <a:pt x="20" y="5"/>
                  </a:lnTo>
                  <a:lnTo>
                    <a:pt x="27" y="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5" name="Freeform 292"/>
            <p:cNvSpPr>
              <a:spLocks/>
            </p:cNvSpPr>
            <p:nvPr/>
          </p:nvSpPr>
          <p:spPr bwMode="auto">
            <a:xfrm>
              <a:off x="2618" y="2016"/>
              <a:ext cx="30" cy="38"/>
            </a:xfrm>
            <a:custGeom>
              <a:avLst/>
              <a:gdLst>
                <a:gd name="T0" fmla="*/ 17 w 33"/>
                <a:gd name="T1" fmla="*/ 2 h 45"/>
                <a:gd name="T2" fmla="*/ 21 w 33"/>
                <a:gd name="T3" fmla="*/ 6 h 45"/>
                <a:gd name="T4" fmla="*/ 17 w 33"/>
                <a:gd name="T5" fmla="*/ 7 h 45"/>
                <a:gd name="T6" fmla="*/ 20 w 33"/>
                <a:gd name="T7" fmla="*/ 10 h 45"/>
                <a:gd name="T8" fmla="*/ 17 w 33"/>
                <a:gd name="T9" fmla="*/ 13 h 45"/>
                <a:gd name="T10" fmla="*/ 17 w 33"/>
                <a:gd name="T11" fmla="*/ 14 h 45"/>
                <a:gd name="T12" fmla="*/ 12 w 33"/>
                <a:gd name="T13" fmla="*/ 19 h 45"/>
                <a:gd name="T14" fmla="*/ 0 w 33"/>
                <a:gd name="T15" fmla="*/ 17 h 45"/>
                <a:gd name="T16" fmla="*/ 2 w 33"/>
                <a:gd name="T17" fmla="*/ 13 h 45"/>
                <a:gd name="T18" fmla="*/ 5 w 33"/>
                <a:gd name="T19" fmla="*/ 12 h 45"/>
                <a:gd name="T20" fmla="*/ 7 w 33"/>
                <a:gd name="T21" fmla="*/ 5 h 45"/>
                <a:gd name="T22" fmla="*/ 5 w 33"/>
                <a:gd name="T23" fmla="*/ 3 h 45"/>
                <a:gd name="T24" fmla="*/ 8 w 33"/>
                <a:gd name="T25" fmla="*/ 0 h 45"/>
                <a:gd name="T26" fmla="*/ 13 w 33"/>
                <a:gd name="T27" fmla="*/ 3 h 45"/>
                <a:gd name="T28" fmla="*/ 17 w 33"/>
                <a:gd name="T29" fmla="*/ 2 h 45"/>
                <a:gd name="T30" fmla="*/ 17 w 33"/>
                <a:gd name="T31" fmla="*/ 2 h 4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45">
                  <a:moveTo>
                    <a:pt x="27" y="2"/>
                  </a:moveTo>
                  <a:lnTo>
                    <a:pt x="33" y="14"/>
                  </a:lnTo>
                  <a:lnTo>
                    <a:pt x="28" y="15"/>
                  </a:lnTo>
                  <a:lnTo>
                    <a:pt x="32" y="22"/>
                  </a:lnTo>
                  <a:lnTo>
                    <a:pt x="27" y="30"/>
                  </a:lnTo>
                  <a:lnTo>
                    <a:pt x="28" y="34"/>
                  </a:lnTo>
                  <a:lnTo>
                    <a:pt x="18" y="45"/>
                  </a:lnTo>
                  <a:lnTo>
                    <a:pt x="0" y="40"/>
                  </a:lnTo>
                  <a:lnTo>
                    <a:pt x="2" y="30"/>
                  </a:lnTo>
                  <a:lnTo>
                    <a:pt x="10" y="29"/>
                  </a:lnTo>
                  <a:lnTo>
                    <a:pt x="12" y="12"/>
                  </a:lnTo>
                  <a:lnTo>
                    <a:pt x="10" y="4"/>
                  </a:lnTo>
                  <a:lnTo>
                    <a:pt x="13" y="0"/>
                  </a:lnTo>
                  <a:lnTo>
                    <a:pt x="20" y="5"/>
                  </a:lnTo>
                  <a:lnTo>
                    <a:pt x="27" y="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6" name="Freeform 293"/>
            <p:cNvSpPr>
              <a:spLocks/>
            </p:cNvSpPr>
            <p:nvPr/>
          </p:nvSpPr>
          <p:spPr bwMode="auto">
            <a:xfrm>
              <a:off x="2612" y="1981"/>
              <a:ext cx="83" cy="93"/>
            </a:xfrm>
            <a:custGeom>
              <a:avLst/>
              <a:gdLst>
                <a:gd name="T0" fmla="*/ 16 w 96"/>
                <a:gd name="T1" fmla="*/ 13 h 111"/>
                <a:gd name="T2" fmla="*/ 19 w 96"/>
                <a:gd name="T3" fmla="*/ 11 h 111"/>
                <a:gd name="T4" fmla="*/ 21 w 96"/>
                <a:gd name="T5" fmla="*/ 8 h 111"/>
                <a:gd name="T6" fmla="*/ 27 w 96"/>
                <a:gd name="T7" fmla="*/ 3 h 111"/>
                <a:gd name="T8" fmla="*/ 27 w 96"/>
                <a:gd name="T9" fmla="*/ 1 h 111"/>
                <a:gd name="T10" fmla="*/ 28 w 96"/>
                <a:gd name="T11" fmla="*/ 0 h 111"/>
                <a:gd name="T12" fmla="*/ 30 w 96"/>
                <a:gd name="T13" fmla="*/ 3 h 111"/>
                <a:gd name="T14" fmla="*/ 27 w 96"/>
                <a:gd name="T15" fmla="*/ 8 h 111"/>
                <a:gd name="T16" fmla="*/ 31 w 96"/>
                <a:gd name="T17" fmla="*/ 8 h 111"/>
                <a:gd name="T18" fmla="*/ 35 w 96"/>
                <a:gd name="T19" fmla="*/ 11 h 111"/>
                <a:gd name="T20" fmla="*/ 35 w 96"/>
                <a:gd name="T21" fmla="*/ 15 h 111"/>
                <a:gd name="T22" fmla="*/ 36 w 96"/>
                <a:gd name="T23" fmla="*/ 22 h 111"/>
                <a:gd name="T24" fmla="*/ 41 w 96"/>
                <a:gd name="T25" fmla="*/ 22 h 111"/>
                <a:gd name="T26" fmla="*/ 47 w 96"/>
                <a:gd name="T27" fmla="*/ 28 h 111"/>
                <a:gd name="T28" fmla="*/ 46 w 96"/>
                <a:gd name="T29" fmla="*/ 33 h 111"/>
                <a:gd name="T30" fmla="*/ 39 w 96"/>
                <a:gd name="T31" fmla="*/ 37 h 111"/>
                <a:gd name="T32" fmla="*/ 43 w 96"/>
                <a:gd name="T33" fmla="*/ 41 h 111"/>
                <a:gd name="T34" fmla="*/ 41 w 96"/>
                <a:gd name="T35" fmla="*/ 42 h 111"/>
                <a:gd name="T36" fmla="*/ 35 w 96"/>
                <a:gd name="T37" fmla="*/ 44 h 111"/>
                <a:gd name="T38" fmla="*/ 31 w 96"/>
                <a:gd name="T39" fmla="*/ 42 h 111"/>
                <a:gd name="T40" fmla="*/ 30 w 96"/>
                <a:gd name="T41" fmla="*/ 44 h 111"/>
                <a:gd name="T42" fmla="*/ 21 w 96"/>
                <a:gd name="T43" fmla="*/ 44 h 111"/>
                <a:gd name="T44" fmla="*/ 17 w 96"/>
                <a:gd name="T45" fmla="*/ 42 h 111"/>
                <a:gd name="T46" fmla="*/ 8 w 96"/>
                <a:gd name="T47" fmla="*/ 45 h 111"/>
                <a:gd name="T48" fmla="*/ 1 w 96"/>
                <a:gd name="T49" fmla="*/ 44 h 111"/>
                <a:gd name="T50" fmla="*/ 0 w 96"/>
                <a:gd name="T51" fmla="*/ 42 h 111"/>
                <a:gd name="T52" fmla="*/ 3 w 96"/>
                <a:gd name="T53" fmla="*/ 41 h 111"/>
                <a:gd name="T54" fmla="*/ 8 w 96"/>
                <a:gd name="T55" fmla="*/ 38 h 111"/>
                <a:gd name="T56" fmla="*/ 12 w 96"/>
                <a:gd name="T57" fmla="*/ 35 h 111"/>
                <a:gd name="T58" fmla="*/ 16 w 96"/>
                <a:gd name="T59" fmla="*/ 31 h 111"/>
                <a:gd name="T60" fmla="*/ 16 w 96"/>
                <a:gd name="T61" fmla="*/ 28 h 111"/>
                <a:gd name="T62" fmla="*/ 19 w 96"/>
                <a:gd name="T63" fmla="*/ 26 h 111"/>
                <a:gd name="T64" fmla="*/ 17 w 96"/>
                <a:gd name="T65" fmla="*/ 23 h 111"/>
                <a:gd name="T66" fmla="*/ 19 w 96"/>
                <a:gd name="T67" fmla="*/ 23 h 111"/>
                <a:gd name="T68" fmla="*/ 16 w 96"/>
                <a:gd name="T69" fmla="*/ 18 h 111"/>
                <a:gd name="T70" fmla="*/ 16 w 96"/>
                <a:gd name="T71" fmla="*/ 13 h 111"/>
                <a:gd name="T72" fmla="*/ 16 w 96"/>
                <a:gd name="T73" fmla="*/ 13 h 11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6" h="111">
                  <a:moveTo>
                    <a:pt x="35" y="31"/>
                  </a:moveTo>
                  <a:lnTo>
                    <a:pt x="41" y="28"/>
                  </a:lnTo>
                  <a:lnTo>
                    <a:pt x="43" y="18"/>
                  </a:lnTo>
                  <a:lnTo>
                    <a:pt x="55" y="8"/>
                  </a:lnTo>
                  <a:lnTo>
                    <a:pt x="56" y="1"/>
                  </a:lnTo>
                  <a:lnTo>
                    <a:pt x="58" y="0"/>
                  </a:lnTo>
                  <a:lnTo>
                    <a:pt x="61" y="6"/>
                  </a:lnTo>
                  <a:lnTo>
                    <a:pt x="56" y="18"/>
                  </a:lnTo>
                  <a:lnTo>
                    <a:pt x="66" y="18"/>
                  </a:lnTo>
                  <a:lnTo>
                    <a:pt x="71" y="25"/>
                  </a:lnTo>
                  <a:lnTo>
                    <a:pt x="70" y="36"/>
                  </a:lnTo>
                  <a:lnTo>
                    <a:pt x="75" y="53"/>
                  </a:lnTo>
                  <a:lnTo>
                    <a:pt x="85" y="53"/>
                  </a:lnTo>
                  <a:lnTo>
                    <a:pt x="96" y="70"/>
                  </a:lnTo>
                  <a:lnTo>
                    <a:pt x="95" y="80"/>
                  </a:lnTo>
                  <a:lnTo>
                    <a:pt x="80" y="88"/>
                  </a:lnTo>
                  <a:lnTo>
                    <a:pt x="90" y="98"/>
                  </a:lnTo>
                  <a:lnTo>
                    <a:pt x="85" y="103"/>
                  </a:lnTo>
                  <a:lnTo>
                    <a:pt x="71" y="105"/>
                  </a:lnTo>
                  <a:lnTo>
                    <a:pt x="66" y="103"/>
                  </a:lnTo>
                  <a:lnTo>
                    <a:pt x="61" y="106"/>
                  </a:lnTo>
                  <a:lnTo>
                    <a:pt x="43" y="108"/>
                  </a:lnTo>
                  <a:lnTo>
                    <a:pt x="36" y="103"/>
                  </a:lnTo>
                  <a:lnTo>
                    <a:pt x="16" y="111"/>
                  </a:lnTo>
                  <a:lnTo>
                    <a:pt x="1" y="106"/>
                  </a:lnTo>
                  <a:lnTo>
                    <a:pt x="0" y="103"/>
                  </a:lnTo>
                  <a:lnTo>
                    <a:pt x="6" y="101"/>
                  </a:lnTo>
                  <a:lnTo>
                    <a:pt x="15" y="91"/>
                  </a:lnTo>
                  <a:lnTo>
                    <a:pt x="26" y="86"/>
                  </a:lnTo>
                  <a:lnTo>
                    <a:pt x="35" y="75"/>
                  </a:lnTo>
                  <a:lnTo>
                    <a:pt x="35" y="71"/>
                  </a:lnTo>
                  <a:lnTo>
                    <a:pt x="40" y="63"/>
                  </a:lnTo>
                  <a:lnTo>
                    <a:pt x="36" y="55"/>
                  </a:lnTo>
                  <a:lnTo>
                    <a:pt x="41" y="55"/>
                  </a:lnTo>
                  <a:lnTo>
                    <a:pt x="35" y="43"/>
                  </a:lnTo>
                  <a:lnTo>
                    <a:pt x="35" y="3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7" name="Freeform 294"/>
            <p:cNvSpPr>
              <a:spLocks/>
            </p:cNvSpPr>
            <p:nvPr/>
          </p:nvSpPr>
          <p:spPr bwMode="auto">
            <a:xfrm>
              <a:off x="2612" y="1981"/>
              <a:ext cx="83" cy="93"/>
            </a:xfrm>
            <a:custGeom>
              <a:avLst/>
              <a:gdLst>
                <a:gd name="T0" fmla="*/ 16 w 96"/>
                <a:gd name="T1" fmla="*/ 13 h 111"/>
                <a:gd name="T2" fmla="*/ 19 w 96"/>
                <a:gd name="T3" fmla="*/ 11 h 111"/>
                <a:gd name="T4" fmla="*/ 21 w 96"/>
                <a:gd name="T5" fmla="*/ 8 h 111"/>
                <a:gd name="T6" fmla="*/ 27 w 96"/>
                <a:gd name="T7" fmla="*/ 3 h 111"/>
                <a:gd name="T8" fmla="*/ 27 w 96"/>
                <a:gd name="T9" fmla="*/ 1 h 111"/>
                <a:gd name="T10" fmla="*/ 28 w 96"/>
                <a:gd name="T11" fmla="*/ 0 h 111"/>
                <a:gd name="T12" fmla="*/ 30 w 96"/>
                <a:gd name="T13" fmla="*/ 3 h 111"/>
                <a:gd name="T14" fmla="*/ 27 w 96"/>
                <a:gd name="T15" fmla="*/ 8 h 111"/>
                <a:gd name="T16" fmla="*/ 31 w 96"/>
                <a:gd name="T17" fmla="*/ 8 h 111"/>
                <a:gd name="T18" fmla="*/ 35 w 96"/>
                <a:gd name="T19" fmla="*/ 11 h 111"/>
                <a:gd name="T20" fmla="*/ 35 w 96"/>
                <a:gd name="T21" fmla="*/ 15 h 111"/>
                <a:gd name="T22" fmla="*/ 36 w 96"/>
                <a:gd name="T23" fmla="*/ 22 h 111"/>
                <a:gd name="T24" fmla="*/ 41 w 96"/>
                <a:gd name="T25" fmla="*/ 22 h 111"/>
                <a:gd name="T26" fmla="*/ 47 w 96"/>
                <a:gd name="T27" fmla="*/ 28 h 111"/>
                <a:gd name="T28" fmla="*/ 46 w 96"/>
                <a:gd name="T29" fmla="*/ 33 h 111"/>
                <a:gd name="T30" fmla="*/ 39 w 96"/>
                <a:gd name="T31" fmla="*/ 37 h 111"/>
                <a:gd name="T32" fmla="*/ 43 w 96"/>
                <a:gd name="T33" fmla="*/ 41 h 111"/>
                <a:gd name="T34" fmla="*/ 41 w 96"/>
                <a:gd name="T35" fmla="*/ 42 h 111"/>
                <a:gd name="T36" fmla="*/ 35 w 96"/>
                <a:gd name="T37" fmla="*/ 44 h 111"/>
                <a:gd name="T38" fmla="*/ 31 w 96"/>
                <a:gd name="T39" fmla="*/ 42 h 111"/>
                <a:gd name="T40" fmla="*/ 30 w 96"/>
                <a:gd name="T41" fmla="*/ 44 h 111"/>
                <a:gd name="T42" fmla="*/ 21 w 96"/>
                <a:gd name="T43" fmla="*/ 44 h 111"/>
                <a:gd name="T44" fmla="*/ 17 w 96"/>
                <a:gd name="T45" fmla="*/ 42 h 111"/>
                <a:gd name="T46" fmla="*/ 8 w 96"/>
                <a:gd name="T47" fmla="*/ 45 h 111"/>
                <a:gd name="T48" fmla="*/ 1 w 96"/>
                <a:gd name="T49" fmla="*/ 44 h 111"/>
                <a:gd name="T50" fmla="*/ 0 w 96"/>
                <a:gd name="T51" fmla="*/ 42 h 111"/>
                <a:gd name="T52" fmla="*/ 3 w 96"/>
                <a:gd name="T53" fmla="*/ 41 h 111"/>
                <a:gd name="T54" fmla="*/ 8 w 96"/>
                <a:gd name="T55" fmla="*/ 38 h 111"/>
                <a:gd name="T56" fmla="*/ 12 w 96"/>
                <a:gd name="T57" fmla="*/ 35 h 111"/>
                <a:gd name="T58" fmla="*/ 16 w 96"/>
                <a:gd name="T59" fmla="*/ 31 h 111"/>
                <a:gd name="T60" fmla="*/ 16 w 96"/>
                <a:gd name="T61" fmla="*/ 28 h 111"/>
                <a:gd name="T62" fmla="*/ 19 w 96"/>
                <a:gd name="T63" fmla="*/ 26 h 111"/>
                <a:gd name="T64" fmla="*/ 17 w 96"/>
                <a:gd name="T65" fmla="*/ 23 h 111"/>
                <a:gd name="T66" fmla="*/ 19 w 96"/>
                <a:gd name="T67" fmla="*/ 23 h 111"/>
                <a:gd name="T68" fmla="*/ 16 w 96"/>
                <a:gd name="T69" fmla="*/ 18 h 111"/>
                <a:gd name="T70" fmla="*/ 16 w 96"/>
                <a:gd name="T71" fmla="*/ 13 h 111"/>
                <a:gd name="T72" fmla="*/ 16 w 96"/>
                <a:gd name="T73" fmla="*/ 13 h 11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96" h="111">
                  <a:moveTo>
                    <a:pt x="35" y="31"/>
                  </a:moveTo>
                  <a:lnTo>
                    <a:pt x="41" y="28"/>
                  </a:lnTo>
                  <a:lnTo>
                    <a:pt x="43" y="18"/>
                  </a:lnTo>
                  <a:lnTo>
                    <a:pt x="55" y="8"/>
                  </a:lnTo>
                  <a:lnTo>
                    <a:pt x="56" y="1"/>
                  </a:lnTo>
                  <a:lnTo>
                    <a:pt x="58" y="0"/>
                  </a:lnTo>
                  <a:lnTo>
                    <a:pt x="61" y="6"/>
                  </a:lnTo>
                  <a:lnTo>
                    <a:pt x="56" y="18"/>
                  </a:lnTo>
                  <a:lnTo>
                    <a:pt x="66" y="18"/>
                  </a:lnTo>
                  <a:lnTo>
                    <a:pt x="71" y="25"/>
                  </a:lnTo>
                  <a:lnTo>
                    <a:pt x="70" y="36"/>
                  </a:lnTo>
                  <a:lnTo>
                    <a:pt x="75" y="53"/>
                  </a:lnTo>
                  <a:lnTo>
                    <a:pt x="85" y="53"/>
                  </a:lnTo>
                  <a:lnTo>
                    <a:pt x="96" y="70"/>
                  </a:lnTo>
                  <a:lnTo>
                    <a:pt x="95" y="80"/>
                  </a:lnTo>
                  <a:lnTo>
                    <a:pt x="80" y="88"/>
                  </a:lnTo>
                  <a:lnTo>
                    <a:pt x="90" y="98"/>
                  </a:lnTo>
                  <a:lnTo>
                    <a:pt x="85" y="103"/>
                  </a:lnTo>
                  <a:lnTo>
                    <a:pt x="71" y="105"/>
                  </a:lnTo>
                  <a:lnTo>
                    <a:pt x="66" y="103"/>
                  </a:lnTo>
                  <a:lnTo>
                    <a:pt x="61" y="106"/>
                  </a:lnTo>
                  <a:lnTo>
                    <a:pt x="43" y="108"/>
                  </a:lnTo>
                  <a:lnTo>
                    <a:pt x="36" y="103"/>
                  </a:lnTo>
                  <a:lnTo>
                    <a:pt x="16" y="111"/>
                  </a:lnTo>
                  <a:lnTo>
                    <a:pt x="1" y="106"/>
                  </a:lnTo>
                  <a:lnTo>
                    <a:pt x="0" y="103"/>
                  </a:lnTo>
                  <a:lnTo>
                    <a:pt x="6" y="101"/>
                  </a:lnTo>
                  <a:lnTo>
                    <a:pt x="15" y="91"/>
                  </a:lnTo>
                  <a:lnTo>
                    <a:pt x="26" y="86"/>
                  </a:lnTo>
                  <a:lnTo>
                    <a:pt x="35" y="75"/>
                  </a:lnTo>
                  <a:lnTo>
                    <a:pt x="35" y="71"/>
                  </a:lnTo>
                  <a:lnTo>
                    <a:pt x="40" y="63"/>
                  </a:lnTo>
                  <a:lnTo>
                    <a:pt x="36" y="55"/>
                  </a:lnTo>
                  <a:lnTo>
                    <a:pt x="41" y="55"/>
                  </a:lnTo>
                  <a:lnTo>
                    <a:pt x="35" y="43"/>
                  </a:lnTo>
                  <a:lnTo>
                    <a:pt x="35" y="3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8" name="Freeform 295"/>
            <p:cNvSpPr>
              <a:spLocks/>
            </p:cNvSpPr>
            <p:nvPr/>
          </p:nvSpPr>
          <p:spPr bwMode="auto">
            <a:xfrm>
              <a:off x="2615" y="1917"/>
              <a:ext cx="47" cy="91"/>
            </a:xfrm>
            <a:custGeom>
              <a:avLst/>
              <a:gdLst>
                <a:gd name="T0" fmla="*/ 17 w 53"/>
                <a:gd name="T1" fmla="*/ 46 h 108"/>
                <a:gd name="T2" fmla="*/ 14 w 53"/>
                <a:gd name="T3" fmla="*/ 40 h 108"/>
                <a:gd name="T4" fmla="*/ 14 w 53"/>
                <a:gd name="T5" fmla="*/ 36 h 108"/>
                <a:gd name="T6" fmla="*/ 10 w 53"/>
                <a:gd name="T7" fmla="*/ 39 h 108"/>
                <a:gd name="T8" fmla="*/ 6 w 53"/>
                <a:gd name="T9" fmla="*/ 35 h 108"/>
                <a:gd name="T10" fmla="*/ 5 w 53"/>
                <a:gd name="T11" fmla="*/ 29 h 108"/>
                <a:gd name="T12" fmla="*/ 3 w 53"/>
                <a:gd name="T13" fmla="*/ 24 h 108"/>
                <a:gd name="T14" fmla="*/ 0 w 53"/>
                <a:gd name="T15" fmla="*/ 24 h 108"/>
                <a:gd name="T16" fmla="*/ 0 w 53"/>
                <a:gd name="T17" fmla="*/ 20 h 108"/>
                <a:gd name="T18" fmla="*/ 4 w 53"/>
                <a:gd name="T19" fmla="*/ 16 h 108"/>
                <a:gd name="T20" fmla="*/ 3 w 53"/>
                <a:gd name="T21" fmla="*/ 14 h 108"/>
                <a:gd name="T22" fmla="*/ 4 w 53"/>
                <a:gd name="T23" fmla="*/ 8 h 108"/>
                <a:gd name="T24" fmla="*/ 6 w 53"/>
                <a:gd name="T25" fmla="*/ 7 h 108"/>
                <a:gd name="T26" fmla="*/ 4 w 53"/>
                <a:gd name="T27" fmla="*/ 6 h 108"/>
                <a:gd name="T28" fmla="*/ 6 w 53"/>
                <a:gd name="T29" fmla="*/ 2 h 108"/>
                <a:gd name="T30" fmla="*/ 6 w 53"/>
                <a:gd name="T31" fmla="*/ 0 h 108"/>
                <a:gd name="T32" fmla="*/ 19 w 53"/>
                <a:gd name="T33" fmla="*/ 3 h 108"/>
                <a:gd name="T34" fmla="*/ 18 w 53"/>
                <a:gd name="T35" fmla="*/ 5 h 108"/>
                <a:gd name="T36" fmla="*/ 14 w 53"/>
                <a:gd name="T37" fmla="*/ 6 h 108"/>
                <a:gd name="T38" fmla="*/ 12 w 53"/>
                <a:gd name="T39" fmla="*/ 11 h 108"/>
                <a:gd name="T40" fmla="*/ 16 w 53"/>
                <a:gd name="T41" fmla="*/ 9 h 108"/>
                <a:gd name="T42" fmla="*/ 17 w 53"/>
                <a:gd name="T43" fmla="*/ 11 h 108"/>
                <a:gd name="T44" fmla="*/ 21 w 53"/>
                <a:gd name="T45" fmla="*/ 11 h 108"/>
                <a:gd name="T46" fmla="*/ 25 w 53"/>
                <a:gd name="T47" fmla="*/ 14 h 108"/>
                <a:gd name="T48" fmla="*/ 18 w 53"/>
                <a:gd name="T49" fmla="*/ 27 h 108"/>
                <a:gd name="T50" fmla="*/ 27 w 53"/>
                <a:gd name="T51" fmla="*/ 28 h 108"/>
                <a:gd name="T52" fmla="*/ 29 w 53"/>
                <a:gd name="T53" fmla="*/ 33 h 108"/>
                <a:gd name="T54" fmla="*/ 27 w 53"/>
                <a:gd name="T55" fmla="*/ 34 h 108"/>
                <a:gd name="T56" fmla="*/ 27 w 53"/>
                <a:gd name="T57" fmla="*/ 36 h 108"/>
                <a:gd name="T58" fmla="*/ 21 w 53"/>
                <a:gd name="T59" fmla="*/ 40 h 108"/>
                <a:gd name="T60" fmla="*/ 20 w 53"/>
                <a:gd name="T61" fmla="*/ 44 h 108"/>
                <a:gd name="T62" fmla="*/ 17 w 53"/>
                <a:gd name="T63" fmla="*/ 46 h 108"/>
                <a:gd name="T64" fmla="*/ 17 w 53"/>
                <a:gd name="T65" fmla="*/ 46 h 1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53" h="108">
                  <a:moveTo>
                    <a:pt x="30" y="108"/>
                  </a:moveTo>
                  <a:lnTo>
                    <a:pt x="26" y="95"/>
                  </a:lnTo>
                  <a:lnTo>
                    <a:pt x="26" y="85"/>
                  </a:lnTo>
                  <a:lnTo>
                    <a:pt x="18" y="90"/>
                  </a:lnTo>
                  <a:lnTo>
                    <a:pt x="11" y="83"/>
                  </a:lnTo>
                  <a:lnTo>
                    <a:pt x="10" y="68"/>
                  </a:lnTo>
                  <a:lnTo>
                    <a:pt x="3" y="55"/>
                  </a:lnTo>
                  <a:lnTo>
                    <a:pt x="0" y="57"/>
                  </a:lnTo>
                  <a:lnTo>
                    <a:pt x="0" y="48"/>
                  </a:lnTo>
                  <a:lnTo>
                    <a:pt x="6" y="38"/>
                  </a:lnTo>
                  <a:lnTo>
                    <a:pt x="3" y="33"/>
                  </a:lnTo>
                  <a:lnTo>
                    <a:pt x="5" y="20"/>
                  </a:lnTo>
                  <a:lnTo>
                    <a:pt x="11" y="17"/>
                  </a:lnTo>
                  <a:lnTo>
                    <a:pt x="6" y="13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35" y="5"/>
                  </a:lnTo>
                  <a:lnTo>
                    <a:pt x="33" y="12"/>
                  </a:lnTo>
                  <a:lnTo>
                    <a:pt x="26" y="13"/>
                  </a:lnTo>
                  <a:lnTo>
                    <a:pt x="23" y="25"/>
                  </a:lnTo>
                  <a:lnTo>
                    <a:pt x="28" y="23"/>
                  </a:lnTo>
                  <a:lnTo>
                    <a:pt x="31" y="27"/>
                  </a:lnTo>
                  <a:lnTo>
                    <a:pt x="38" y="27"/>
                  </a:lnTo>
                  <a:lnTo>
                    <a:pt x="46" y="35"/>
                  </a:lnTo>
                  <a:lnTo>
                    <a:pt x="33" y="63"/>
                  </a:lnTo>
                  <a:lnTo>
                    <a:pt x="48" y="65"/>
                  </a:lnTo>
                  <a:lnTo>
                    <a:pt x="53" y="77"/>
                  </a:lnTo>
                  <a:lnTo>
                    <a:pt x="50" y="78"/>
                  </a:lnTo>
                  <a:lnTo>
                    <a:pt x="50" y="85"/>
                  </a:lnTo>
                  <a:lnTo>
                    <a:pt x="38" y="95"/>
                  </a:lnTo>
                  <a:lnTo>
                    <a:pt x="36" y="105"/>
                  </a:lnTo>
                  <a:lnTo>
                    <a:pt x="30" y="10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9" name="Freeform 296"/>
            <p:cNvSpPr>
              <a:spLocks/>
            </p:cNvSpPr>
            <p:nvPr/>
          </p:nvSpPr>
          <p:spPr bwMode="auto">
            <a:xfrm>
              <a:off x="2615" y="1917"/>
              <a:ext cx="47" cy="91"/>
            </a:xfrm>
            <a:custGeom>
              <a:avLst/>
              <a:gdLst>
                <a:gd name="T0" fmla="*/ 17 w 53"/>
                <a:gd name="T1" fmla="*/ 46 h 108"/>
                <a:gd name="T2" fmla="*/ 14 w 53"/>
                <a:gd name="T3" fmla="*/ 40 h 108"/>
                <a:gd name="T4" fmla="*/ 14 w 53"/>
                <a:gd name="T5" fmla="*/ 36 h 108"/>
                <a:gd name="T6" fmla="*/ 10 w 53"/>
                <a:gd name="T7" fmla="*/ 39 h 108"/>
                <a:gd name="T8" fmla="*/ 6 w 53"/>
                <a:gd name="T9" fmla="*/ 35 h 108"/>
                <a:gd name="T10" fmla="*/ 5 w 53"/>
                <a:gd name="T11" fmla="*/ 29 h 108"/>
                <a:gd name="T12" fmla="*/ 3 w 53"/>
                <a:gd name="T13" fmla="*/ 24 h 108"/>
                <a:gd name="T14" fmla="*/ 0 w 53"/>
                <a:gd name="T15" fmla="*/ 24 h 108"/>
                <a:gd name="T16" fmla="*/ 0 w 53"/>
                <a:gd name="T17" fmla="*/ 20 h 108"/>
                <a:gd name="T18" fmla="*/ 4 w 53"/>
                <a:gd name="T19" fmla="*/ 16 h 108"/>
                <a:gd name="T20" fmla="*/ 3 w 53"/>
                <a:gd name="T21" fmla="*/ 14 h 108"/>
                <a:gd name="T22" fmla="*/ 4 w 53"/>
                <a:gd name="T23" fmla="*/ 8 h 108"/>
                <a:gd name="T24" fmla="*/ 6 w 53"/>
                <a:gd name="T25" fmla="*/ 7 h 108"/>
                <a:gd name="T26" fmla="*/ 4 w 53"/>
                <a:gd name="T27" fmla="*/ 6 h 108"/>
                <a:gd name="T28" fmla="*/ 6 w 53"/>
                <a:gd name="T29" fmla="*/ 2 h 108"/>
                <a:gd name="T30" fmla="*/ 6 w 53"/>
                <a:gd name="T31" fmla="*/ 0 h 108"/>
                <a:gd name="T32" fmla="*/ 19 w 53"/>
                <a:gd name="T33" fmla="*/ 3 h 108"/>
                <a:gd name="T34" fmla="*/ 18 w 53"/>
                <a:gd name="T35" fmla="*/ 5 h 108"/>
                <a:gd name="T36" fmla="*/ 14 w 53"/>
                <a:gd name="T37" fmla="*/ 6 h 108"/>
                <a:gd name="T38" fmla="*/ 12 w 53"/>
                <a:gd name="T39" fmla="*/ 11 h 108"/>
                <a:gd name="T40" fmla="*/ 16 w 53"/>
                <a:gd name="T41" fmla="*/ 9 h 108"/>
                <a:gd name="T42" fmla="*/ 17 w 53"/>
                <a:gd name="T43" fmla="*/ 11 h 108"/>
                <a:gd name="T44" fmla="*/ 21 w 53"/>
                <a:gd name="T45" fmla="*/ 11 h 108"/>
                <a:gd name="T46" fmla="*/ 25 w 53"/>
                <a:gd name="T47" fmla="*/ 14 h 108"/>
                <a:gd name="T48" fmla="*/ 18 w 53"/>
                <a:gd name="T49" fmla="*/ 27 h 108"/>
                <a:gd name="T50" fmla="*/ 27 w 53"/>
                <a:gd name="T51" fmla="*/ 28 h 108"/>
                <a:gd name="T52" fmla="*/ 29 w 53"/>
                <a:gd name="T53" fmla="*/ 33 h 108"/>
                <a:gd name="T54" fmla="*/ 27 w 53"/>
                <a:gd name="T55" fmla="*/ 34 h 108"/>
                <a:gd name="T56" fmla="*/ 27 w 53"/>
                <a:gd name="T57" fmla="*/ 36 h 108"/>
                <a:gd name="T58" fmla="*/ 21 w 53"/>
                <a:gd name="T59" fmla="*/ 40 h 108"/>
                <a:gd name="T60" fmla="*/ 20 w 53"/>
                <a:gd name="T61" fmla="*/ 44 h 108"/>
                <a:gd name="T62" fmla="*/ 17 w 53"/>
                <a:gd name="T63" fmla="*/ 46 h 108"/>
                <a:gd name="T64" fmla="*/ 17 w 53"/>
                <a:gd name="T65" fmla="*/ 46 h 1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53" h="108">
                  <a:moveTo>
                    <a:pt x="30" y="108"/>
                  </a:moveTo>
                  <a:lnTo>
                    <a:pt x="26" y="95"/>
                  </a:lnTo>
                  <a:lnTo>
                    <a:pt x="26" y="85"/>
                  </a:lnTo>
                  <a:lnTo>
                    <a:pt x="18" y="90"/>
                  </a:lnTo>
                  <a:lnTo>
                    <a:pt x="11" y="83"/>
                  </a:lnTo>
                  <a:lnTo>
                    <a:pt x="10" y="68"/>
                  </a:lnTo>
                  <a:lnTo>
                    <a:pt x="3" y="55"/>
                  </a:lnTo>
                  <a:lnTo>
                    <a:pt x="0" y="57"/>
                  </a:lnTo>
                  <a:lnTo>
                    <a:pt x="0" y="48"/>
                  </a:lnTo>
                  <a:lnTo>
                    <a:pt x="6" y="38"/>
                  </a:lnTo>
                  <a:lnTo>
                    <a:pt x="3" y="33"/>
                  </a:lnTo>
                  <a:lnTo>
                    <a:pt x="5" y="20"/>
                  </a:lnTo>
                  <a:lnTo>
                    <a:pt x="11" y="17"/>
                  </a:lnTo>
                  <a:lnTo>
                    <a:pt x="6" y="13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35" y="5"/>
                  </a:lnTo>
                  <a:lnTo>
                    <a:pt x="33" y="12"/>
                  </a:lnTo>
                  <a:lnTo>
                    <a:pt x="26" y="13"/>
                  </a:lnTo>
                  <a:lnTo>
                    <a:pt x="23" y="25"/>
                  </a:lnTo>
                  <a:lnTo>
                    <a:pt x="28" y="23"/>
                  </a:lnTo>
                  <a:lnTo>
                    <a:pt x="31" y="27"/>
                  </a:lnTo>
                  <a:lnTo>
                    <a:pt x="38" y="27"/>
                  </a:lnTo>
                  <a:lnTo>
                    <a:pt x="46" y="35"/>
                  </a:lnTo>
                  <a:lnTo>
                    <a:pt x="33" y="63"/>
                  </a:lnTo>
                  <a:lnTo>
                    <a:pt x="48" y="65"/>
                  </a:lnTo>
                  <a:lnTo>
                    <a:pt x="53" y="77"/>
                  </a:lnTo>
                  <a:lnTo>
                    <a:pt x="50" y="78"/>
                  </a:lnTo>
                  <a:lnTo>
                    <a:pt x="50" y="85"/>
                  </a:lnTo>
                  <a:lnTo>
                    <a:pt x="38" y="95"/>
                  </a:lnTo>
                  <a:lnTo>
                    <a:pt x="36" y="105"/>
                  </a:lnTo>
                  <a:lnTo>
                    <a:pt x="30" y="10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0" name="Freeform 297"/>
            <p:cNvSpPr>
              <a:spLocks/>
            </p:cNvSpPr>
            <p:nvPr/>
          </p:nvSpPr>
          <p:spPr bwMode="auto">
            <a:xfrm>
              <a:off x="3602" y="2023"/>
              <a:ext cx="749" cy="597"/>
            </a:xfrm>
            <a:custGeom>
              <a:avLst/>
              <a:gdLst>
                <a:gd name="T0" fmla="*/ 33 w 870"/>
                <a:gd name="T1" fmla="*/ 175 h 715"/>
                <a:gd name="T2" fmla="*/ 34 w 870"/>
                <a:gd name="T3" fmla="*/ 193 h 715"/>
                <a:gd name="T4" fmla="*/ 44 w 870"/>
                <a:gd name="T5" fmla="*/ 213 h 715"/>
                <a:gd name="T6" fmla="*/ 84 w 870"/>
                <a:gd name="T7" fmla="*/ 230 h 715"/>
                <a:gd name="T8" fmla="*/ 115 w 870"/>
                <a:gd name="T9" fmla="*/ 235 h 715"/>
                <a:gd name="T10" fmla="*/ 157 w 870"/>
                <a:gd name="T11" fmla="*/ 225 h 715"/>
                <a:gd name="T12" fmla="*/ 188 w 870"/>
                <a:gd name="T13" fmla="*/ 235 h 715"/>
                <a:gd name="T14" fmla="*/ 201 w 870"/>
                <a:gd name="T15" fmla="*/ 264 h 715"/>
                <a:gd name="T16" fmla="*/ 222 w 870"/>
                <a:gd name="T17" fmla="*/ 279 h 715"/>
                <a:gd name="T18" fmla="*/ 247 w 870"/>
                <a:gd name="T19" fmla="*/ 278 h 715"/>
                <a:gd name="T20" fmla="*/ 268 w 870"/>
                <a:gd name="T21" fmla="*/ 290 h 715"/>
                <a:gd name="T22" fmla="*/ 290 w 870"/>
                <a:gd name="T23" fmla="*/ 281 h 715"/>
                <a:gd name="T24" fmla="*/ 320 w 870"/>
                <a:gd name="T25" fmla="*/ 266 h 715"/>
                <a:gd name="T26" fmla="*/ 342 w 870"/>
                <a:gd name="T27" fmla="*/ 243 h 715"/>
                <a:gd name="T28" fmla="*/ 351 w 870"/>
                <a:gd name="T29" fmla="*/ 218 h 715"/>
                <a:gd name="T30" fmla="*/ 339 w 870"/>
                <a:gd name="T31" fmla="*/ 208 h 715"/>
                <a:gd name="T32" fmla="*/ 342 w 870"/>
                <a:gd name="T33" fmla="*/ 193 h 715"/>
                <a:gd name="T34" fmla="*/ 325 w 870"/>
                <a:gd name="T35" fmla="*/ 171 h 715"/>
                <a:gd name="T36" fmla="*/ 328 w 870"/>
                <a:gd name="T37" fmla="*/ 151 h 715"/>
                <a:gd name="T38" fmla="*/ 308 w 870"/>
                <a:gd name="T39" fmla="*/ 149 h 715"/>
                <a:gd name="T40" fmla="*/ 331 w 870"/>
                <a:gd name="T41" fmla="*/ 124 h 715"/>
                <a:gd name="T42" fmla="*/ 334 w 870"/>
                <a:gd name="T43" fmla="*/ 139 h 715"/>
                <a:gd name="T44" fmla="*/ 363 w 870"/>
                <a:gd name="T45" fmla="*/ 122 h 715"/>
                <a:gd name="T46" fmla="*/ 380 w 870"/>
                <a:gd name="T47" fmla="*/ 104 h 715"/>
                <a:gd name="T48" fmla="*/ 392 w 870"/>
                <a:gd name="T49" fmla="*/ 87 h 715"/>
                <a:gd name="T50" fmla="*/ 412 w 870"/>
                <a:gd name="T51" fmla="*/ 61 h 715"/>
                <a:gd name="T52" fmla="*/ 377 w 870"/>
                <a:gd name="T53" fmla="*/ 50 h 715"/>
                <a:gd name="T54" fmla="*/ 354 w 870"/>
                <a:gd name="T55" fmla="*/ 40 h 715"/>
                <a:gd name="T56" fmla="*/ 323 w 870"/>
                <a:gd name="T57" fmla="*/ 0 h 715"/>
                <a:gd name="T58" fmla="*/ 296 w 870"/>
                <a:gd name="T59" fmla="*/ 19 h 715"/>
                <a:gd name="T60" fmla="*/ 277 w 870"/>
                <a:gd name="T61" fmla="*/ 48 h 715"/>
                <a:gd name="T62" fmla="*/ 296 w 870"/>
                <a:gd name="T63" fmla="*/ 58 h 715"/>
                <a:gd name="T64" fmla="*/ 301 w 870"/>
                <a:gd name="T65" fmla="*/ 74 h 715"/>
                <a:gd name="T66" fmla="*/ 256 w 870"/>
                <a:gd name="T67" fmla="*/ 95 h 715"/>
                <a:gd name="T68" fmla="*/ 213 w 870"/>
                <a:gd name="T69" fmla="*/ 122 h 715"/>
                <a:gd name="T70" fmla="*/ 176 w 870"/>
                <a:gd name="T71" fmla="*/ 114 h 715"/>
                <a:gd name="T72" fmla="*/ 121 w 870"/>
                <a:gd name="T73" fmla="*/ 99 h 715"/>
                <a:gd name="T74" fmla="*/ 101 w 870"/>
                <a:gd name="T75" fmla="*/ 73 h 715"/>
                <a:gd name="T76" fmla="*/ 75 w 870"/>
                <a:gd name="T77" fmla="*/ 74 h 715"/>
                <a:gd name="T78" fmla="*/ 54 w 870"/>
                <a:gd name="T79" fmla="*/ 97 h 715"/>
                <a:gd name="T80" fmla="*/ 46 w 870"/>
                <a:gd name="T81" fmla="*/ 116 h 715"/>
                <a:gd name="T82" fmla="*/ 14 w 870"/>
                <a:gd name="T83" fmla="*/ 134 h 715"/>
                <a:gd name="T84" fmla="*/ 9 w 870"/>
                <a:gd name="T85" fmla="*/ 159 h 71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870" h="715">
                  <a:moveTo>
                    <a:pt x="21" y="393"/>
                  </a:moveTo>
                  <a:lnTo>
                    <a:pt x="36" y="428"/>
                  </a:lnTo>
                  <a:lnTo>
                    <a:pt x="68" y="432"/>
                  </a:lnTo>
                  <a:lnTo>
                    <a:pt x="90" y="418"/>
                  </a:lnTo>
                  <a:lnTo>
                    <a:pt x="90" y="443"/>
                  </a:lnTo>
                  <a:lnTo>
                    <a:pt x="73" y="477"/>
                  </a:lnTo>
                  <a:lnTo>
                    <a:pt x="71" y="488"/>
                  </a:lnTo>
                  <a:lnTo>
                    <a:pt x="81" y="517"/>
                  </a:lnTo>
                  <a:lnTo>
                    <a:pt x="93" y="525"/>
                  </a:lnTo>
                  <a:lnTo>
                    <a:pt x="108" y="530"/>
                  </a:lnTo>
                  <a:lnTo>
                    <a:pt x="146" y="543"/>
                  </a:lnTo>
                  <a:lnTo>
                    <a:pt x="176" y="568"/>
                  </a:lnTo>
                  <a:lnTo>
                    <a:pt x="206" y="562"/>
                  </a:lnTo>
                  <a:lnTo>
                    <a:pt x="213" y="580"/>
                  </a:lnTo>
                  <a:lnTo>
                    <a:pt x="243" y="580"/>
                  </a:lnTo>
                  <a:lnTo>
                    <a:pt x="275" y="580"/>
                  </a:lnTo>
                  <a:lnTo>
                    <a:pt x="305" y="575"/>
                  </a:lnTo>
                  <a:lnTo>
                    <a:pt x="330" y="555"/>
                  </a:lnTo>
                  <a:lnTo>
                    <a:pt x="353" y="555"/>
                  </a:lnTo>
                  <a:lnTo>
                    <a:pt x="353" y="568"/>
                  </a:lnTo>
                  <a:lnTo>
                    <a:pt x="396" y="580"/>
                  </a:lnTo>
                  <a:lnTo>
                    <a:pt x="410" y="610"/>
                  </a:lnTo>
                  <a:lnTo>
                    <a:pt x="410" y="633"/>
                  </a:lnTo>
                  <a:lnTo>
                    <a:pt x="425" y="652"/>
                  </a:lnTo>
                  <a:lnTo>
                    <a:pt x="450" y="655"/>
                  </a:lnTo>
                  <a:lnTo>
                    <a:pt x="455" y="685"/>
                  </a:lnTo>
                  <a:lnTo>
                    <a:pt x="470" y="688"/>
                  </a:lnTo>
                  <a:lnTo>
                    <a:pt x="503" y="670"/>
                  </a:lnTo>
                  <a:lnTo>
                    <a:pt x="521" y="672"/>
                  </a:lnTo>
                  <a:lnTo>
                    <a:pt x="523" y="685"/>
                  </a:lnTo>
                  <a:lnTo>
                    <a:pt x="536" y="695"/>
                  </a:lnTo>
                  <a:lnTo>
                    <a:pt x="560" y="690"/>
                  </a:lnTo>
                  <a:lnTo>
                    <a:pt x="566" y="715"/>
                  </a:lnTo>
                  <a:lnTo>
                    <a:pt x="585" y="715"/>
                  </a:lnTo>
                  <a:lnTo>
                    <a:pt x="585" y="695"/>
                  </a:lnTo>
                  <a:lnTo>
                    <a:pt x="615" y="690"/>
                  </a:lnTo>
                  <a:lnTo>
                    <a:pt x="626" y="672"/>
                  </a:lnTo>
                  <a:lnTo>
                    <a:pt x="645" y="678"/>
                  </a:lnTo>
                  <a:lnTo>
                    <a:pt x="677" y="658"/>
                  </a:lnTo>
                  <a:lnTo>
                    <a:pt x="712" y="617"/>
                  </a:lnTo>
                  <a:lnTo>
                    <a:pt x="712" y="605"/>
                  </a:lnTo>
                  <a:lnTo>
                    <a:pt x="723" y="598"/>
                  </a:lnTo>
                  <a:lnTo>
                    <a:pt x="732" y="575"/>
                  </a:lnTo>
                  <a:lnTo>
                    <a:pt x="743" y="543"/>
                  </a:lnTo>
                  <a:lnTo>
                    <a:pt x="743" y="537"/>
                  </a:lnTo>
                  <a:lnTo>
                    <a:pt x="723" y="543"/>
                  </a:lnTo>
                  <a:lnTo>
                    <a:pt x="712" y="525"/>
                  </a:lnTo>
                  <a:lnTo>
                    <a:pt x="718" y="513"/>
                  </a:lnTo>
                  <a:lnTo>
                    <a:pt x="707" y="495"/>
                  </a:lnTo>
                  <a:lnTo>
                    <a:pt x="732" y="495"/>
                  </a:lnTo>
                  <a:lnTo>
                    <a:pt x="723" y="477"/>
                  </a:lnTo>
                  <a:lnTo>
                    <a:pt x="707" y="445"/>
                  </a:lnTo>
                  <a:lnTo>
                    <a:pt x="688" y="433"/>
                  </a:lnTo>
                  <a:lnTo>
                    <a:pt x="688" y="422"/>
                  </a:lnTo>
                  <a:lnTo>
                    <a:pt x="718" y="392"/>
                  </a:lnTo>
                  <a:lnTo>
                    <a:pt x="700" y="378"/>
                  </a:lnTo>
                  <a:lnTo>
                    <a:pt x="693" y="373"/>
                  </a:lnTo>
                  <a:lnTo>
                    <a:pt x="682" y="392"/>
                  </a:lnTo>
                  <a:lnTo>
                    <a:pt x="663" y="378"/>
                  </a:lnTo>
                  <a:lnTo>
                    <a:pt x="652" y="367"/>
                  </a:lnTo>
                  <a:lnTo>
                    <a:pt x="652" y="348"/>
                  </a:lnTo>
                  <a:lnTo>
                    <a:pt x="682" y="330"/>
                  </a:lnTo>
                  <a:lnTo>
                    <a:pt x="700" y="307"/>
                  </a:lnTo>
                  <a:lnTo>
                    <a:pt x="707" y="313"/>
                  </a:lnTo>
                  <a:lnTo>
                    <a:pt x="707" y="330"/>
                  </a:lnTo>
                  <a:lnTo>
                    <a:pt x="707" y="343"/>
                  </a:lnTo>
                  <a:lnTo>
                    <a:pt x="732" y="330"/>
                  </a:lnTo>
                  <a:lnTo>
                    <a:pt x="748" y="325"/>
                  </a:lnTo>
                  <a:lnTo>
                    <a:pt x="768" y="300"/>
                  </a:lnTo>
                  <a:lnTo>
                    <a:pt x="778" y="288"/>
                  </a:lnTo>
                  <a:lnTo>
                    <a:pt x="798" y="275"/>
                  </a:lnTo>
                  <a:lnTo>
                    <a:pt x="803" y="258"/>
                  </a:lnTo>
                  <a:lnTo>
                    <a:pt x="822" y="238"/>
                  </a:lnTo>
                  <a:lnTo>
                    <a:pt x="822" y="227"/>
                  </a:lnTo>
                  <a:lnTo>
                    <a:pt x="828" y="215"/>
                  </a:lnTo>
                  <a:lnTo>
                    <a:pt x="833" y="190"/>
                  </a:lnTo>
                  <a:lnTo>
                    <a:pt x="852" y="197"/>
                  </a:lnTo>
                  <a:lnTo>
                    <a:pt x="870" y="148"/>
                  </a:lnTo>
                  <a:lnTo>
                    <a:pt x="858" y="117"/>
                  </a:lnTo>
                  <a:lnTo>
                    <a:pt x="830" y="135"/>
                  </a:lnTo>
                  <a:lnTo>
                    <a:pt x="798" y="123"/>
                  </a:lnTo>
                  <a:lnTo>
                    <a:pt x="798" y="112"/>
                  </a:lnTo>
                  <a:lnTo>
                    <a:pt x="778" y="98"/>
                  </a:lnTo>
                  <a:lnTo>
                    <a:pt x="748" y="98"/>
                  </a:lnTo>
                  <a:lnTo>
                    <a:pt x="712" y="57"/>
                  </a:lnTo>
                  <a:lnTo>
                    <a:pt x="707" y="20"/>
                  </a:lnTo>
                  <a:lnTo>
                    <a:pt x="682" y="0"/>
                  </a:lnTo>
                  <a:lnTo>
                    <a:pt x="615" y="27"/>
                  </a:lnTo>
                  <a:lnTo>
                    <a:pt x="633" y="32"/>
                  </a:lnTo>
                  <a:lnTo>
                    <a:pt x="626" y="45"/>
                  </a:lnTo>
                  <a:lnTo>
                    <a:pt x="626" y="87"/>
                  </a:lnTo>
                  <a:lnTo>
                    <a:pt x="596" y="105"/>
                  </a:lnTo>
                  <a:lnTo>
                    <a:pt x="585" y="117"/>
                  </a:lnTo>
                  <a:lnTo>
                    <a:pt x="585" y="148"/>
                  </a:lnTo>
                  <a:lnTo>
                    <a:pt x="615" y="148"/>
                  </a:lnTo>
                  <a:lnTo>
                    <a:pt x="626" y="142"/>
                  </a:lnTo>
                  <a:lnTo>
                    <a:pt x="638" y="160"/>
                  </a:lnTo>
                  <a:lnTo>
                    <a:pt x="638" y="172"/>
                  </a:lnTo>
                  <a:lnTo>
                    <a:pt x="638" y="183"/>
                  </a:lnTo>
                  <a:lnTo>
                    <a:pt x="621" y="183"/>
                  </a:lnTo>
                  <a:lnTo>
                    <a:pt x="585" y="220"/>
                  </a:lnTo>
                  <a:lnTo>
                    <a:pt x="541" y="233"/>
                  </a:lnTo>
                  <a:lnTo>
                    <a:pt x="541" y="258"/>
                  </a:lnTo>
                  <a:lnTo>
                    <a:pt x="511" y="282"/>
                  </a:lnTo>
                  <a:lnTo>
                    <a:pt x="450" y="300"/>
                  </a:lnTo>
                  <a:lnTo>
                    <a:pt x="438" y="307"/>
                  </a:lnTo>
                  <a:lnTo>
                    <a:pt x="383" y="288"/>
                  </a:lnTo>
                  <a:lnTo>
                    <a:pt x="371" y="282"/>
                  </a:lnTo>
                  <a:lnTo>
                    <a:pt x="330" y="282"/>
                  </a:lnTo>
                  <a:lnTo>
                    <a:pt x="286" y="245"/>
                  </a:lnTo>
                  <a:lnTo>
                    <a:pt x="256" y="245"/>
                  </a:lnTo>
                  <a:lnTo>
                    <a:pt x="226" y="233"/>
                  </a:lnTo>
                  <a:lnTo>
                    <a:pt x="226" y="197"/>
                  </a:lnTo>
                  <a:lnTo>
                    <a:pt x="213" y="178"/>
                  </a:lnTo>
                  <a:lnTo>
                    <a:pt x="183" y="172"/>
                  </a:lnTo>
                  <a:lnTo>
                    <a:pt x="170" y="160"/>
                  </a:lnTo>
                  <a:lnTo>
                    <a:pt x="158" y="183"/>
                  </a:lnTo>
                  <a:lnTo>
                    <a:pt x="121" y="197"/>
                  </a:lnTo>
                  <a:lnTo>
                    <a:pt x="103" y="220"/>
                  </a:lnTo>
                  <a:lnTo>
                    <a:pt x="115" y="238"/>
                  </a:lnTo>
                  <a:lnTo>
                    <a:pt x="78" y="245"/>
                  </a:lnTo>
                  <a:lnTo>
                    <a:pt x="98" y="270"/>
                  </a:lnTo>
                  <a:lnTo>
                    <a:pt x="98" y="288"/>
                  </a:lnTo>
                  <a:lnTo>
                    <a:pt x="73" y="313"/>
                  </a:lnTo>
                  <a:lnTo>
                    <a:pt x="55" y="330"/>
                  </a:lnTo>
                  <a:lnTo>
                    <a:pt x="30" y="330"/>
                  </a:lnTo>
                  <a:lnTo>
                    <a:pt x="0" y="355"/>
                  </a:lnTo>
                  <a:lnTo>
                    <a:pt x="21" y="39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1" name="Freeform 298"/>
            <p:cNvSpPr>
              <a:spLocks/>
            </p:cNvSpPr>
            <p:nvPr/>
          </p:nvSpPr>
          <p:spPr bwMode="auto">
            <a:xfrm>
              <a:off x="3602" y="2023"/>
              <a:ext cx="749" cy="597"/>
            </a:xfrm>
            <a:custGeom>
              <a:avLst/>
              <a:gdLst>
                <a:gd name="T0" fmla="*/ 33 w 870"/>
                <a:gd name="T1" fmla="*/ 175 h 715"/>
                <a:gd name="T2" fmla="*/ 34 w 870"/>
                <a:gd name="T3" fmla="*/ 193 h 715"/>
                <a:gd name="T4" fmla="*/ 44 w 870"/>
                <a:gd name="T5" fmla="*/ 213 h 715"/>
                <a:gd name="T6" fmla="*/ 84 w 870"/>
                <a:gd name="T7" fmla="*/ 230 h 715"/>
                <a:gd name="T8" fmla="*/ 115 w 870"/>
                <a:gd name="T9" fmla="*/ 235 h 715"/>
                <a:gd name="T10" fmla="*/ 157 w 870"/>
                <a:gd name="T11" fmla="*/ 225 h 715"/>
                <a:gd name="T12" fmla="*/ 188 w 870"/>
                <a:gd name="T13" fmla="*/ 235 h 715"/>
                <a:gd name="T14" fmla="*/ 201 w 870"/>
                <a:gd name="T15" fmla="*/ 264 h 715"/>
                <a:gd name="T16" fmla="*/ 222 w 870"/>
                <a:gd name="T17" fmla="*/ 279 h 715"/>
                <a:gd name="T18" fmla="*/ 247 w 870"/>
                <a:gd name="T19" fmla="*/ 278 h 715"/>
                <a:gd name="T20" fmla="*/ 268 w 870"/>
                <a:gd name="T21" fmla="*/ 290 h 715"/>
                <a:gd name="T22" fmla="*/ 290 w 870"/>
                <a:gd name="T23" fmla="*/ 281 h 715"/>
                <a:gd name="T24" fmla="*/ 320 w 870"/>
                <a:gd name="T25" fmla="*/ 266 h 715"/>
                <a:gd name="T26" fmla="*/ 342 w 870"/>
                <a:gd name="T27" fmla="*/ 243 h 715"/>
                <a:gd name="T28" fmla="*/ 351 w 870"/>
                <a:gd name="T29" fmla="*/ 218 h 715"/>
                <a:gd name="T30" fmla="*/ 339 w 870"/>
                <a:gd name="T31" fmla="*/ 208 h 715"/>
                <a:gd name="T32" fmla="*/ 342 w 870"/>
                <a:gd name="T33" fmla="*/ 193 h 715"/>
                <a:gd name="T34" fmla="*/ 325 w 870"/>
                <a:gd name="T35" fmla="*/ 171 h 715"/>
                <a:gd name="T36" fmla="*/ 328 w 870"/>
                <a:gd name="T37" fmla="*/ 151 h 715"/>
                <a:gd name="T38" fmla="*/ 308 w 870"/>
                <a:gd name="T39" fmla="*/ 149 h 715"/>
                <a:gd name="T40" fmla="*/ 331 w 870"/>
                <a:gd name="T41" fmla="*/ 124 h 715"/>
                <a:gd name="T42" fmla="*/ 334 w 870"/>
                <a:gd name="T43" fmla="*/ 139 h 715"/>
                <a:gd name="T44" fmla="*/ 363 w 870"/>
                <a:gd name="T45" fmla="*/ 122 h 715"/>
                <a:gd name="T46" fmla="*/ 380 w 870"/>
                <a:gd name="T47" fmla="*/ 104 h 715"/>
                <a:gd name="T48" fmla="*/ 392 w 870"/>
                <a:gd name="T49" fmla="*/ 87 h 715"/>
                <a:gd name="T50" fmla="*/ 412 w 870"/>
                <a:gd name="T51" fmla="*/ 61 h 715"/>
                <a:gd name="T52" fmla="*/ 377 w 870"/>
                <a:gd name="T53" fmla="*/ 50 h 715"/>
                <a:gd name="T54" fmla="*/ 354 w 870"/>
                <a:gd name="T55" fmla="*/ 40 h 715"/>
                <a:gd name="T56" fmla="*/ 323 w 870"/>
                <a:gd name="T57" fmla="*/ 0 h 715"/>
                <a:gd name="T58" fmla="*/ 296 w 870"/>
                <a:gd name="T59" fmla="*/ 19 h 715"/>
                <a:gd name="T60" fmla="*/ 277 w 870"/>
                <a:gd name="T61" fmla="*/ 48 h 715"/>
                <a:gd name="T62" fmla="*/ 296 w 870"/>
                <a:gd name="T63" fmla="*/ 58 h 715"/>
                <a:gd name="T64" fmla="*/ 301 w 870"/>
                <a:gd name="T65" fmla="*/ 74 h 715"/>
                <a:gd name="T66" fmla="*/ 256 w 870"/>
                <a:gd name="T67" fmla="*/ 95 h 715"/>
                <a:gd name="T68" fmla="*/ 213 w 870"/>
                <a:gd name="T69" fmla="*/ 122 h 715"/>
                <a:gd name="T70" fmla="*/ 176 w 870"/>
                <a:gd name="T71" fmla="*/ 114 h 715"/>
                <a:gd name="T72" fmla="*/ 121 w 870"/>
                <a:gd name="T73" fmla="*/ 99 h 715"/>
                <a:gd name="T74" fmla="*/ 101 w 870"/>
                <a:gd name="T75" fmla="*/ 73 h 715"/>
                <a:gd name="T76" fmla="*/ 75 w 870"/>
                <a:gd name="T77" fmla="*/ 74 h 715"/>
                <a:gd name="T78" fmla="*/ 54 w 870"/>
                <a:gd name="T79" fmla="*/ 97 h 715"/>
                <a:gd name="T80" fmla="*/ 46 w 870"/>
                <a:gd name="T81" fmla="*/ 116 h 715"/>
                <a:gd name="T82" fmla="*/ 14 w 870"/>
                <a:gd name="T83" fmla="*/ 134 h 715"/>
                <a:gd name="T84" fmla="*/ 9 w 870"/>
                <a:gd name="T85" fmla="*/ 159 h 71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870" h="715">
                  <a:moveTo>
                    <a:pt x="21" y="393"/>
                  </a:moveTo>
                  <a:lnTo>
                    <a:pt x="36" y="428"/>
                  </a:lnTo>
                  <a:lnTo>
                    <a:pt x="68" y="432"/>
                  </a:lnTo>
                  <a:lnTo>
                    <a:pt x="90" y="418"/>
                  </a:lnTo>
                  <a:lnTo>
                    <a:pt x="90" y="443"/>
                  </a:lnTo>
                  <a:lnTo>
                    <a:pt x="73" y="477"/>
                  </a:lnTo>
                  <a:lnTo>
                    <a:pt x="71" y="488"/>
                  </a:lnTo>
                  <a:lnTo>
                    <a:pt x="81" y="517"/>
                  </a:lnTo>
                  <a:lnTo>
                    <a:pt x="93" y="525"/>
                  </a:lnTo>
                  <a:lnTo>
                    <a:pt x="108" y="530"/>
                  </a:lnTo>
                  <a:lnTo>
                    <a:pt x="146" y="543"/>
                  </a:lnTo>
                  <a:lnTo>
                    <a:pt x="176" y="568"/>
                  </a:lnTo>
                  <a:lnTo>
                    <a:pt x="206" y="562"/>
                  </a:lnTo>
                  <a:lnTo>
                    <a:pt x="213" y="580"/>
                  </a:lnTo>
                  <a:lnTo>
                    <a:pt x="243" y="580"/>
                  </a:lnTo>
                  <a:lnTo>
                    <a:pt x="275" y="580"/>
                  </a:lnTo>
                  <a:lnTo>
                    <a:pt x="305" y="575"/>
                  </a:lnTo>
                  <a:lnTo>
                    <a:pt x="330" y="555"/>
                  </a:lnTo>
                  <a:lnTo>
                    <a:pt x="353" y="555"/>
                  </a:lnTo>
                  <a:lnTo>
                    <a:pt x="353" y="568"/>
                  </a:lnTo>
                  <a:lnTo>
                    <a:pt x="396" y="580"/>
                  </a:lnTo>
                  <a:lnTo>
                    <a:pt x="410" y="610"/>
                  </a:lnTo>
                  <a:lnTo>
                    <a:pt x="410" y="633"/>
                  </a:lnTo>
                  <a:lnTo>
                    <a:pt x="425" y="652"/>
                  </a:lnTo>
                  <a:lnTo>
                    <a:pt x="450" y="655"/>
                  </a:lnTo>
                  <a:lnTo>
                    <a:pt x="455" y="685"/>
                  </a:lnTo>
                  <a:lnTo>
                    <a:pt x="470" y="688"/>
                  </a:lnTo>
                  <a:lnTo>
                    <a:pt x="503" y="670"/>
                  </a:lnTo>
                  <a:lnTo>
                    <a:pt x="521" y="672"/>
                  </a:lnTo>
                  <a:lnTo>
                    <a:pt x="523" y="685"/>
                  </a:lnTo>
                  <a:lnTo>
                    <a:pt x="536" y="695"/>
                  </a:lnTo>
                  <a:lnTo>
                    <a:pt x="560" y="690"/>
                  </a:lnTo>
                  <a:lnTo>
                    <a:pt x="566" y="715"/>
                  </a:lnTo>
                  <a:lnTo>
                    <a:pt x="585" y="715"/>
                  </a:lnTo>
                  <a:lnTo>
                    <a:pt x="585" y="695"/>
                  </a:lnTo>
                  <a:lnTo>
                    <a:pt x="615" y="690"/>
                  </a:lnTo>
                  <a:lnTo>
                    <a:pt x="626" y="672"/>
                  </a:lnTo>
                  <a:lnTo>
                    <a:pt x="645" y="678"/>
                  </a:lnTo>
                  <a:lnTo>
                    <a:pt x="677" y="658"/>
                  </a:lnTo>
                  <a:lnTo>
                    <a:pt x="712" y="617"/>
                  </a:lnTo>
                  <a:lnTo>
                    <a:pt x="712" y="605"/>
                  </a:lnTo>
                  <a:lnTo>
                    <a:pt x="723" y="598"/>
                  </a:lnTo>
                  <a:lnTo>
                    <a:pt x="732" y="575"/>
                  </a:lnTo>
                  <a:lnTo>
                    <a:pt x="743" y="543"/>
                  </a:lnTo>
                  <a:lnTo>
                    <a:pt x="743" y="537"/>
                  </a:lnTo>
                  <a:lnTo>
                    <a:pt x="723" y="543"/>
                  </a:lnTo>
                  <a:lnTo>
                    <a:pt x="712" y="525"/>
                  </a:lnTo>
                  <a:lnTo>
                    <a:pt x="718" y="513"/>
                  </a:lnTo>
                  <a:lnTo>
                    <a:pt x="707" y="495"/>
                  </a:lnTo>
                  <a:lnTo>
                    <a:pt x="732" y="495"/>
                  </a:lnTo>
                  <a:lnTo>
                    <a:pt x="723" y="477"/>
                  </a:lnTo>
                  <a:lnTo>
                    <a:pt x="707" y="445"/>
                  </a:lnTo>
                  <a:lnTo>
                    <a:pt x="688" y="433"/>
                  </a:lnTo>
                  <a:lnTo>
                    <a:pt x="688" y="422"/>
                  </a:lnTo>
                  <a:lnTo>
                    <a:pt x="718" y="392"/>
                  </a:lnTo>
                  <a:lnTo>
                    <a:pt x="700" y="378"/>
                  </a:lnTo>
                  <a:lnTo>
                    <a:pt x="693" y="373"/>
                  </a:lnTo>
                  <a:lnTo>
                    <a:pt x="682" y="392"/>
                  </a:lnTo>
                  <a:lnTo>
                    <a:pt x="663" y="378"/>
                  </a:lnTo>
                  <a:lnTo>
                    <a:pt x="652" y="367"/>
                  </a:lnTo>
                  <a:lnTo>
                    <a:pt x="652" y="348"/>
                  </a:lnTo>
                  <a:lnTo>
                    <a:pt x="682" y="330"/>
                  </a:lnTo>
                  <a:lnTo>
                    <a:pt x="700" y="307"/>
                  </a:lnTo>
                  <a:lnTo>
                    <a:pt x="707" y="313"/>
                  </a:lnTo>
                  <a:lnTo>
                    <a:pt x="707" y="330"/>
                  </a:lnTo>
                  <a:lnTo>
                    <a:pt x="707" y="343"/>
                  </a:lnTo>
                  <a:lnTo>
                    <a:pt x="732" y="330"/>
                  </a:lnTo>
                  <a:lnTo>
                    <a:pt x="748" y="325"/>
                  </a:lnTo>
                  <a:lnTo>
                    <a:pt x="768" y="300"/>
                  </a:lnTo>
                  <a:lnTo>
                    <a:pt x="778" y="288"/>
                  </a:lnTo>
                  <a:lnTo>
                    <a:pt x="798" y="275"/>
                  </a:lnTo>
                  <a:lnTo>
                    <a:pt x="803" y="258"/>
                  </a:lnTo>
                  <a:lnTo>
                    <a:pt x="822" y="238"/>
                  </a:lnTo>
                  <a:lnTo>
                    <a:pt x="822" y="227"/>
                  </a:lnTo>
                  <a:lnTo>
                    <a:pt x="828" y="215"/>
                  </a:lnTo>
                  <a:lnTo>
                    <a:pt x="833" y="190"/>
                  </a:lnTo>
                  <a:lnTo>
                    <a:pt x="852" y="197"/>
                  </a:lnTo>
                  <a:lnTo>
                    <a:pt x="870" y="148"/>
                  </a:lnTo>
                  <a:lnTo>
                    <a:pt x="858" y="117"/>
                  </a:lnTo>
                  <a:lnTo>
                    <a:pt x="830" y="135"/>
                  </a:lnTo>
                  <a:lnTo>
                    <a:pt x="798" y="123"/>
                  </a:lnTo>
                  <a:lnTo>
                    <a:pt x="798" y="112"/>
                  </a:lnTo>
                  <a:lnTo>
                    <a:pt x="778" y="98"/>
                  </a:lnTo>
                  <a:lnTo>
                    <a:pt x="748" y="98"/>
                  </a:lnTo>
                  <a:lnTo>
                    <a:pt x="712" y="57"/>
                  </a:lnTo>
                  <a:lnTo>
                    <a:pt x="707" y="20"/>
                  </a:lnTo>
                  <a:lnTo>
                    <a:pt x="682" y="0"/>
                  </a:lnTo>
                  <a:lnTo>
                    <a:pt x="615" y="27"/>
                  </a:lnTo>
                  <a:lnTo>
                    <a:pt x="633" y="32"/>
                  </a:lnTo>
                  <a:lnTo>
                    <a:pt x="626" y="45"/>
                  </a:lnTo>
                  <a:lnTo>
                    <a:pt x="626" y="87"/>
                  </a:lnTo>
                  <a:lnTo>
                    <a:pt x="596" y="105"/>
                  </a:lnTo>
                  <a:lnTo>
                    <a:pt x="585" y="117"/>
                  </a:lnTo>
                  <a:lnTo>
                    <a:pt x="585" y="148"/>
                  </a:lnTo>
                  <a:lnTo>
                    <a:pt x="615" y="148"/>
                  </a:lnTo>
                  <a:lnTo>
                    <a:pt x="626" y="142"/>
                  </a:lnTo>
                  <a:lnTo>
                    <a:pt x="638" y="160"/>
                  </a:lnTo>
                  <a:lnTo>
                    <a:pt x="638" y="172"/>
                  </a:lnTo>
                  <a:lnTo>
                    <a:pt x="638" y="183"/>
                  </a:lnTo>
                  <a:lnTo>
                    <a:pt x="621" y="183"/>
                  </a:lnTo>
                  <a:lnTo>
                    <a:pt x="585" y="220"/>
                  </a:lnTo>
                  <a:lnTo>
                    <a:pt x="541" y="233"/>
                  </a:lnTo>
                  <a:lnTo>
                    <a:pt x="541" y="258"/>
                  </a:lnTo>
                  <a:lnTo>
                    <a:pt x="511" y="282"/>
                  </a:lnTo>
                  <a:lnTo>
                    <a:pt x="450" y="300"/>
                  </a:lnTo>
                  <a:lnTo>
                    <a:pt x="438" y="307"/>
                  </a:lnTo>
                  <a:lnTo>
                    <a:pt x="383" y="288"/>
                  </a:lnTo>
                  <a:lnTo>
                    <a:pt x="371" y="282"/>
                  </a:lnTo>
                  <a:lnTo>
                    <a:pt x="330" y="282"/>
                  </a:lnTo>
                  <a:lnTo>
                    <a:pt x="286" y="245"/>
                  </a:lnTo>
                  <a:lnTo>
                    <a:pt x="256" y="245"/>
                  </a:lnTo>
                  <a:lnTo>
                    <a:pt x="226" y="233"/>
                  </a:lnTo>
                  <a:lnTo>
                    <a:pt x="226" y="197"/>
                  </a:lnTo>
                  <a:lnTo>
                    <a:pt x="213" y="178"/>
                  </a:lnTo>
                  <a:lnTo>
                    <a:pt x="183" y="172"/>
                  </a:lnTo>
                  <a:lnTo>
                    <a:pt x="170" y="160"/>
                  </a:lnTo>
                  <a:lnTo>
                    <a:pt x="158" y="183"/>
                  </a:lnTo>
                  <a:lnTo>
                    <a:pt x="121" y="197"/>
                  </a:lnTo>
                  <a:lnTo>
                    <a:pt x="103" y="220"/>
                  </a:lnTo>
                  <a:lnTo>
                    <a:pt x="115" y="238"/>
                  </a:lnTo>
                  <a:lnTo>
                    <a:pt x="78" y="245"/>
                  </a:lnTo>
                  <a:lnTo>
                    <a:pt x="98" y="270"/>
                  </a:lnTo>
                  <a:lnTo>
                    <a:pt x="98" y="288"/>
                  </a:lnTo>
                  <a:lnTo>
                    <a:pt x="73" y="313"/>
                  </a:lnTo>
                  <a:lnTo>
                    <a:pt x="55" y="330"/>
                  </a:lnTo>
                  <a:lnTo>
                    <a:pt x="30" y="330"/>
                  </a:lnTo>
                  <a:lnTo>
                    <a:pt x="0" y="355"/>
                  </a:lnTo>
                  <a:lnTo>
                    <a:pt x="21" y="39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2" name="Freeform 299"/>
            <p:cNvSpPr>
              <a:spLocks/>
            </p:cNvSpPr>
            <p:nvPr/>
          </p:nvSpPr>
          <p:spPr bwMode="auto">
            <a:xfrm>
              <a:off x="3747" y="2089"/>
              <a:ext cx="405" cy="188"/>
            </a:xfrm>
            <a:custGeom>
              <a:avLst/>
              <a:gdLst>
                <a:gd name="T0" fmla="*/ 0 w 470"/>
                <a:gd name="T1" fmla="*/ 29 h 225"/>
                <a:gd name="T2" fmla="*/ 14 w 470"/>
                <a:gd name="T3" fmla="*/ 23 h 225"/>
                <a:gd name="T4" fmla="*/ 35 w 470"/>
                <a:gd name="T5" fmla="*/ 11 h 225"/>
                <a:gd name="T6" fmla="*/ 41 w 470"/>
                <a:gd name="T7" fmla="*/ 11 h 225"/>
                <a:gd name="T8" fmla="*/ 58 w 470"/>
                <a:gd name="T9" fmla="*/ 19 h 225"/>
                <a:gd name="T10" fmla="*/ 67 w 470"/>
                <a:gd name="T11" fmla="*/ 18 h 225"/>
                <a:gd name="T12" fmla="*/ 79 w 470"/>
                <a:gd name="T13" fmla="*/ 0 h 225"/>
                <a:gd name="T14" fmla="*/ 90 w 470"/>
                <a:gd name="T15" fmla="*/ 0 h 225"/>
                <a:gd name="T16" fmla="*/ 102 w 470"/>
                <a:gd name="T17" fmla="*/ 15 h 225"/>
                <a:gd name="T18" fmla="*/ 110 w 470"/>
                <a:gd name="T19" fmla="*/ 15 h 225"/>
                <a:gd name="T20" fmla="*/ 127 w 470"/>
                <a:gd name="T21" fmla="*/ 9 h 225"/>
                <a:gd name="T22" fmla="*/ 142 w 470"/>
                <a:gd name="T23" fmla="*/ 18 h 225"/>
                <a:gd name="T24" fmla="*/ 172 w 470"/>
                <a:gd name="T25" fmla="*/ 15 h 225"/>
                <a:gd name="T26" fmla="*/ 180 w 470"/>
                <a:gd name="T27" fmla="*/ 6 h 225"/>
                <a:gd name="T28" fmla="*/ 190 w 470"/>
                <a:gd name="T29" fmla="*/ 9 h 225"/>
                <a:gd name="T30" fmla="*/ 203 w 470"/>
                <a:gd name="T31" fmla="*/ 11 h 225"/>
                <a:gd name="T32" fmla="*/ 197 w 470"/>
                <a:gd name="T33" fmla="*/ 14 h 225"/>
                <a:gd name="T34" fmla="*/ 197 w 470"/>
                <a:gd name="T35" fmla="*/ 28 h 225"/>
                <a:gd name="T36" fmla="*/ 211 w 470"/>
                <a:gd name="T37" fmla="*/ 28 h 225"/>
                <a:gd name="T38" fmla="*/ 218 w 470"/>
                <a:gd name="T39" fmla="*/ 26 h 225"/>
                <a:gd name="T40" fmla="*/ 223 w 470"/>
                <a:gd name="T41" fmla="*/ 33 h 225"/>
                <a:gd name="T42" fmla="*/ 223 w 470"/>
                <a:gd name="T43" fmla="*/ 42 h 225"/>
                <a:gd name="T44" fmla="*/ 215 w 470"/>
                <a:gd name="T45" fmla="*/ 42 h 225"/>
                <a:gd name="T46" fmla="*/ 196 w 470"/>
                <a:gd name="T47" fmla="*/ 58 h 225"/>
                <a:gd name="T48" fmla="*/ 178 w 470"/>
                <a:gd name="T49" fmla="*/ 61 h 225"/>
                <a:gd name="T50" fmla="*/ 178 w 470"/>
                <a:gd name="T51" fmla="*/ 73 h 225"/>
                <a:gd name="T52" fmla="*/ 164 w 470"/>
                <a:gd name="T53" fmla="*/ 83 h 225"/>
                <a:gd name="T54" fmla="*/ 128 w 470"/>
                <a:gd name="T55" fmla="*/ 91 h 225"/>
                <a:gd name="T56" fmla="*/ 101 w 470"/>
                <a:gd name="T57" fmla="*/ 84 h 225"/>
                <a:gd name="T58" fmla="*/ 97 w 470"/>
                <a:gd name="T59" fmla="*/ 83 h 225"/>
                <a:gd name="T60" fmla="*/ 78 w 470"/>
                <a:gd name="T61" fmla="*/ 83 h 225"/>
                <a:gd name="T62" fmla="*/ 56 w 470"/>
                <a:gd name="T63" fmla="*/ 67 h 225"/>
                <a:gd name="T64" fmla="*/ 40 w 470"/>
                <a:gd name="T65" fmla="*/ 67 h 225"/>
                <a:gd name="T66" fmla="*/ 28 w 470"/>
                <a:gd name="T67" fmla="*/ 62 h 225"/>
                <a:gd name="T68" fmla="*/ 28 w 470"/>
                <a:gd name="T69" fmla="*/ 48 h 225"/>
                <a:gd name="T70" fmla="*/ 18 w 470"/>
                <a:gd name="T71" fmla="*/ 40 h 225"/>
                <a:gd name="T72" fmla="*/ 8 w 470"/>
                <a:gd name="T73" fmla="*/ 38 h 225"/>
                <a:gd name="T74" fmla="*/ 0 w 470"/>
                <a:gd name="T75" fmla="*/ 33 h 225"/>
                <a:gd name="T76" fmla="*/ 0 w 470"/>
                <a:gd name="T77" fmla="*/ 29 h 225"/>
                <a:gd name="T78" fmla="*/ 0 w 470"/>
                <a:gd name="T79" fmla="*/ 29 h 22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70" h="225">
                  <a:moveTo>
                    <a:pt x="0" y="72"/>
                  </a:moveTo>
                  <a:lnTo>
                    <a:pt x="28" y="57"/>
                  </a:lnTo>
                  <a:lnTo>
                    <a:pt x="73" y="27"/>
                  </a:lnTo>
                  <a:lnTo>
                    <a:pt x="88" y="25"/>
                  </a:lnTo>
                  <a:lnTo>
                    <a:pt x="123" y="48"/>
                  </a:lnTo>
                  <a:lnTo>
                    <a:pt x="143" y="43"/>
                  </a:lnTo>
                  <a:lnTo>
                    <a:pt x="167" y="0"/>
                  </a:lnTo>
                  <a:lnTo>
                    <a:pt x="192" y="0"/>
                  </a:lnTo>
                  <a:lnTo>
                    <a:pt x="215" y="37"/>
                  </a:lnTo>
                  <a:lnTo>
                    <a:pt x="233" y="37"/>
                  </a:lnTo>
                  <a:lnTo>
                    <a:pt x="268" y="22"/>
                  </a:lnTo>
                  <a:lnTo>
                    <a:pt x="300" y="43"/>
                  </a:lnTo>
                  <a:lnTo>
                    <a:pt x="362" y="37"/>
                  </a:lnTo>
                  <a:lnTo>
                    <a:pt x="380" y="13"/>
                  </a:lnTo>
                  <a:lnTo>
                    <a:pt x="402" y="23"/>
                  </a:lnTo>
                  <a:lnTo>
                    <a:pt x="427" y="25"/>
                  </a:lnTo>
                  <a:lnTo>
                    <a:pt x="417" y="35"/>
                  </a:lnTo>
                  <a:lnTo>
                    <a:pt x="417" y="68"/>
                  </a:lnTo>
                  <a:lnTo>
                    <a:pt x="445" y="67"/>
                  </a:lnTo>
                  <a:lnTo>
                    <a:pt x="460" y="63"/>
                  </a:lnTo>
                  <a:lnTo>
                    <a:pt x="470" y="82"/>
                  </a:lnTo>
                  <a:lnTo>
                    <a:pt x="470" y="103"/>
                  </a:lnTo>
                  <a:lnTo>
                    <a:pt x="453" y="103"/>
                  </a:lnTo>
                  <a:lnTo>
                    <a:pt x="415" y="143"/>
                  </a:lnTo>
                  <a:lnTo>
                    <a:pt x="375" y="150"/>
                  </a:lnTo>
                  <a:lnTo>
                    <a:pt x="375" y="177"/>
                  </a:lnTo>
                  <a:lnTo>
                    <a:pt x="343" y="202"/>
                  </a:lnTo>
                  <a:lnTo>
                    <a:pt x="270" y="225"/>
                  </a:lnTo>
                  <a:lnTo>
                    <a:pt x="212" y="208"/>
                  </a:lnTo>
                  <a:lnTo>
                    <a:pt x="203" y="202"/>
                  </a:lnTo>
                  <a:lnTo>
                    <a:pt x="162" y="202"/>
                  </a:lnTo>
                  <a:lnTo>
                    <a:pt x="118" y="165"/>
                  </a:lnTo>
                  <a:lnTo>
                    <a:pt x="82" y="165"/>
                  </a:lnTo>
                  <a:lnTo>
                    <a:pt x="58" y="153"/>
                  </a:lnTo>
                  <a:lnTo>
                    <a:pt x="58" y="117"/>
                  </a:lnTo>
                  <a:lnTo>
                    <a:pt x="38" y="98"/>
                  </a:lnTo>
                  <a:lnTo>
                    <a:pt x="17" y="93"/>
                  </a:lnTo>
                  <a:lnTo>
                    <a:pt x="0" y="83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3" name="Freeform 300"/>
            <p:cNvSpPr>
              <a:spLocks/>
            </p:cNvSpPr>
            <p:nvPr/>
          </p:nvSpPr>
          <p:spPr bwMode="auto">
            <a:xfrm>
              <a:off x="3747" y="2089"/>
              <a:ext cx="405" cy="188"/>
            </a:xfrm>
            <a:custGeom>
              <a:avLst/>
              <a:gdLst>
                <a:gd name="T0" fmla="*/ 0 w 470"/>
                <a:gd name="T1" fmla="*/ 29 h 225"/>
                <a:gd name="T2" fmla="*/ 14 w 470"/>
                <a:gd name="T3" fmla="*/ 23 h 225"/>
                <a:gd name="T4" fmla="*/ 35 w 470"/>
                <a:gd name="T5" fmla="*/ 11 h 225"/>
                <a:gd name="T6" fmla="*/ 41 w 470"/>
                <a:gd name="T7" fmla="*/ 11 h 225"/>
                <a:gd name="T8" fmla="*/ 58 w 470"/>
                <a:gd name="T9" fmla="*/ 19 h 225"/>
                <a:gd name="T10" fmla="*/ 67 w 470"/>
                <a:gd name="T11" fmla="*/ 18 h 225"/>
                <a:gd name="T12" fmla="*/ 79 w 470"/>
                <a:gd name="T13" fmla="*/ 0 h 225"/>
                <a:gd name="T14" fmla="*/ 90 w 470"/>
                <a:gd name="T15" fmla="*/ 0 h 225"/>
                <a:gd name="T16" fmla="*/ 102 w 470"/>
                <a:gd name="T17" fmla="*/ 15 h 225"/>
                <a:gd name="T18" fmla="*/ 110 w 470"/>
                <a:gd name="T19" fmla="*/ 15 h 225"/>
                <a:gd name="T20" fmla="*/ 127 w 470"/>
                <a:gd name="T21" fmla="*/ 9 h 225"/>
                <a:gd name="T22" fmla="*/ 142 w 470"/>
                <a:gd name="T23" fmla="*/ 18 h 225"/>
                <a:gd name="T24" fmla="*/ 172 w 470"/>
                <a:gd name="T25" fmla="*/ 15 h 225"/>
                <a:gd name="T26" fmla="*/ 180 w 470"/>
                <a:gd name="T27" fmla="*/ 6 h 225"/>
                <a:gd name="T28" fmla="*/ 190 w 470"/>
                <a:gd name="T29" fmla="*/ 9 h 225"/>
                <a:gd name="T30" fmla="*/ 203 w 470"/>
                <a:gd name="T31" fmla="*/ 11 h 225"/>
                <a:gd name="T32" fmla="*/ 197 w 470"/>
                <a:gd name="T33" fmla="*/ 14 h 225"/>
                <a:gd name="T34" fmla="*/ 197 w 470"/>
                <a:gd name="T35" fmla="*/ 28 h 225"/>
                <a:gd name="T36" fmla="*/ 211 w 470"/>
                <a:gd name="T37" fmla="*/ 28 h 225"/>
                <a:gd name="T38" fmla="*/ 218 w 470"/>
                <a:gd name="T39" fmla="*/ 26 h 225"/>
                <a:gd name="T40" fmla="*/ 223 w 470"/>
                <a:gd name="T41" fmla="*/ 33 h 225"/>
                <a:gd name="T42" fmla="*/ 223 w 470"/>
                <a:gd name="T43" fmla="*/ 42 h 225"/>
                <a:gd name="T44" fmla="*/ 215 w 470"/>
                <a:gd name="T45" fmla="*/ 42 h 225"/>
                <a:gd name="T46" fmla="*/ 196 w 470"/>
                <a:gd name="T47" fmla="*/ 58 h 225"/>
                <a:gd name="T48" fmla="*/ 178 w 470"/>
                <a:gd name="T49" fmla="*/ 61 h 225"/>
                <a:gd name="T50" fmla="*/ 178 w 470"/>
                <a:gd name="T51" fmla="*/ 73 h 225"/>
                <a:gd name="T52" fmla="*/ 164 w 470"/>
                <a:gd name="T53" fmla="*/ 83 h 225"/>
                <a:gd name="T54" fmla="*/ 128 w 470"/>
                <a:gd name="T55" fmla="*/ 91 h 225"/>
                <a:gd name="T56" fmla="*/ 101 w 470"/>
                <a:gd name="T57" fmla="*/ 84 h 225"/>
                <a:gd name="T58" fmla="*/ 97 w 470"/>
                <a:gd name="T59" fmla="*/ 83 h 225"/>
                <a:gd name="T60" fmla="*/ 78 w 470"/>
                <a:gd name="T61" fmla="*/ 83 h 225"/>
                <a:gd name="T62" fmla="*/ 56 w 470"/>
                <a:gd name="T63" fmla="*/ 67 h 225"/>
                <a:gd name="T64" fmla="*/ 40 w 470"/>
                <a:gd name="T65" fmla="*/ 67 h 225"/>
                <a:gd name="T66" fmla="*/ 28 w 470"/>
                <a:gd name="T67" fmla="*/ 62 h 225"/>
                <a:gd name="T68" fmla="*/ 28 w 470"/>
                <a:gd name="T69" fmla="*/ 48 h 225"/>
                <a:gd name="T70" fmla="*/ 18 w 470"/>
                <a:gd name="T71" fmla="*/ 40 h 225"/>
                <a:gd name="T72" fmla="*/ 8 w 470"/>
                <a:gd name="T73" fmla="*/ 38 h 225"/>
                <a:gd name="T74" fmla="*/ 0 w 470"/>
                <a:gd name="T75" fmla="*/ 33 h 225"/>
                <a:gd name="T76" fmla="*/ 0 w 470"/>
                <a:gd name="T77" fmla="*/ 29 h 225"/>
                <a:gd name="T78" fmla="*/ 0 w 470"/>
                <a:gd name="T79" fmla="*/ 29 h 22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70" h="225">
                  <a:moveTo>
                    <a:pt x="0" y="72"/>
                  </a:moveTo>
                  <a:lnTo>
                    <a:pt x="28" y="57"/>
                  </a:lnTo>
                  <a:lnTo>
                    <a:pt x="73" y="27"/>
                  </a:lnTo>
                  <a:lnTo>
                    <a:pt x="88" y="25"/>
                  </a:lnTo>
                  <a:lnTo>
                    <a:pt x="123" y="48"/>
                  </a:lnTo>
                  <a:lnTo>
                    <a:pt x="143" y="43"/>
                  </a:lnTo>
                  <a:lnTo>
                    <a:pt x="167" y="0"/>
                  </a:lnTo>
                  <a:lnTo>
                    <a:pt x="192" y="0"/>
                  </a:lnTo>
                  <a:lnTo>
                    <a:pt x="215" y="37"/>
                  </a:lnTo>
                  <a:lnTo>
                    <a:pt x="233" y="37"/>
                  </a:lnTo>
                  <a:lnTo>
                    <a:pt x="268" y="22"/>
                  </a:lnTo>
                  <a:lnTo>
                    <a:pt x="300" y="43"/>
                  </a:lnTo>
                  <a:lnTo>
                    <a:pt x="362" y="37"/>
                  </a:lnTo>
                  <a:lnTo>
                    <a:pt x="380" y="13"/>
                  </a:lnTo>
                  <a:lnTo>
                    <a:pt x="402" y="23"/>
                  </a:lnTo>
                  <a:lnTo>
                    <a:pt x="427" y="25"/>
                  </a:lnTo>
                  <a:lnTo>
                    <a:pt x="417" y="35"/>
                  </a:lnTo>
                  <a:lnTo>
                    <a:pt x="417" y="68"/>
                  </a:lnTo>
                  <a:lnTo>
                    <a:pt x="445" y="67"/>
                  </a:lnTo>
                  <a:lnTo>
                    <a:pt x="460" y="63"/>
                  </a:lnTo>
                  <a:lnTo>
                    <a:pt x="470" y="82"/>
                  </a:lnTo>
                  <a:lnTo>
                    <a:pt x="470" y="103"/>
                  </a:lnTo>
                  <a:lnTo>
                    <a:pt x="453" y="103"/>
                  </a:lnTo>
                  <a:lnTo>
                    <a:pt x="415" y="143"/>
                  </a:lnTo>
                  <a:lnTo>
                    <a:pt x="375" y="150"/>
                  </a:lnTo>
                  <a:lnTo>
                    <a:pt x="375" y="177"/>
                  </a:lnTo>
                  <a:lnTo>
                    <a:pt x="343" y="202"/>
                  </a:lnTo>
                  <a:lnTo>
                    <a:pt x="270" y="225"/>
                  </a:lnTo>
                  <a:lnTo>
                    <a:pt x="212" y="208"/>
                  </a:lnTo>
                  <a:lnTo>
                    <a:pt x="203" y="202"/>
                  </a:lnTo>
                  <a:lnTo>
                    <a:pt x="162" y="202"/>
                  </a:lnTo>
                  <a:lnTo>
                    <a:pt x="118" y="165"/>
                  </a:lnTo>
                  <a:lnTo>
                    <a:pt x="82" y="165"/>
                  </a:lnTo>
                  <a:lnTo>
                    <a:pt x="58" y="153"/>
                  </a:lnTo>
                  <a:lnTo>
                    <a:pt x="58" y="117"/>
                  </a:lnTo>
                  <a:lnTo>
                    <a:pt x="38" y="98"/>
                  </a:lnTo>
                  <a:lnTo>
                    <a:pt x="17" y="93"/>
                  </a:lnTo>
                  <a:lnTo>
                    <a:pt x="0" y="83"/>
                  </a:lnTo>
                  <a:lnTo>
                    <a:pt x="0" y="7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4" name="Freeform 301"/>
            <p:cNvSpPr>
              <a:spLocks/>
            </p:cNvSpPr>
            <p:nvPr/>
          </p:nvSpPr>
          <p:spPr bwMode="auto">
            <a:xfrm>
              <a:off x="4253" y="2201"/>
              <a:ext cx="81" cy="128"/>
            </a:xfrm>
            <a:custGeom>
              <a:avLst/>
              <a:gdLst>
                <a:gd name="T0" fmla="*/ 38 w 92"/>
                <a:gd name="T1" fmla="*/ 0 h 152"/>
                <a:gd name="T2" fmla="*/ 48 w 92"/>
                <a:gd name="T3" fmla="*/ 8 h 152"/>
                <a:gd name="T4" fmla="*/ 42 w 92"/>
                <a:gd name="T5" fmla="*/ 16 h 152"/>
                <a:gd name="T6" fmla="*/ 38 w 92"/>
                <a:gd name="T7" fmla="*/ 25 h 152"/>
                <a:gd name="T8" fmla="*/ 38 w 92"/>
                <a:gd name="T9" fmla="*/ 34 h 152"/>
                <a:gd name="T10" fmla="*/ 26 w 92"/>
                <a:gd name="T11" fmla="*/ 43 h 152"/>
                <a:gd name="T12" fmla="*/ 23 w 92"/>
                <a:gd name="T13" fmla="*/ 51 h 152"/>
                <a:gd name="T14" fmla="*/ 32 w 92"/>
                <a:gd name="T15" fmla="*/ 59 h 152"/>
                <a:gd name="T16" fmla="*/ 29 w 92"/>
                <a:gd name="T17" fmla="*/ 61 h 152"/>
                <a:gd name="T18" fmla="*/ 20 w 92"/>
                <a:gd name="T19" fmla="*/ 65 h 152"/>
                <a:gd name="T20" fmla="*/ 10 w 92"/>
                <a:gd name="T21" fmla="*/ 65 h 152"/>
                <a:gd name="T22" fmla="*/ 10 w 92"/>
                <a:gd name="T23" fmla="*/ 55 h 152"/>
                <a:gd name="T24" fmla="*/ 7 w 92"/>
                <a:gd name="T25" fmla="*/ 49 h 152"/>
                <a:gd name="T26" fmla="*/ 0 w 92"/>
                <a:gd name="T27" fmla="*/ 43 h 152"/>
                <a:gd name="T28" fmla="*/ 11 w 92"/>
                <a:gd name="T29" fmla="*/ 30 h 152"/>
                <a:gd name="T30" fmla="*/ 20 w 92"/>
                <a:gd name="T31" fmla="*/ 29 h 152"/>
                <a:gd name="T32" fmla="*/ 26 w 92"/>
                <a:gd name="T33" fmla="*/ 18 h 152"/>
                <a:gd name="T34" fmla="*/ 36 w 92"/>
                <a:gd name="T35" fmla="*/ 9 h 152"/>
                <a:gd name="T36" fmla="*/ 36 w 92"/>
                <a:gd name="T37" fmla="*/ 3 h 152"/>
                <a:gd name="T38" fmla="*/ 38 w 92"/>
                <a:gd name="T39" fmla="*/ 0 h 152"/>
                <a:gd name="T40" fmla="*/ 38 w 92"/>
                <a:gd name="T41" fmla="*/ 0 h 15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2" h="152">
                  <a:moveTo>
                    <a:pt x="73" y="0"/>
                  </a:moveTo>
                  <a:lnTo>
                    <a:pt x="92" y="18"/>
                  </a:lnTo>
                  <a:lnTo>
                    <a:pt x="78" y="37"/>
                  </a:lnTo>
                  <a:lnTo>
                    <a:pt x="73" y="60"/>
                  </a:lnTo>
                  <a:lnTo>
                    <a:pt x="73" y="78"/>
                  </a:lnTo>
                  <a:lnTo>
                    <a:pt x="48" y="103"/>
                  </a:lnTo>
                  <a:lnTo>
                    <a:pt x="43" y="122"/>
                  </a:lnTo>
                  <a:lnTo>
                    <a:pt x="60" y="140"/>
                  </a:lnTo>
                  <a:lnTo>
                    <a:pt x="55" y="145"/>
                  </a:lnTo>
                  <a:lnTo>
                    <a:pt x="37" y="152"/>
                  </a:lnTo>
                  <a:lnTo>
                    <a:pt x="18" y="152"/>
                  </a:lnTo>
                  <a:lnTo>
                    <a:pt x="18" y="128"/>
                  </a:lnTo>
                  <a:lnTo>
                    <a:pt x="13" y="115"/>
                  </a:lnTo>
                  <a:lnTo>
                    <a:pt x="0" y="103"/>
                  </a:lnTo>
                  <a:lnTo>
                    <a:pt x="22" y="73"/>
                  </a:lnTo>
                  <a:lnTo>
                    <a:pt x="37" y="67"/>
                  </a:lnTo>
                  <a:lnTo>
                    <a:pt x="48" y="43"/>
                  </a:lnTo>
                  <a:lnTo>
                    <a:pt x="67" y="23"/>
                  </a:lnTo>
                  <a:lnTo>
                    <a:pt x="67" y="5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5" name="Freeform 302"/>
            <p:cNvSpPr>
              <a:spLocks/>
            </p:cNvSpPr>
            <p:nvPr/>
          </p:nvSpPr>
          <p:spPr bwMode="auto">
            <a:xfrm>
              <a:off x="4253" y="2201"/>
              <a:ext cx="81" cy="128"/>
            </a:xfrm>
            <a:custGeom>
              <a:avLst/>
              <a:gdLst>
                <a:gd name="T0" fmla="*/ 38 w 92"/>
                <a:gd name="T1" fmla="*/ 0 h 152"/>
                <a:gd name="T2" fmla="*/ 48 w 92"/>
                <a:gd name="T3" fmla="*/ 8 h 152"/>
                <a:gd name="T4" fmla="*/ 42 w 92"/>
                <a:gd name="T5" fmla="*/ 16 h 152"/>
                <a:gd name="T6" fmla="*/ 38 w 92"/>
                <a:gd name="T7" fmla="*/ 25 h 152"/>
                <a:gd name="T8" fmla="*/ 38 w 92"/>
                <a:gd name="T9" fmla="*/ 34 h 152"/>
                <a:gd name="T10" fmla="*/ 26 w 92"/>
                <a:gd name="T11" fmla="*/ 43 h 152"/>
                <a:gd name="T12" fmla="*/ 23 w 92"/>
                <a:gd name="T13" fmla="*/ 51 h 152"/>
                <a:gd name="T14" fmla="*/ 32 w 92"/>
                <a:gd name="T15" fmla="*/ 59 h 152"/>
                <a:gd name="T16" fmla="*/ 29 w 92"/>
                <a:gd name="T17" fmla="*/ 61 h 152"/>
                <a:gd name="T18" fmla="*/ 20 w 92"/>
                <a:gd name="T19" fmla="*/ 65 h 152"/>
                <a:gd name="T20" fmla="*/ 10 w 92"/>
                <a:gd name="T21" fmla="*/ 65 h 152"/>
                <a:gd name="T22" fmla="*/ 10 w 92"/>
                <a:gd name="T23" fmla="*/ 55 h 152"/>
                <a:gd name="T24" fmla="*/ 7 w 92"/>
                <a:gd name="T25" fmla="*/ 49 h 152"/>
                <a:gd name="T26" fmla="*/ 0 w 92"/>
                <a:gd name="T27" fmla="*/ 43 h 152"/>
                <a:gd name="T28" fmla="*/ 11 w 92"/>
                <a:gd name="T29" fmla="*/ 30 h 152"/>
                <a:gd name="T30" fmla="*/ 20 w 92"/>
                <a:gd name="T31" fmla="*/ 29 h 152"/>
                <a:gd name="T32" fmla="*/ 26 w 92"/>
                <a:gd name="T33" fmla="*/ 18 h 152"/>
                <a:gd name="T34" fmla="*/ 36 w 92"/>
                <a:gd name="T35" fmla="*/ 9 h 152"/>
                <a:gd name="T36" fmla="*/ 36 w 92"/>
                <a:gd name="T37" fmla="*/ 3 h 152"/>
                <a:gd name="T38" fmla="*/ 38 w 92"/>
                <a:gd name="T39" fmla="*/ 0 h 152"/>
                <a:gd name="T40" fmla="*/ 38 w 92"/>
                <a:gd name="T41" fmla="*/ 0 h 15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2" h="152">
                  <a:moveTo>
                    <a:pt x="73" y="0"/>
                  </a:moveTo>
                  <a:lnTo>
                    <a:pt x="92" y="18"/>
                  </a:lnTo>
                  <a:lnTo>
                    <a:pt x="78" y="37"/>
                  </a:lnTo>
                  <a:lnTo>
                    <a:pt x="73" y="60"/>
                  </a:lnTo>
                  <a:lnTo>
                    <a:pt x="73" y="78"/>
                  </a:lnTo>
                  <a:lnTo>
                    <a:pt x="48" y="103"/>
                  </a:lnTo>
                  <a:lnTo>
                    <a:pt x="43" y="122"/>
                  </a:lnTo>
                  <a:lnTo>
                    <a:pt x="60" y="140"/>
                  </a:lnTo>
                  <a:lnTo>
                    <a:pt x="55" y="145"/>
                  </a:lnTo>
                  <a:lnTo>
                    <a:pt x="37" y="152"/>
                  </a:lnTo>
                  <a:lnTo>
                    <a:pt x="18" y="152"/>
                  </a:lnTo>
                  <a:lnTo>
                    <a:pt x="18" y="128"/>
                  </a:lnTo>
                  <a:lnTo>
                    <a:pt x="13" y="115"/>
                  </a:lnTo>
                  <a:lnTo>
                    <a:pt x="0" y="103"/>
                  </a:lnTo>
                  <a:lnTo>
                    <a:pt x="22" y="73"/>
                  </a:lnTo>
                  <a:lnTo>
                    <a:pt x="37" y="67"/>
                  </a:lnTo>
                  <a:lnTo>
                    <a:pt x="48" y="43"/>
                  </a:lnTo>
                  <a:lnTo>
                    <a:pt x="67" y="23"/>
                  </a:lnTo>
                  <a:lnTo>
                    <a:pt x="67" y="5"/>
                  </a:lnTo>
                  <a:lnTo>
                    <a:pt x="7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6" name="Freeform 303"/>
            <p:cNvSpPr>
              <a:spLocks/>
            </p:cNvSpPr>
            <p:nvPr/>
          </p:nvSpPr>
          <p:spPr bwMode="auto">
            <a:xfrm>
              <a:off x="4278" y="2318"/>
              <a:ext cx="47" cy="61"/>
            </a:xfrm>
            <a:custGeom>
              <a:avLst/>
              <a:gdLst>
                <a:gd name="T0" fmla="*/ 0 w 55"/>
                <a:gd name="T1" fmla="*/ 5 h 73"/>
                <a:gd name="T2" fmla="*/ 6 w 55"/>
                <a:gd name="T3" fmla="*/ 9 h 73"/>
                <a:gd name="T4" fmla="*/ 8 w 55"/>
                <a:gd name="T5" fmla="*/ 19 h 73"/>
                <a:gd name="T6" fmla="*/ 8 w 55"/>
                <a:gd name="T7" fmla="*/ 30 h 73"/>
                <a:gd name="T8" fmla="*/ 14 w 55"/>
                <a:gd name="T9" fmla="*/ 30 h 73"/>
                <a:gd name="T10" fmla="*/ 25 w 55"/>
                <a:gd name="T11" fmla="*/ 28 h 73"/>
                <a:gd name="T12" fmla="*/ 25 w 55"/>
                <a:gd name="T13" fmla="*/ 19 h 73"/>
                <a:gd name="T14" fmla="*/ 20 w 55"/>
                <a:gd name="T15" fmla="*/ 9 h 73"/>
                <a:gd name="T16" fmla="*/ 14 w 55"/>
                <a:gd name="T17" fmla="*/ 0 h 73"/>
                <a:gd name="T18" fmla="*/ 8 w 55"/>
                <a:gd name="T19" fmla="*/ 3 h 73"/>
                <a:gd name="T20" fmla="*/ 0 w 55"/>
                <a:gd name="T21" fmla="*/ 5 h 73"/>
                <a:gd name="T22" fmla="*/ 0 w 55"/>
                <a:gd name="T23" fmla="*/ 5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5" h="73">
                  <a:moveTo>
                    <a:pt x="0" y="12"/>
                  </a:moveTo>
                  <a:lnTo>
                    <a:pt x="13" y="23"/>
                  </a:lnTo>
                  <a:lnTo>
                    <a:pt x="18" y="48"/>
                  </a:lnTo>
                  <a:lnTo>
                    <a:pt x="18" y="73"/>
                  </a:lnTo>
                  <a:lnTo>
                    <a:pt x="30" y="73"/>
                  </a:lnTo>
                  <a:lnTo>
                    <a:pt x="55" y="67"/>
                  </a:lnTo>
                  <a:lnTo>
                    <a:pt x="55" y="48"/>
                  </a:lnTo>
                  <a:lnTo>
                    <a:pt x="43" y="23"/>
                  </a:lnTo>
                  <a:lnTo>
                    <a:pt x="30" y="0"/>
                  </a:lnTo>
                  <a:lnTo>
                    <a:pt x="18" y="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7" name="Freeform 304"/>
            <p:cNvSpPr>
              <a:spLocks/>
            </p:cNvSpPr>
            <p:nvPr/>
          </p:nvSpPr>
          <p:spPr bwMode="auto">
            <a:xfrm>
              <a:off x="4278" y="2318"/>
              <a:ext cx="47" cy="61"/>
            </a:xfrm>
            <a:custGeom>
              <a:avLst/>
              <a:gdLst>
                <a:gd name="T0" fmla="*/ 0 w 55"/>
                <a:gd name="T1" fmla="*/ 5 h 73"/>
                <a:gd name="T2" fmla="*/ 6 w 55"/>
                <a:gd name="T3" fmla="*/ 9 h 73"/>
                <a:gd name="T4" fmla="*/ 8 w 55"/>
                <a:gd name="T5" fmla="*/ 19 h 73"/>
                <a:gd name="T6" fmla="*/ 8 w 55"/>
                <a:gd name="T7" fmla="*/ 30 h 73"/>
                <a:gd name="T8" fmla="*/ 14 w 55"/>
                <a:gd name="T9" fmla="*/ 30 h 73"/>
                <a:gd name="T10" fmla="*/ 25 w 55"/>
                <a:gd name="T11" fmla="*/ 28 h 73"/>
                <a:gd name="T12" fmla="*/ 25 w 55"/>
                <a:gd name="T13" fmla="*/ 19 h 73"/>
                <a:gd name="T14" fmla="*/ 20 w 55"/>
                <a:gd name="T15" fmla="*/ 9 h 73"/>
                <a:gd name="T16" fmla="*/ 14 w 55"/>
                <a:gd name="T17" fmla="*/ 0 h 73"/>
                <a:gd name="T18" fmla="*/ 8 w 55"/>
                <a:gd name="T19" fmla="*/ 3 h 73"/>
                <a:gd name="T20" fmla="*/ 0 w 55"/>
                <a:gd name="T21" fmla="*/ 5 h 73"/>
                <a:gd name="T22" fmla="*/ 0 w 55"/>
                <a:gd name="T23" fmla="*/ 5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5" h="73">
                  <a:moveTo>
                    <a:pt x="0" y="12"/>
                  </a:moveTo>
                  <a:lnTo>
                    <a:pt x="13" y="23"/>
                  </a:lnTo>
                  <a:lnTo>
                    <a:pt x="18" y="48"/>
                  </a:lnTo>
                  <a:lnTo>
                    <a:pt x="18" y="73"/>
                  </a:lnTo>
                  <a:lnTo>
                    <a:pt x="30" y="73"/>
                  </a:lnTo>
                  <a:lnTo>
                    <a:pt x="55" y="67"/>
                  </a:lnTo>
                  <a:lnTo>
                    <a:pt x="55" y="48"/>
                  </a:lnTo>
                  <a:lnTo>
                    <a:pt x="43" y="23"/>
                  </a:lnTo>
                  <a:lnTo>
                    <a:pt x="30" y="0"/>
                  </a:lnTo>
                  <a:lnTo>
                    <a:pt x="18" y="5"/>
                  </a:lnTo>
                  <a:lnTo>
                    <a:pt x="0" y="1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8" name="Freeform 305"/>
            <p:cNvSpPr>
              <a:spLocks/>
            </p:cNvSpPr>
            <p:nvPr/>
          </p:nvSpPr>
          <p:spPr bwMode="auto">
            <a:xfrm>
              <a:off x="4399" y="1978"/>
              <a:ext cx="61" cy="178"/>
            </a:xfrm>
            <a:custGeom>
              <a:avLst/>
              <a:gdLst>
                <a:gd name="T0" fmla="*/ 0 w 73"/>
                <a:gd name="T1" fmla="*/ 0 h 213"/>
                <a:gd name="T2" fmla="*/ 6 w 73"/>
                <a:gd name="T3" fmla="*/ 11 h 213"/>
                <a:gd name="T4" fmla="*/ 8 w 73"/>
                <a:gd name="T5" fmla="*/ 27 h 213"/>
                <a:gd name="T6" fmla="*/ 13 w 73"/>
                <a:gd name="T7" fmla="*/ 64 h 213"/>
                <a:gd name="T8" fmla="*/ 15 w 73"/>
                <a:gd name="T9" fmla="*/ 84 h 213"/>
                <a:gd name="T10" fmla="*/ 15 w 73"/>
                <a:gd name="T11" fmla="*/ 87 h 213"/>
                <a:gd name="T12" fmla="*/ 23 w 73"/>
                <a:gd name="T13" fmla="*/ 82 h 213"/>
                <a:gd name="T14" fmla="*/ 28 w 73"/>
                <a:gd name="T15" fmla="*/ 87 h 213"/>
                <a:gd name="T16" fmla="*/ 30 w 73"/>
                <a:gd name="T17" fmla="*/ 82 h 213"/>
                <a:gd name="T18" fmla="*/ 23 w 73"/>
                <a:gd name="T19" fmla="*/ 76 h 213"/>
                <a:gd name="T20" fmla="*/ 18 w 73"/>
                <a:gd name="T21" fmla="*/ 54 h 213"/>
                <a:gd name="T22" fmla="*/ 23 w 73"/>
                <a:gd name="T23" fmla="*/ 54 h 213"/>
                <a:gd name="T24" fmla="*/ 23 w 73"/>
                <a:gd name="T25" fmla="*/ 47 h 213"/>
                <a:gd name="T26" fmla="*/ 13 w 73"/>
                <a:gd name="T27" fmla="*/ 34 h 213"/>
                <a:gd name="T28" fmla="*/ 13 w 73"/>
                <a:gd name="T29" fmla="*/ 18 h 213"/>
                <a:gd name="T30" fmla="*/ 8 w 73"/>
                <a:gd name="T31" fmla="*/ 3 h 213"/>
                <a:gd name="T32" fmla="*/ 3 w 73"/>
                <a:gd name="T33" fmla="*/ 0 h 213"/>
                <a:gd name="T34" fmla="*/ 0 w 73"/>
                <a:gd name="T35" fmla="*/ 0 h 213"/>
                <a:gd name="T36" fmla="*/ 0 w 73"/>
                <a:gd name="T37" fmla="*/ 0 h 21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13">
                  <a:moveTo>
                    <a:pt x="0" y="0"/>
                  </a:moveTo>
                  <a:lnTo>
                    <a:pt x="13" y="25"/>
                  </a:lnTo>
                  <a:lnTo>
                    <a:pt x="18" y="66"/>
                  </a:lnTo>
                  <a:lnTo>
                    <a:pt x="30" y="158"/>
                  </a:lnTo>
                  <a:lnTo>
                    <a:pt x="37" y="206"/>
                  </a:lnTo>
                  <a:lnTo>
                    <a:pt x="37" y="213"/>
                  </a:lnTo>
                  <a:lnTo>
                    <a:pt x="55" y="201"/>
                  </a:lnTo>
                  <a:lnTo>
                    <a:pt x="67" y="213"/>
                  </a:lnTo>
                  <a:lnTo>
                    <a:pt x="73" y="201"/>
                  </a:lnTo>
                  <a:lnTo>
                    <a:pt x="55" y="188"/>
                  </a:lnTo>
                  <a:lnTo>
                    <a:pt x="43" y="133"/>
                  </a:lnTo>
                  <a:lnTo>
                    <a:pt x="55" y="133"/>
                  </a:lnTo>
                  <a:lnTo>
                    <a:pt x="55" y="115"/>
                  </a:lnTo>
                  <a:lnTo>
                    <a:pt x="30" y="85"/>
                  </a:lnTo>
                  <a:lnTo>
                    <a:pt x="30" y="43"/>
                  </a:lnTo>
                  <a:lnTo>
                    <a:pt x="18" y="6"/>
                  </a:lnTo>
                  <a:lnTo>
                    <a:pt x="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9" name="Freeform 306"/>
            <p:cNvSpPr>
              <a:spLocks/>
            </p:cNvSpPr>
            <p:nvPr/>
          </p:nvSpPr>
          <p:spPr bwMode="auto">
            <a:xfrm>
              <a:off x="4399" y="1978"/>
              <a:ext cx="61" cy="178"/>
            </a:xfrm>
            <a:custGeom>
              <a:avLst/>
              <a:gdLst>
                <a:gd name="T0" fmla="*/ 0 w 73"/>
                <a:gd name="T1" fmla="*/ 0 h 213"/>
                <a:gd name="T2" fmla="*/ 6 w 73"/>
                <a:gd name="T3" fmla="*/ 11 h 213"/>
                <a:gd name="T4" fmla="*/ 8 w 73"/>
                <a:gd name="T5" fmla="*/ 27 h 213"/>
                <a:gd name="T6" fmla="*/ 13 w 73"/>
                <a:gd name="T7" fmla="*/ 64 h 213"/>
                <a:gd name="T8" fmla="*/ 15 w 73"/>
                <a:gd name="T9" fmla="*/ 84 h 213"/>
                <a:gd name="T10" fmla="*/ 15 w 73"/>
                <a:gd name="T11" fmla="*/ 87 h 213"/>
                <a:gd name="T12" fmla="*/ 23 w 73"/>
                <a:gd name="T13" fmla="*/ 82 h 213"/>
                <a:gd name="T14" fmla="*/ 28 w 73"/>
                <a:gd name="T15" fmla="*/ 87 h 213"/>
                <a:gd name="T16" fmla="*/ 30 w 73"/>
                <a:gd name="T17" fmla="*/ 82 h 213"/>
                <a:gd name="T18" fmla="*/ 23 w 73"/>
                <a:gd name="T19" fmla="*/ 76 h 213"/>
                <a:gd name="T20" fmla="*/ 18 w 73"/>
                <a:gd name="T21" fmla="*/ 54 h 213"/>
                <a:gd name="T22" fmla="*/ 23 w 73"/>
                <a:gd name="T23" fmla="*/ 54 h 213"/>
                <a:gd name="T24" fmla="*/ 23 w 73"/>
                <a:gd name="T25" fmla="*/ 47 h 213"/>
                <a:gd name="T26" fmla="*/ 13 w 73"/>
                <a:gd name="T27" fmla="*/ 34 h 213"/>
                <a:gd name="T28" fmla="*/ 13 w 73"/>
                <a:gd name="T29" fmla="*/ 18 h 213"/>
                <a:gd name="T30" fmla="*/ 8 w 73"/>
                <a:gd name="T31" fmla="*/ 3 h 213"/>
                <a:gd name="T32" fmla="*/ 3 w 73"/>
                <a:gd name="T33" fmla="*/ 0 h 213"/>
                <a:gd name="T34" fmla="*/ 0 w 73"/>
                <a:gd name="T35" fmla="*/ 0 h 213"/>
                <a:gd name="T36" fmla="*/ 0 w 73"/>
                <a:gd name="T37" fmla="*/ 0 h 21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13">
                  <a:moveTo>
                    <a:pt x="0" y="0"/>
                  </a:moveTo>
                  <a:lnTo>
                    <a:pt x="13" y="25"/>
                  </a:lnTo>
                  <a:lnTo>
                    <a:pt x="18" y="66"/>
                  </a:lnTo>
                  <a:lnTo>
                    <a:pt x="30" y="158"/>
                  </a:lnTo>
                  <a:lnTo>
                    <a:pt x="37" y="206"/>
                  </a:lnTo>
                  <a:lnTo>
                    <a:pt x="37" y="213"/>
                  </a:lnTo>
                  <a:lnTo>
                    <a:pt x="55" y="201"/>
                  </a:lnTo>
                  <a:lnTo>
                    <a:pt x="67" y="213"/>
                  </a:lnTo>
                  <a:lnTo>
                    <a:pt x="73" y="201"/>
                  </a:lnTo>
                  <a:lnTo>
                    <a:pt x="55" y="188"/>
                  </a:lnTo>
                  <a:lnTo>
                    <a:pt x="43" y="133"/>
                  </a:lnTo>
                  <a:lnTo>
                    <a:pt x="55" y="133"/>
                  </a:lnTo>
                  <a:lnTo>
                    <a:pt x="55" y="115"/>
                  </a:lnTo>
                  <a:lnTo>
                    <a:pt x="30" y="85"/>
                  </a:lnTo>
                  <a:lnTo>
                    <a:pt x="30" y="43"/>
                  </a:lnTo>
                  <a:lnTo>
                    <a:pt x="18" y="6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0" name="Freeform 307"/>
            <p:cNvSpPr>
              <a:spLocks/>
            </p:cNvSpPr>
            <p:nvPr/>
          </p:nvSpPr>
          <p:spPr bwMode="auto">
            <a:xfrm>
              <a:off x="4440" y="2166"/>
              <a:ext cx="70" cy="75"/>
            </a:xfrm>
            <a:custGeom>
              <a:avLst/>
              <a:gdLst>
                <a:gd name="T0" fmla="*/ 0 w 80"/>
                <a:gd name="T1" fmla="*/ 0 h 91"/>
                <a:gd name="T2" fmla="*/ 4 w 80"/>
                <a:gd name="T3" fmla="*/ 14 h 91"/>
                <a:gd name="T4" fmla="*/ 0 w 80"/>
                <a:gd name="T5" fmla="*/ 33 h 91"/>
                <a:gd name="T6" fmla="*/ 13 w 80"/>
                <a:gd name="T7" fmla="*/ 30 h 91"/>
                <a:gd name="T8" fmla="*/ 23 w 80"/>
                <a:gd name="T9" fmla="*/ 35 h 91"/>
                <a:gd name="T10" fmla="*/ 26 w 80"/>
                <a:gd name="T11" fmla="*/ 33 h 91"/>
                <a:gd name="T12" fmla="*/ 26 w 80"/>
                <a:gd name="T13" fmla="*/ 27 h 91"/>
                <a:gd name="T14" fmla="*/ 40 w 80"/>
                <a:gd name="T15" fmla="*/ 18 h 91"/>
                <a:gd name="T16" fmla="*/ 35 w 80"/>
                <a:gd name="T17" fmla="*/ 14 h 91"/>
                <a:gd name="T18" fmla="*/ 23 w 80"/>
                <a:gd name="T19" fmla="*/ 12 h 91"/>
                <a:gd name="T20" fmla="*/ 8 w 80"/>
                <a:gd name="T21" fmla="*/ 2 h 91"/>
                <a:gd name="T22" fmla="*/ 0 w 80"/>
                <a:gd name="T23" fmla="*/ 0 h 91"/>
                <a:gd name="T24" fmla="*/ 0 w 80"/>
                <a:gd name="T25" fmla="*/ 0 h 9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0" h="91">
                  <a:moveTo>
                    <a:pt x="0" y="0"/>
                  </a:moveTo>
                  <a:lnTo>
                    <a:pt x="7" y="36"/>
                  </a:lnTo>
                  <a:lnTo>
                    <a:pt x="0" y="86"/>
                  </a:lnTo>
                  <a:lnTo>
                    <a:pt x="25" y="80"/>
                  </a:lnTo>
                  <a:lnTo>
                    <a:pt x="44" y="91"/>
                  </a:lnTo>
                  <a:lnTo>
                    <a:pt x="50" y="86"/>
                  </a:lnTo>
                  <a:lnTo>
                    <a:pt x="50" y="73"/>
                  </a:lnTo>
                  <a:lnTo>
                    <a:pt x="80" y="48"/>
                  </a:lnTo>
                  <a:lnTo>
                    <a:pt x="69" y="36"/>
                  </a:lnTo>
                  <a:lnTo>
                    <a:pt x="44" y="30"/>
                  </a:lnTo>
                  <a:lnTo>
                    <a:pt x="14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1" name="Freeform 308"/>
            <p:cNvSpPr>
              <a:spLocks/>
            </p:cNvSpPr>
            <p:nvPr/>
          </p:nvSpPr>
          <p:spPr bwMode="auto">
            <a:xfrm>
              <a:off x="4440" y="2166"/>
              <a:ext cx="70" cy="75"/>
            </a:xfrm>
            <a:custGeom>
              <a:avLst/>
              <a:gdLst>
                <a:gd name="T0" fmla="*/ 0 w 80"/>
                <a:gd name="T1" fmla="*/ 0 h 91"/>
                <a:gd name="T2" fmla="*/ 4 w 80"/>
                <a:gd name="T3" fmla="*/ 14 h 91"/>
                <a:gd name="T4" fmla="*/ 0 w 80"/>
                <a:gd name="T5" fmla="*/ 33 h 91"/>
                <a:gd name="T6" fmla="*/ 13 w 80"/>
                <a:gd name="T7" fmla="*/ 30 h 91"/>
                <a:gd name="T8" fmla="*/ 23 w 80"/>
                <a:gd name="T9" fmla="*/ 35 h 91"/>
                <a:gd name="T10" fmla="*/ 26 w 80"/>
                <a:gd name="T11" fmla="*/ 33 h 91"/>
                <a:gd name="T12" fmla="*/ 26 w 80"/>
                <a:gd name="T13" fmla="*/ 27 h 91"/>
                <a:gd name="T14" fmla="*/ 40 w 80"/>
                <a:gd name="T15" fmla="*/ 18 h 91"/>
                <a:gd name="T16" fmla="*/ 35 w 80"/>
                <a:gd name="T17" fmla="*/ 14 h 91"/>
                <a:gd name="T18" fmla="*/ 23 w 80"/>
                <a:gd name="T19" fmla="*/ 12 h 91"/>
                <a:gd name="T20" fmla="*/ 8 w 80"/>
                <a:gd name="T21" fmla="*/ 2 h 91"/>
                <a:gd name="T22" fmla="*/ 0 w 80"/>
                <a:gd name="T23" fmla="*/ 0 h 91"/>
                <a:gd name="T24" fmla="*/ 0 w 80"/>
                <a:gd name="T25" fmla="*/ 0 h 9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0" h="91">
                  <a:moveTo>
                    <a:pt x="0" y="0"/>
                  </a:moveTo>
                  <a:lnTo>
                    <a:pt x="7" y="36"/>
                  </a:lnTo>
                  <a:lnTo>
                    <a:pt x="0" y="86"/>
                  </a:lnTo>
                  <a:lnTo>
                    <a:pt x="25" y="80"/>
                  </a:lnTo>
                  <a:lnTo>
                    <a:pt x="44" y="91"/>
                  </a:lnTo>
                  <a:lnTo>
                    <a:pt x="50" y="86"/>
                  </a:lnTo>
                  <a:lnTo>
                    <a:pt x="50" y="73"/>
                  </a:lnTo>
                  <a:lnTo>
                    <a:pt x="80" y="48"/>
                  </a:lnTo>
                  <a:lnTo>
                    <a:pt x="69" y="36"/>
                  </a:lnTo>
                  <a:lnTo>
                    <a:pt x="44" y="30"/>
                  </a:lnTo>
                  <a:lnTo>
                    <a:pt x="14" y="6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2" name="Freeform 309"/>
            <p:cNvSpPr>
              <a:spLocks/>
            </p:cNvSpPr>
            <p:nvPr/>
          </p:nvSpPr>
          <p:spPr bwMode="auto">
            <a:xfrm>
              <a:off x="4351" y="2252"/>
              <a:ext cx="121" cy="141"/>
            </a:xfrm>
            <a:custGeom>
              <a:avLst/>
              <a:gdLst>
                <a:gd name="T0" fmla="*/ 50 w 140"/>
                <a:gd name="T1" fmla="*/ 0 h 170"/>
                <a:gd name="T2" fmla="*/ 47 w 140"/>
                <a:gd name="T3" fmla="*/ 22 h 170"/>
                <a:gd name="T4" fmla="*/ 47 w 140"/>
                <a:gd name="T5" fmla="*/ 32 h 170"/>
                <a:gd name="T6" fmla="*/ 26 w 140"/>
                <a:gd name="T7" fmla="*/ 46 h 170"/>
                <a:gd name="T8" fmla="*/ 26 w 140"/>
                <a:gd name="T9" fmla="*/ 51 h 170"/>
                <a:gd name="T10" fmla="*/ 7 w 140"/>
                <a:gd name="T11" fmla="*/ 55 h 170"/>
                <a:gd name="T12" fmla="*/ 0 w 140"/>
                <a:gd name="T13" fmla="*/ 62 h 170"/>
                <a:gd name="T14" fmla="*/ 9 w 140"/>
                <a:gd name="T15" fmla="*/ 66 h 170"/>
                <a:gd name="T16" fmla="*/ 16 w 140"/>
                <a:gd name="T17" fmla="*/ 62 h 170"/>
                <a:gd name="T18" fmla="*/ 21 w 140"/>
                <a:gd name="T19" fmla="*/ 62 h 170"/>
                <a:gd name="T20" fmla="*/ 30 w 140"/>
                <a:gd name="T21" fmla="*/ 60 h 170"/>
                <a:gd name="T22" fmla="*/ 33 w 140"/>
                <a:gd name="T23" fmla="*/ 66 h 170"/>
                <a:gd name="T24" fmla="*/ 41 w 140"/>
                <a:gd name="T25" fmla="*/ 66 h 170"/>
                <a:gd name="T26" fmla="*/ 41 w 140"/>
                <a:gd name="T27" fmla="*/ 58 h 170"/>
                <a:gd name="T28" fmla="*/ 45 w 140"/>
                <a:gd name="T29" fmla="*/ 58 h 170"/>
                <a:gd name="T30" fmla="*/ 47 w 140"/>
                <a:gd name="T31" fmla="*/ 55 h 170"/>
                <a:gd name="T32" fmla="*/ 59 w 140"/>
                <a:gd name="T33" fmla="*/ 55 h 170"/>
                <a:gd name="T34" fmla="*/ 59 w 140"/>
                <a:gd name="T35" fmla="*/ 51 h 170"/>
                <a:gd name="T36" fmla="*/ 68 w 140"/>
                <a:gd name="T37" fmla="*/ 53 h 170"/>
                <a:gd name="T38" fmla="*/ 65 w 140"/>
                <a:gd name="T39" fmla="*/ 38 h 170"/>
                <a:gd name="T40" fmla="*/ 62 w 140"/>
                <a:gd name="T41" fmla="*/ 32 h 170"/>
                <a:gd name="T42" fmla="*/ 65 w 140"/>
                <a:gd name="T43" fmla="*/ 24 h 170"/>
                <a:gd name="T44" fmla="*/ 65 w 140"/>
                <a:gd name="T45" fmla="*/ 19 h 170"/>
                <a:gd name="T46" fmla="*/ 68 w 140"/>
                <a:gd name="T47" fmla="*/ 12 h 170"/>
                <a:gd name="T48" fmla="*/ 62 w 140"/>
                <a:gd name="T49" fmla="*/ 2 h 170"/>
                <a:gd name="T50" fmla="*/ 59 w 140"/>
                <a:gd name="T51" fmla="*/ 2 h 170"/>
                <a:gd name="T52" fmla="*/ 50 w 140"/>
                <a:gd name="T53" fmla="*/ 0 h 170"/>
                <a:gd name="T54" fmla="*/ 50 w 140"/>
                <a:gd name="T55" fmla="*/ 0 h 17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0" h="170">
                  <a:moveTo>
                    <a:pt x="103" y="0"/>
                  </a:moveTo>
                  <a:lnTo>
                    <a:pt x="98" y="55"/>
                  </a:lnTo>
                  <a:lnTo>
                    <a:pt x="98" y="80"/>
                  </a:lnTo>
                  <a:lnTo>
                    <a:pt x="55" y="117"/>
                  </a:lnTo>
                  <a:lnTo>
                    <a:pt x="55" y="128"/>
                  </a:lnTo>
                  <a:lnTo>
                    <a:pt x="13" y="140"/>
                  </a:lnTo>
                  <a:lnTo>
                    <a:pt x="0" y="158"/>
                  </a:lnTo>
                  <a:lnTo>
                    <a:pt x="18" y="165"/>
                  </a:lnTo>
                  <a:lnTo>
                    <a:pt x="32" y="158"/>
                  </a:lnTo>
                  <a:lnTo>
                    <a:pt x="43" y="158"/>
                  </a:lnTo>
                  <a:lnTo>
                    <a:pt x="62" y="153"/>
                  </a:lnTo>
                  <a:lnTo>
                    <a:pt x="68" y="170"/>
                  </a:lnTo>
                  <a:lnTo>
                    <a:pt x="85" y="165"/>
                  </a:lnTo>
                  <a:lnTo>
                    <a:pt x="85" y="147"/>
                  </a:lnTo>
                  <a:lnTo>
                    <a:pt x="92" y="147"/>
                  </a:lnTo>
                  <a:lnTo>
                    <a:pt x="98" y="140"/>
                  </a:lnTo>
                  <a:lnTo>
                    <a:pt x="122" y="140"/>
                  </a:lnTo>
                  <a:lnTo>
                    <a:pt x="122" y="128"/>
                  </a:lnTo>
                  <a:lnTo>
                    <a:pt x="140" y="135"/>
                  </a:lnTo>
                  <a:lnTo>
                    <a:pt x="135" y="98"/>
                  </a:lnTo>
                  <a:lnTo>
                    <a:pt x="128" y="80"/>
                  </a:lnTo>
                  <a:lnTo>
                    <a:pt x="135" y="62"/>
                  </a:lnTo>
                  <a:lnTo>
                    <a:pt x="135" y="50"/>
                  </a:lnTo>
                  <a:lnTo>
                    <a:pt x="140" y="32"/>
                  </a:lnTo>
                  <a:lnTo>
                    <a:pt x="128" y="7"/>
                  </a:lnTo>
                  <a:lnTo>
                    <a:pt x="122" y="7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3" name="Freeform 310"/>
            <p:cNvSpPr>
              <a:spLocks/>
            </p:cNvSpPr>
            <p:nvPr/>
          </p:nvSpPr>
          <p:spPr bwMode="auto">
            <a:xfrm>
              <a:off x="4351" y="2252"/>
              <a:ext cx="121" cy="141"/>
            </a:xfrm>
            <a:custGeom>
              <a:avLst/>
              <a:gdLst>
                <a:gd name="T0" fmla="*/ 50 w 140"/>
                <a:gd name="T1" fmla="*/ 0 h 170"/>
                <a:gd name="T2" fmla="*/ 47 w 140"/>
                <a:gd name="T3" fmla="*/ 22 h 170"/>
                <a:gd name="T4" fmla="*/ 47 w 140"/>
                <a:gd name="T5" fmla="*/ 32 h 170"/>
                <a:gd name="T6" fmla="*/ 26 w 140"/>
                <a:gd name="T7" fmla="*/ 46 h 170"/>
                <a:gd name="T8" fmla="*/ 26 w 140"/>
                <a:gd name="T9" fmla="*/ 51 h 170"/>
                <a:gd name="T10" fmla="*/ 7 w 140"/>
                <a:gd name="T11" fmla="*/ 55 h 170"/>
                <a:gd name="T12" fmla="*/ 0 w 140"/>
                <a:gd name="T13" fmla="*/ 62 h 170"/>
                <a:gd name="T14" fmla="*/ 9 w 140"/>
                <a:gd name="T15" fmla="*/ 66 h 170"/>
                <a:gd name="T16" fmla="*/ 16 w 140"/>
                <a:gd name="T17" fmla="*/ 62 h 170"/>
                <a:gd name="T18" fmla="*/ 21 w 140"/>
                <a:gd name="T19" fmla="*/ 62 h 170"/>
                <a:gd name="T20" fmla="*/ 30 w 140"/>
                <a:gd name="T21" fmla="*/ 60 h 170"/>
                <a:gd name="T22" fmla="*/ 33 w 140"/>
                <a:gd name="T23" fmla="*/ 66 h 170"/>
                <a:gd name="T24" fmla="*/ 41 w 140"/>
                <a:gd name="T25" fmla="*/ 66 h 170"/>
                <a:gd name="T26" fmla="*/ 41 w 140"/>
                <a:gd name="T27" fmla="*/ 58 h 170"/>
                <a:gd name="T28" fmla="*/ 45 w 140"/>
                <a:gd name="T29" fmla="*/ 58 h 170"/>
                <a:gd name="T30" fmla="*/ 47 w 140"/>
                <a:gd name="T31" fmla="*/ 55 h 170"/>
                <a:gd name="T32" fmla="*/ 59 w 140"/>
                <a:gd name="T33" fmla="*/ 55 h 170"/>
                <a:gd name="T34" fmla="*/ 59 w 140"/>
                <a:gd name="T35" fmla="*/ 51 h 170"/>
                <a:gd name="T36" fmla="*/ 68 w 140"/>
                <a:gd name="T37" fmla="*/ 53 h 170"/>
                <a:gd name="T38" fmla="*/ 65 w 140"/>
                <a:gd name="T39" fmla="*/ 38 h 170"/>
                <a:gd name="T40" fmla="*/ 62 w 140"/>
                <a:gd name="T41" fmla="*/ 32 h 170"/>
                <a:gd name="T42" fmla="*/ 65 w 140"/>
                <a:gd name="T43" fmla="*/ 24 h 170"/>
                <a:gd name="T44" fmla="*/ 65 w 140"/>
                <a:gd name="T45" fmla="*/ 19 h 170"/>
                <a:gd name="T46" fmla="*/ 68 w 140"/>
                <a:gd name="T47" fmla="*/ 12 h 170"/>
                <a:gd name="T48" fmla="*/ 62 w 140"/>
                <a:gd name="T49" fmla="*/ 2 h 170"/>
                <a:gd name="T50" fmla="*/ 59 w 140"/>
                <a:gd name="T51" fmla="*/ 2 h 170"/>
                <a:gd name="T52" fmla="*/ 50 w 140"/>
                <a:gd name="T53" fmla="*/ 0 h 170"/>
                <a:gd name="T54" fmla="*/ 50 w 140"/>
                <a:gd name="T55" fmla="*/ 0 h 17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40" h="170">
                  <a:moveTo>
                    <a:pt x="103" y="0"/>
                  </a:moveTo>
                  <a:lnTo>
                    <a:pt x="98" y="55"/>
                  </a:lnTo>
                  <a:lnTo>
                    <a:pt x="98" y="80"/>
                  </a:lnTo>
                  <a:lnTo>
                    <a:pt x="55" y="117"/>
                  </a:lnTo>
                  <a:lnTo>
                    <a:pt x="55" y="128"/>
                  </a:lnTo>
                  <a:lnTo>
                    <a:pt x="13" y="140"/>
                  </a:lnTo>
                  <a:lnTo>
                    <a:pt x="0" y="158"/>
                  </a:lnTo>
                  <a:lnTo>
                    <a:pt x="18" y="165"/>
                  </a:lnTo>
                  <a:lnTo>
                    <a:pt x="32" y="158"/>
                  </a:lnTo>
                  <a:lnTo>
                    <a:pt x="43" y="158"/>
                  </a:lnTo>
                  <a:lnTo>
                    <a:pt x="62" y="153"/>
                  </a:lnTo>
                  <a:lnTo>
                    <a:pt x="68" y="170"/>
                  </a:lnTo>
                  <a:lnTo>
                    <a:pt x="85" y="165"/>
                  </a:lnTo>
                  <a:lnTo>
                    <a:pt x="85" y="147"/>
                  </a:lnTo>
                  <a:lnTo>
                    <a:pt x="92" y="147"/>
                  </a:lnTo>
                  <a:lnTo>
                    <a:pt x="98" y="140"/>
                  </a:lnTo>
                  <a:lnTo>
                    <a:pt x="122" y="140"/>
                  </a:lnTo>
                  <a:lnTo>
                    <a:pt x="122" y="128"/>
                  </a:lnTo>
                  <a:lnTo>
                    <a:pt x="140" y="135"/>
                  </a:lnTo>
                  <a:lnTo>
                    <a:pt x="135" y="98"/>
                  </a:lnTo>
                  <a:lnTo>
                    <a:pt x="128" y="80"/>
                  </a:lnTo>
                  <a:lnTo>
                    <a:pt x="135" y="62"/>
                  </a:lnTo>
                  <a:lnTo>
                    <a:pt x="135" y="50"/>
                  </a:lnTo>
                  <a:lnTo>
                    <a:pt x="140" y="32"/>
                  </a:lnTo>
                  <a:lnTo>
                    <a:pt x="128" y="7"/>
                  </a:lnTo>
                  <a:lnTo>
                    <a:pt x="122" y="7"/>
                  </a:lnTo>
                  <a:lnTo>
                    <a:pt x="10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4" name="Freeform 311"/>
            <p:cNvSpPr>
              <a:spLocks/>
            </p:cNvSpPr>
            <p:nvPr/>
          </p:nvSpPr>
          <p:spPr bwMode="auto">
            <a:xfrm>
              <a:off x="4379" y="2393"/>
              <a:ext cx="20" cy="17"/>
            </a:xfrm>
            <a:custGeom>
              <a:avLst/>
              <a:gdLst>
                <a:gd name="T0" fmla="*/ 6 w 23"/>
                <a:gd name="T1" fmla="*/ 0 h 18"/>
                <a:gd name="T2" fmla="*/ 0 w 23"/>
                <a:gd name="T3" fmla="*/ 7 h 18"/>
                <a:gd name="T4" fmla="*/ 0 w 23"/>
                <a:gd name="T5" fmla="*/ 13 h 18"/>
                <a:gd name="T6" fmla="*/ 11 w 23"/>
                <a:gd name="T7" fmla="*/ 13 h 18"/>
                <a:gd name="T8" fmla="*/ 11 w 23"/>
                <a:gd name="T9" fmla="*/ 7 h 18"/>
                <a:gd name="T10" fmla="*/ 6 w 23"/>
                <a:gd name="T11" fmla="*/ 0 h 18"/>
                <a:gd name="T12" fmla="*/ 6 w 2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3" h="18">
                  <a:moveTo>
                    <a:pt x="11" y="0"/>
                  </a:moveTo>
                  <a:lnTo>
                    <a:pt x="0" y="7"/>
                  </a:lnTo>
                  <a:lnTo>
                    <a:pt x="0" y="18"/>
                  </a:lnTo>
                  <a:lnTo>
                    <a:pt x="23" y="18"/>
                  </a:lnTo>
                  <a:lnTo>
                    <a:pt x="23" y="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5" name="Freeform 312"/>
            <p:cNvSpPr>
              <a:spLocks/>
            </p:cNvSpPr>
            <p:nvPr/>
          </p:nvSpPr>
          <p:spPr bwMode="auto">
            <a:xfrm>
              <a:off x="4379" y="2393"/>
              <a:ext cx="20" cy="17"/>
            </a:xfrm>
            <a:custGeom>
              <a:avLst/>
              <a:gdLst>
                <a:gd name="T0" fmla="*/ 6 w 23"/>
                <a:gd name="T1" fmla="*/ 0 h 18"/>
                <a:gd name="T2" fmla="*/ 0 w 23"/>
                <a:gd name="T3" fmla="*/ 7 h 18"/>
                <a:gd name="T4" fmla="*/ 0 w 23"/>
                <a:gd name="T5" fmla="*/ 13 h 18"/>
                <a:gd name="T6" fmla="*/ 11 w 23"/>
                <a:gd name="T7" fmla="*/ 13 h 18"/>
                <a:gd name="T8" fmla="*/ 11 w 23"/>
                <a:gd name="T9" fmla="*/ 7 h 18"/>
                <a:gd name="T10" fmla="*/ 6 w 23"/>
                <a:gd name="T11" fmla="*/ 0 h 18"/>
                <a:gd name="T12" fmla="*/ 6 w 2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3" h="18">
                  <a:moveTo>
                    <a:pt x="11" y="0"/>
                  </a:moveTo>
                  <a:lnTo>
                    <a:pt x="0" y="7"/>
                  </a:lnTo>
                  <a:lnTo>
                    <a:pt x="0" y="18"/>
                  </a:lnTo>
                  <a:lnTo>
                    <a:pt x="23" y="18"/>
                  </a:lnTo>
                  <a:lnTo>
                    <a:pt x="23" y="7"/>
                  </a:lnTo>
                  <a:lnTo>
                    <a:pt x="1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6" name="Freeform 313"/>
            <p:cNvSpPr>
              <a:spLocks/>
            </p:cNvSpPr>
            <p:nvPr/>
          </p:nvSpPr>
          <p:spPr bwMode="auto">
            <a:xfrm>
              <a:off x="4347" y="2400"/>
              <a:ext cx="20" cy="45"/>
            </a:xfrm>
            <a:custGeom>
              <a:avLst/>
              <a:gdLst>
                <a:gd name="T0" fmla="*/ 11 w 23"/>
                <a:gd name="T1" fmla="*/ 4 h 55"/>
                <a:gd name="T2" fmla="*/ 6 w 23"/>
                <a:gd name="T3" fmla="*/ 0 h 55"/>
                <a:gd name="T4" fmla="*/ 0 w 23"/>
                <a:gd name="T5" fmla="*/ 4 h 55"/>
                <a:gd name="T6" fmla="*/ 0 w 23"/>
                <a:gd name="T7" fmla="*/ 16 h 55"/>
                <a:gd name="T8" fmla="*/ 6 w 23"/>
                <a:gd name="T9" fmla="*/ 20 h 55"/>
                <a:gd name="T10" fmla="*/ 9 w 23"/>
                <a:gd name="T11" fmla="*/ 16 h 55"/>
                <a:gd name="T12" fmla="*/ 9 w 23"/>
                <a:gd name="T13" fmla="*/ 9 h 55"/>
                <a:gd name="T14" fmla="*/ 11 w 23"/>
                <a:gd name="T15" fmla="*/ 4 h 55"/>
                <a:gd name="T16" fmla="*/ 11 w 23"/>
                <a:gd name="T17" fmla="*/ 4 h 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" h="55">
                  <a:moveTo>
                    <a:pt x="23" y="11"/>
                  </a:moveTo>
                  <a:lnTo>
                    <a:pt x="12" y="0"/>
                  </a:lnTo>
                  <a:lnTo>
                    <a:pt x="0" y="11"/>
                  </a:lnTo>
                  <a:lnTo>
                    <a:pt x="0" y="43"/>
                  </a:lnTo>
                  <a:lnTo>
                    <a:pt x="12" y="55"/>
                  </a:lnTo>
                  <a:lnTo>
                    <a:pt x="18" y="43"/>
                  </a:lnTo>
                  <a:lnTo>
                    <a:pt x="18" y="25"/>
                  </a:lnTo>
                  <a:lnTo>
                    <a:pt x="23" y="1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7" name="Freeform 314"/>
            <p:cNvSpPr>
              <a:spLocks/>
            </p:cNvSpPr>
            <p:nvPr/>
          </p:nvSpPr>
          <p:spPr bwMode="auto">
            <a:xfrm>
              <a:off x="4347" y="2400"/>
              <a:ext cx="20" cy="45"/>
            </a:xfrm>
            <a:custGeom>
              <a:avLst/>
              <a:gdLst>
                <a:gd name="T0" fmla="*/ 11 w 23"/>
                <a:gd name="T1" fmla="*/ 4 h 55"/>
                <a:gd name="T2" fmla="*/ 6 w 23"/>
                <a:gd name="T3" fmla="*/ 0 h 55"/>
                <a:gd name="T4" fmla="*/ 0 w 23"/>
                <a:gd name="T5" fmla="*/ 4 h 55"/>
                <a:gd name="T6" fmla="*/ 0 w 23"/>
                <a:gd name="T7" fmla="*/ 16 h 55"/>
                <a:gd name="T8" fmla="*/ 6 w 23"/>
                <a:gd name="T9" fmla="*/ 20 h 55"/>
                <a:gd name="T10" fmla="*/ 9 w 23"/>
                <a:gd name="T11" fmla="*/ 16 h 55"/>
                <a:gd name="T12" fmla="*/ 9 w 23"/>
                <a:gd name="T13" fmla="*/ 9 h 55"/>
                <a:gd name="T14" fmla="*/ 11 w 23"/>
                <a:gd name="T15" fmla="*/ 4 h 55"/>
                <a:gd name="T16" fmla="*/ 11 w 23"/>
                <a:gd name="T17" fmla="*/ 4 h 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" h="55">
                  <a:moveTo>
                    <a:pt x="23" y="11"/>
                  </a:moveTo>
                  <a:lnTo>
                    <a:pt x="12" y="0"/>
                  </a:lnTo>
                  <a:lnTo>
                    <a:pt x="0" y="11"/>
                  </a:lnTo>
                  <a:lnTo>
                    <a:pt x="0" y="43"/>
                  </a:lnTo>
                  <a:lnTo>
                    <a:pt x="12" y="55"/>
                  </a:lnTo>
                  <a:lnTo>
                    <a:pt x="18" y="43"/>
                  </a:lnTo>
                  <a:lnTo>
                    <a:pt x="18" y="25"/>
                  </a:lnTo>
                  <a:lnTo>
                    <a:pt x="23" y="1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8" name="Freeform 315"/>
            <p:cNvSpPr>
              <a:spLocks/>
            </p:cNvSpPr>
            <p:nvPr/>
          </p:nvSpPr>
          <p:spPr bwMode="auto">
            <a:xfrm>
              <a:off x="4238" y="2521"/>
              <a:ext cx="15" cy="43"/>
            </a:xfrm>
            <a:custGeom>
              <a:avLst/>
              <a:gdLst>
                <a:gd name="T0" fmla="*/ 3 w 18"/>
                <a:gd name="T1" fmla="*/ 0 h 49"/>
                <a:gd name="T2" fmla="*/ 0 w 18"/>
                <a:gd name="T3" fmla="*/ 7 h 49"/>
                <a:gd name="T4" fmla="*/ 0 w 18"/>
                <a:gd name="T5" fmla="*/ 13 h 49"/>
                <a:gd name="T6" fmla="*/ 3 w 18"/>
                <a:gd name="T7" fmla="*/ 22 h 49"/>
                <a:gd name="T8" fmla="*/ 3 w 18"/>
                <a:gd name="T9" fmla="*/ 25 h 49"/>
                <a:gd name="T10" fmla="*/ 8 w 18"/>
                <a:gd name="T11" fmla="*/ 19 h 49"/>
                <a:gd name="T12" fmla="*/ 8 w 18"/>
                <a:gd name="T13" fmla="*/ 13 h 49"/>
                <a:gd name="T14" fmla="*/ 3 w 18"/>
                <a:gd name="T15" fmla="*/ 0 h 49"/>
                <a:gd name="T16" fmla="*/ 3 w 18"/>
                <a:gd name="T17" fmla="*/ 0 h 4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" h="49">
                  <a:moveTo>
                    <a:pt x="6" y="0"/>
                  </a:moveTo>
                  <a:lnTo>
                    <a:pt x="0" y="12"/>
                  </a:lnTo>
                  <a:lnTo>
                    <a:pt x="0" y="25"/>
                  </a:lnTo>
                  <a:lnTo>
                    <a:pt x="6" y="42"/>
                  </a:lnTo>
                  <a:lnTo>
                    <a:pt x="6" y="49"/>
                  </a:lnTo>
                  <a:lnTo>
                    <a:pt x="18" y="37"/>
                  </a:lnTo>
                  <a:lnTo>
                    <a:pt x="18" y="2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9" name="Freeform 316"/>
            <p:cNvSpPr>
              <a:spLocks/>
            </p:cNvSpPr>
            <p:nvPr/>
          </p:nvSpPr>
          <p:spPr bwMode="auto">
            <a:xfrm>
              <a:off x="4238" y="2521"/>
              <a:ext cx="15" cy="43"/>
            </a:xfrm>
            <a:custGeom>
              <a:avLst/>
              <a:gdLst>
                <a:gd name="T0" fmla="*/ 3 w 18"/>
                <a:gd name="T1" fmla="*/ 0 h 49"/>
                <a:gd name="T2" fmla="*/ 0 w 18"/>
                <a:gd name="T3" fmla="*/ 7 h 49"/>
                <a:gd name="T4" fmla="*/ 0 w 18"/>
                <a:gd name="T5" fmla="*/ 13 h 49"/>
                <a:gd name="T6" fmla="*/ 3 w 18"/>
                <a:gd name="T7" fmla="*/ 22 h 49"/>
                <a:gd name="T8" fmla="*/ 3 w 18"/>
                <a:gd name="T9" fmla="*/ 25 h 49"/>
                <a:gd name="T10" fmla="*/ 8 w 18"/>
                <a:gd name="T11" fmla="*/ 19 h 49"/>
                <a:gd name="T12" fmla="*/ 8 w 18"/>
                <a:gd name="T13" fmla="*/ 13 h 49"/>
                <a:gd name="T14" fmla="*/ 3 w 18"/>
                <a:gd name="T15" fmla="*/ 0 h 49"/>
                <a:gd name="T16" fmla="*/ 3 w 18"/>
                <a:gd name="T17" fmla="*/ 0 h 4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8" h="49">
                  <a:moveTo>
                    <a:pt x="6" y="0"/>
                  </a:moveTo>
                  <a:lnTo>
                    <a:pt x="0" y="12"/>
                  </a:lnTo>
                  <a:lnTo>
                    <a:pt x="0" y="25"/>
                  </a:lnTo>
                  <a:lnTo>
                    <a:pt x="6" y="42"/>
                  </a:lnTo>
                  <a:lnTo>
                    <a:pt x="6" y="49"/>
                  </a:lnTo>
                  <a:lnTo>
                    <a:pt x="18" y="37"/>
                  </a:lnTo>
                  <a:lnTo>
                    <a:pt x="18" y="25"/>
                  </a:lnTo>
                  <a:lnTo>
                    <a:pt x="6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0" name="Freeform 317"/>
            <p:cNvSpPr>
              <a:spLocks/>
            </p:cNvSpPr>
            <p:nvPr/>
          </p:nvSpPr>
          <p:spPr bwMode="auto">
            <a:xfrm>
              <a:off x="4078" y="2629"/>
              <a:ext cx="34" cy="20"/>
            </a:xfrm>
            <a:custGeom>
              <a:avLst/>
              <a:gdLst>
                <a:gd name="T0" fmla="*/ 19 w 38"/>
                <a:gd name="T1" fmla="*/ 0 h 25"/>
                <a:gd name="T2" fmla="*/ 8 w 38"/>
                <a:gd name="T3" fmla="*/ 0 h 25"/>
                <a:gd name="T4" fmla="*/ 0 w 38"/>
                <a:gd name="T5" fmla="*/ 4 h 25"/>
                <a:gd name="T6" fmla="*/ 8 w 38"/>
                <a:gd name="T7" fmla="*/ 8 h 25"/>
                <a:gd name="T8" fmla="*/ 21 w 38"/>
                <a:gd name="T9" fmla="*/ 4 h 25"/>
                <a:gd name="T10" fmla="*/ 19 w 38"/>
                <a:gd name="T11" fmla="*/ 0 h 25"/>
                <a:gd name="T12" fmla="*/ 19 w 38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8" h="25">
                  <a:moveTo>
                    <a:pt x="32" y="0"/>
                  </a:moveTo>
                  <a:lnTo>
                    <a:pt x="13" y="0"/>
                  </a:lnTo>
                  <a:lnTo>
                    <a:pt x="0" y="11"/>
                  </a:lnTo>
                  <a:lnTo>
                    <a:pt x="13" y="25"/>
                  </a:lnTo>
                  <a:lnTo>
                    <a:pt x="38" y="1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1" name="Freeform 318"/>
            <p:cNvSpPr>
              <a:spLocks/>
            </p:cNvSpPr>
            <p:nvPr/>
          </p:nvSpPr>
          <p:spPr bwMode="auto">
            <a:xfrm>
              <a:off x="4078" y="2629"/>
              <a:ext cx="34" cy="20"/>
            </a:xfrm>
            <a:custGeom>
              <a:avLst/>
              <a:gdLst>
                <a:gd name="T0" fmla="*/ 19 w 38"/>
                <a:gd name="T1" fmla="*/ 0 h 25"/>
                <a:gd name="T2" fmla="*/ 8 w 38"/>
                <a:gd name="T3" fmla="*/ 0 h 25"/>
                <a:gd name="T4" fmla="*/ 0 w 38"/>
                <a:gd name="T5" fmla="*/ 4 h 25"/>
                <a:gd name="T6" fmla="*/ 8 w 38"/>
                <a:gd name="T7" fmla="*/ 8 h 25"/>
                <a:gd name="T8" fmla="*/ 21 w 38"/>
                <a:gd name="T9" fmla="*/ 4 h 25"/>
                <a:gd name="T10" fmla="*/ 19 w 38"/>
                <a:gd name="T11" fmla="*/ 0 h 25"/>
                <a:gd name="T12" fmla="*/ 19 w 38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8" h="25">
                  <a:moveTo>
                    <a:pt x="32" y="0"/>
                  </a:moveTo>
                  <a:lnTo>
                    <a:pt x="13" y="0"/>
                  </a:lnTo>
                  <a:lnTo>
                    <a:pt x="0" y="11"/>
                  </a:lnTo>
                  <a:lnTo>
                    <a:pt x="13" y="25"/>
                  </a:lnTo>
                  <a:lnTo>
                    <a:pt x="38" y="11"/>
                  </a:lnTo>
                  <a:lnTo>
                    <a:pt x="3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2" name="Freeform 319"/>
            <p:cNvSpPr>
              <a:spLocks/>
            </p:cNvSpPr>
            <p:nvPr/>
          </p:nvSpPr>
          <p:spPr bwMode="auto">
            <a:xfrm>
              <a:off x="4001" y="2584"/>
              <a:ext cx="97" cy="202"/>
            </a:xfrm>
            <a:custGeom>
              <a:avLst/>
              <a:gdLst>
                <a:gd name="T0" fmla="*/ 0 w 115"/>
                <a:gd name="T1" fmla="*/ 4 h 243"/>
                <a:gd name="T2" fmla="*/ 3 w 115"/>
                <a:gd name="T3" fmla="*/ 12 h 243"/>
                <a:gd name="T4" fmla="*/ 9 w 115"/>
                <a:gd name="T5" fmla="*/ 12 h 243"/>
                <a:gd name="T6" fmla="*/ 15 w 115"/>
                <a:gd name="T7" fmla="*/ 18 h 243"/>
                <a:gd name="T8" fmla="*/ 13 w 115"/>
                <a:gd name="T9" fmla="*/ 27 h 243"/>
                <a:gd name="T10" fmla="*/ 25 w 115"/>
                <a:gd name="T11" fmla="*/ 41 h 243"/>
                <a:gd name="T12" fmla="*/ 36 w 115"/>
                <a:gd name="T13" fmla="*/ 56 h 243"/>
                <a:gd name="T14" fmla="*/ 31 w 115"/>
                <a:gd name="T15" fmla="*/ 63 h 243"/>
                <a:gd name="T16" fmla="*/ 36 w 115"/>
                <a:gd name="T17" fmla="*/ 76 h 243"/>
                <a:gd name="T18" fmla="*/ 25 w 115"/>
                <a:gd name="T19" fmla="*/ 80 h 243"/>
                <a:gd name="T20" fmla="*/ 25 w 115"/>
                <a:gd name="T21" fmla="*/ 84 h 243"/>
                <a:gd name="T22" fmla="*/ 18 w 115"/>
                <a:gd name="T23" fmla="*/ 87 h 243"/>
                <a:gd name="T24" fmla="*/ 18 w 115"/>
                <a:gd name="T25" fmla="*/ 92 h 243"/>
                <a:gd name="T26" fmla="*/ 20 w 115"/>
                <a:gd name="T27" fmla="*/ 96 h 243"/>
                <a:gd name="T28" fmla="*/ 25 w 115"/>
                <a:gd name="T29" fmla="*/ 93 h 243"/>
                <a:gd name="T30" fmla="*/ 41 w 115"/>
                <a:gd name="T31" fmla="*/ 81 h 243"/>
                <a:gd name="T32" fmla="*/ 46 w 115"/>
                <a:gd name="T33" fmla="*/ 77 h 243"/>
                <a:gd name="T34" fmla="*/ 49 w 115"/>
                <a:gd name="T35" fmla="*/ 67 h 243"/>
                <a:gd name="T36" fmla="*/ 46 w 115"/>
                <a:gd name="T37" fmla="*/ 56 h 243"/>
                <a:gd name="T38" fmla="*/ 41 w 115"/>
                <a:gd name="T39" fmla="*/ 48 h 243"/>
                <a:gd name="T40" fmla="*/ 41 w 115"/>
                <a:gd name="T41" fmla="*/ 43 h 243"/>
                <a:gd name="T42" fmla="*/ 34 w 115"/>
                <a:gd name="T43" fmla="*/ 43 h 243"/>
                <a:gd name="T44" fmla="*/ 29 w 115"/>
                <a:gd name="T45" fmla="*/ 36 h 243"/>
                <a:gd name="T46" fmla="*/ 24 w 115"/>
                <a:gd name="T47" fmla="*/ 27 h 243"/>
                <a:gd name="T48" fmla="*/ 24 w 115"/>
                <a:gd name="T49" fmla="*/ 18 h 243"/>
                <a:gd name="T50" fmla="*/ 31 w 115"/>
                <a:gd name="T51" fmla="*/ 12 h 243"/>
                <a:gd name="T52" fmla="*/ 34 w 115"/>
                <a:gd name="T53" fmla="*/ 9 h 243"/>
                <a:gd name="T54" fmla="*/ 31 w 115"/>
                <a:gd name="T55" fmla="*/ 9 h 243"/>
                <a:gd name="T56" fmla="*/ 25 w 115"/>
                <a:gd name="T57" fmla="*/ 4 h 243"/>
                <a:gd name="T58" fmla="*/ 25 w 115"/>
                <a:gd name="T59" fmla="*/ 0 h 243"/>
                <a:gd name="T60" fmla="*/ 24 w 115"/>
                <a:gd name="T61" fmla="*/ 0 h 243"/>
                <a:gd name="T62" fmla="*/ 15 w 115"/>
                <a:gd name="T63" fmla="*/ 0 h 243"/>
                <a:gd name="T64" fmla="*/ 3 w 115"/>
                <a:gd name="T65" fmla="*/ 7 h 243"/>
                <a:gd name="T66" fmla="*/ 0 w 115"/>
                <a:gd name="T67" fmla="*/ 4 h 243"/>
                <a:gd name="T68" fmla="*/ 0 w 115"/>
                <a:gd name="T69" fmla="*/ 4 h 2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5" h="243">
                  <a:moveTo>
                    <a:pt x="0" y="11"/>
                  </a:moveTo>
                  <a:lnTo>
                    <a:pt x="5" y="30"/>
                  </a:lnTo>
                  <a:lnTo>
                    <a:pt x="23" y="30"/>
                  </a:lnTo>
                  <a:lnTo>
                    <a:pt x="35" y="48"/>
                  </a:lnTo>
                  <a:lnTo>
                    <a:pt x="30" y="66"/>
                  </a:lnTo>
                  <a:lnTo>
                    <a:pt x="60" y="103"/>
                  </a:lnTo>
                  <a:lnTo>
                    <a:pt x="85" y="140"/>
                  </a:lnTo>
                  <a:lnTo>
                    <a:pt x="73" y="158"/>
                  </a:lnTo>
                  <a:lnTo>
                    <a:pt x="85" y="190"/>
                  </a:lnTo>
                  <a:lnTo>
                    <a:pt x="60" y="200"/>
                  </a:lnTo>
                  <a:lnTo>
                    <a:pt x="60" y="213"/>
                  </a:lnTo>
                  <a:lnTo>
                    <a:pt x="42" y="220"/>
                  </a:lnTo>
                  <a:lnTo>
                    <a:pt x="42" y="231"/>
                  </a:lnTo>
                  <a:lnTo>
                    <a:pt x="48" y="243"/>
                  </a:lnTo>
                  <a:lnTo>
                    <a:pt x="60" y="236"/>
                  </a:lnTo>
                  <a:lnTo>
                    <a:pt x="97" y="206"/>
                  </a:lnTo>
                  <a:lnTo>
                    <a:pt x="108" y="195"/>
                  </a:lnTo>
                  <a:lnTo>
                    <a:pt x="115" y="170"/>
                  </a:lnTo>
                  <a:lnTo>
                    <a:pt x="108" y="140"/>
                  </a:lnTo>
                  <a:lnTo>
                    <a:pt x="97" y="121"/>
                  </a:lnTo>
                  <a:lnTo>
                    <a:pt x="97" y="110"/>
                  </a:lnTo>
                  <a:lnTo>
                    <a:pt x="78" y="110"/>
                  </a:lnTo>
                  <a:lnTo>
                    <a:pt x="67" y="91"/>
                  </a:lnTo>
                  <a:lnTo>
                    <a:pt x="55" y="66"/>
                  </a:lnTo>
                  <a:lnTo>
                    <a:pt x="55" y="48"/>
                  </a:lnTo>
                  <a:lnTo>
                    <a:pt x="73" y="30"/>
                  </a:lnTo>
                  <a:lnTo>
                    <a:pt x="78" y="23"/>
                  </a:lnTo>
                  <a:lnTo>
                    <a:pt x="73" y="23"/>
                  </a:lnTo>
                  <a:lnTo>
                    <a:pt x="60" y="11"/>
                  </a:lnTo>
                  <a:lnTo>
                    <a:pt x="60" y="0"/>
                  </a:lnTo>
                  <a:lnTo>
                    <a:pt x="55" y="0"/>
                  </a:lnTo>
                  <a:lnTo>
                    <a:pt x="35" y="0"/>
                  </a:lnTo>
                  <a:lnTo>
                    <a:pt x="5" y="18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3" name="Freeform 320"/>
            <p:cNvSpPr>
              <a:spLocks/>
            </p:cNvSpPr>
            <p:nvPr/>
          </p:nvSpPr>
          <p:spPr bwMode="auto">
            <a:xfrm>
              <a:off x="4001" y="2584"/>
              <a:ext cx="97" cy="202"/>
            </a:xfrm>
            <a:custGeom>
              <a:avLst/>
              <a:gdLst>
                <a:gd name="T0" fmla="*/ 0 w 115"/>
                <a:gd name="T1" fmla="*/ 4 h 243"/>
                <a:gd name="T2" fmla="*/ 3 w 115"/>
                <a:gd name="T3" fmla="*/ 12 h 243"/>
                <a:gd name="T4" fmla="*/ 9 w 115"/>
                <a:gd name="T5" fmla="*/ 12 h 243"/>
                <a:gd name="T6" fmla="*/ 15 w 115"/>
                <a:gd name="T7" fmla="*/ 18 h 243"/>
                <a:gd name="T8" fmla="*/ 13 w 115"/>
                <a:gd name="T9" fmla="*/ 27 h 243"/>
                <a:gd name="T10" fmla="*/ 25 w 115"/>
                <a:gd name="T11" fmla="*/ 41 h 243"/>
                <a:gd name="T12" fmla="*/ 36 w 115"/>
                <a:gd name="T13" fmla="*/ 56 h 243"/>
                <a:gd name="T14" fmla="*/ 31 w 115"/>
                <a:gd name="T15" fmla="*/ 63 h 243"/>
                <a:gd name="T16" fmla="*/ 36 w 115"/>
                <a:gd name="T17" fmla="*/ 76 h 243"/>
                <a:gd name="T18" fmla="*/ 25 w 115"/>
                <a:gd name="T19" fmla="*/ 80 h 243"/>
                <a:gd name="T20" fmla="*/ 25 w 115"/>
                <a:gd name="T21" fmla="*/ 84 h 243"/>
                <a:gd name="T22" fmla="*/ 18 w 115"/>
                <a:gd name="T23" fmla="*/ 87 h 243"/>
                <a:gd name="T24" fmla="*/ 18 w 115"/>
                <a:gd name="T25" fmla="*/ 92 h 243"/>
                <a:gd name="T26" fmla="*/ 20 w 115"/>
                <a:gd name="T27" fmla="*/ 96 h 243"/>
                <a:gd name="T28" fmla="*/ 25 w 115"/>
                <a:gd name="T29" fmla="*/ 93 h 243"/>
                <a:gd name="T30" fmla="*/ 41 w 115"/>
                <a:gd name="T31" fmla="*/ 81 h 243"/>
                <a:gd name="T32" fmla="*/ 46 w 115"/>
                <a:gd name="T33" fmla="*/ 77 h 243"/>
                <a:gd name="T34" fmla="*/ 49 w 115"/>
                <a:gd name="T35" fmla="*/ 67 h 243"/>
                <a:gd name="T36" fmla="*/ 46 w 115"/>
                <a:gd name="T37" fmla="*/ 56 h 243"/>
                <a:gd name="T38" fmla="*/ 41 w 115"/>
                <a:gd name="T39" fmla="*/ 48 h 243"/>
                <a:gd name="T40" fmla="*/ 41 w 115"/>
                <a:gd name="T41" fmla="*/ 43 h 243"/>
                <a:gd name="T42" fmla="*/ 34 w 115"/>
                <a:gd name="T43" fmla="*/ 43 h 243"/>
                <a:gd name="T44" fmla="*/ 29 w 115"/>
                <a:gd name="T45" fmla="*/ 36 h 243"/>
                <a:gd name="T46" fmla="*/ 24 w 115"/>
                <a:gd name="T47" fmla="*/ 27 h 243"/>
                <a:gd name="T48" fmla="*/ 24 w 115"/>
                <a:gd name="T49" fmla="*/ 18 h 243"/>
                <a:gd name="T50" fmla="*/ 31 w 115"/>
                <a:gd name="T51" fmla="*/ 12 h 243"/>
                <a:gd name="T52" fmla="*/ 34 w 115"/>
                <a:gd name="T53" fmla="*/ 9 h 243"/>
                <a:gd name="T54" fmla="*/ 31 w 115"/>
                <a:gd name="T55" fmla="*/ 9 h 243"/>
                <a:gd name="T56" fmla="*/ 25 w 115"/>
                <a:gd name="T57" fmla="*/ 4 h 243"/>
                <a:gd name="T58" fmla="*/ 25 w 115"/>
                <a:gd name="T59" fmla="*/ 0 h 243"/>
                <a:gd name="T60" fmla="*/ 24 w 115"/>
                <a:gd name="T61" fmla="*/ 0 h 243"/>
                <a:gd name="T62" fmla="*/ 15 w 115"/>
                <a:gd name="T63" fmla="*/ 0 h 243"/>
                <a:gd name="T64" fmla="*/ 3 w 115"/>
                <a:gd name="T65" fmla="*/ 7 h 243"/>
                <a:gd name="T66" fmla="*/ 0 w 115"/>
                <a:gd name="T67" fmla="*/ 4 h 243"/>
                <a:gd name="T68" fmla="*/ 0 w 115"/>
                <a:gd name="T69" fmla="*/ 4 h 24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5" h="243">
                  <a:moveTo>
                    <a:pt x="0" y="11"/>
                  </a:moveTo>
                  <a:lnTo>
                    <a:pt x="5" y="30"/>
                  </a:lnTo>
                  <a:lnTo>
                    <a:pt x="23" y="30"/>
                  </a:lnTo>
                  <a:lnTo>
                    <a:pt x="35" y="48"/>
                  </a:lnTo>
                  <a:lnTo>
                    <a:pt x="30" y="66"/>
                  </a:lnTo>
                  <a:lnTo>
                    <a:pt x="60" y="103"/>
                  </a:lnTo>
                  <a:lnTo>
                    <a:pt x="85" y="140"/>
                  </a:lnTo>
                  <a:lnTo>
                    <a:pt x="73" y="158"/>
                  </a:lnTo>
                  <a:lnTo>
                    <a:pt x="85" y="190"/>
                  </a:lnTo>
                  <a:lnTo>
                    <a:pt x="60" y="200"/>
                  </a:lnTo>
                  <a:lnTo>
                    <a:pt x="60" y="213"/>
                  </a:lnTo>
                  <a:lnTo>
                    <a:pt x="42" y="220"/>
                  </a:lnTo>
                  <a:lnTo>
                    <a:pt x="42" y="231"/>
                  </a:lnTo>
                  <a:lnTo>
                    <a:pt x="48" y="243"/>
                  </a:lnTo>
                  <a:lnTo>
                    <a:pt x="60" y="236"/>
                  </a:lnTo>
                  <a:lnTo>
                    <a:pt x="97" y="206"/>
                  </a:lnTo>
                  <a:lnTo>
                    <a:pt x="108" y="195"/>
                  </a:lnTo>
                  <a:lnTo>
                    <a:pt x="115" y="170"/>
                  </a:lnTo>
                  <a:lnTo>
                    <a:pt x="108" y="140"/>
                  </a:lnTo>
                  <a:lnTo>
                    <a:pt x="97" y="121"/>
                  </a:lnTo>
                  <a:lnTo>
                    <a:pt x="97" y="110"/>
                  </a:lnTo>
                  <a:lnTo>
                    <a:pt x="78" y="110"/>
                  </a:lnTo>
                  <a:lnTo>
                    <a:pt x="67" y="91"/>
                  </a:lnTo>
                  <a:lnTo>
                    <a:pt x="55" y="66"/>
                  </a:lnTo>
                  <a:lnTo>
                    <a:pt x="55" y="48"/>
                  </a:lnTo>
                  <a:lnTo>
                    <a:pt x="73" y="30"/>
                  </a:lnTo>
                  <a:lnTo>
                    <a:pt x="78" y="23"/>
                  </a:lnTo>
                  <a:lnTo>
                    <a:pt x="73" y="23"/>
                  </a:lnTo>
                  <a:lnTo>
                    <a:pt x="60" y="11"/>
                  </a:lnTo>
                  <a:lnTo>
                    <a:pt x="60" y="0"/>
                  </a:lnTo>
                  <a:lnTo>
                    <a:pt x="55" y="0"/>
                  </a:lnTo>
                  <a:lnTo>
                    <a:pt x="35" y="0"/>
                  </a:lnTo>
                  <a:lnTo>
                    <a:pt x="5" y="18"/>
                  </a:lnTo>
                  <a:lnTo>
                    <a:pt x="0" y="1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4" name="Freeform 321"/>
            <p:cNvSpPr>
              <a:spLocks/>
            </p:cNvSpPr>
            <p:nvPr/>
          </p:nvSpPr>
          <p:spPr bwMode="auto">
            <a:xfrm>
              <a:off x="3969" y="2593"/>
              <a:ext cx="104" cy="184"/>
            </a:xfrm>
            <a:custGeom>
              <a:avLst/>
              <a:gdLst>
                <a:gd name="T0" fmla="*/ 14 w 122"/>
                <a:gd name="T1" fmla="*/ 0 h 220"/>
                <a:gd name="T2" fmla="*/ 7 w 122"/>
                <a:gd name="T3" fmla="*/ 7 h 220"/>
                <a:gd name="T4" fmla="*/ 0 w 122"/>
                <a:gd name="T5" fmla="*/ 15 h 220"/>
                <a:gd name="T6" fmla="*/ 9 w 122"/>
                <a:gd name="T7" fmla="*/ 19 h 220"/>
                <a:gd name="T8" fmla="*/ 9 w 122"/>
                <a:gd name="T9" fmla="*/ 33 h 220"/>
                <a:gd name="T10" fmla="*/ 14 w 122"/>
                <a:gd name="T11" fmla="*/ 34 h 220"/>
                <a:gd name="T12" fmla="*/ 22 w 122"/>
                <a:gd name="T13" fmla="*/ 30 h 220"/>
                <a:gd name="T14" fmla="*/ 27 w 122"/>
                <a:gd name="T15" fmla="*/ 30 h 220"/>
                <a:gd name="T16" fmla="*/ 41 w 122"/>
                <a:gd name="T17" fmla="*/ 45 h 220"/>
                <a:gd name="T18" fmla="*/ 41 w 122"/>
                <a:gd name="T19" fmla="*/ 51 h 220"/>
                <a:gd name="T20" fmla="*/ 44 w 122"/>
                <a:gd name="T21" fmla="*/ 55 h 220"/>
                <a:gd name="T22" fmla="*/ 44 w 122"/>
                <a:gd name="T23" fmla="*/ 63 h 220"/>
                <a:gd name="T24" fmla="*/ 41 w 122"/>
                <a:gd name="T25" fmla="*/ 65 h 220"/>
                <a:gd name="T26" fmla="*/ 32 w 122"/>
                <a:gd name="T27" fmla="*/ 63 h 220"/>
                <a:gd name="T28" fmla="*/ 27 w 122"/>
                <a:gd name="T29" fmla="*/ 58 h 220"/>
                <a:gd name="T30" fmla="*/ 21 w 122"/>
                <a:gd name="T31" fmla="*/ 63 h 220"/>
                <a:gd name="T32" fmla="*/ 19 w 122"/>
                <a:gd name="T33" fmla="*/ 67 h 220"/>
                <a:gd name="T34" fmla="*/ 22 w 122"/>
                <a:gd name="T35" fmla="*/ 77 h 220"/>
                <a:gd name="T36" fmla="*/ 27 w 122"/>
                <a:gd name="T37" fmla="*/ 83 h 220"/>
                <a:gd name="T38" fmla="*/ 36 w 122"/>
                <a:gd name="T39" fmla="*/ 90 h 220"/>
                <a:gd name="T40" fmla="*/ 38 w 122"/>
                <a:gd name="T41" fmla="*/ 88 h 220"/>
                <a:gd name="T42" fmla="*/ 44 w 122"/>
                <a:gd name="T43" fmla="*/ 83 h 220"/>
                <a:gd name="T44" fmla="*/ 44 w 122"/>
                <a:gd name="T45" fmla="*/ 77 h 220"/>
                <a:gd name="T46" fmla="*/ 49 w 122"/>
                <a:gd name="T47" fmla="*/ 74 h 220"/>
                <a:gd name="T48" fmla="*/ 54 w 122"/>
                <a:gd name="T49" fmla="*/ 73 h 220"/>
                <a:gd name="T50" fmla="*/ 55 w 122"/>
                <a:gd name="T51" fmla="*/ 67 h 220"/>
                <a:gd name="T52" fmla="*/ 49 w 122"/>
                <a:gd name="T53" fmla="*/ 63 h 220"/>
                <a:gd name="T54" fmla="*/ 52 w 122"/>
                <a:gd name="T55" fmla="*/ 55 h 220"/>
                <a:gd name="T56" fmla="*/ 54 w 122"/>
                <a:gd name="T57" fmla="*/ 53 h 220"/>
                <a:gd name="T58" fmla="*/ 52 w 122"/>
                <a:gd name="T59" fmla="*/ 49 h 220"/>
                <a:gd name="T60" fmla="*/ 38 w 122"/>
                <a:gd name="T61" fmla="*/ 30 h 220"/>
                <a:gd name="T62" fmla="*/ 31 w 122"/>
                <a:gd name="T63" fmla="*/ 23 h 220"/>
                <a:gd name="T64" fmla="*/ 32 w 122"/>
                <a:gd name="T65" fmla="*/ 15 h 220"/>
                <a:gd name="T66" fmla="*/ 31 w 122"/>
                <a:gd name="T67" fmla="*/ 11 h 220"/>
                <a:gd name="T68" fmla="*/ 27 w 122"/>
                <a:gd name="T69" fmla="*/ 8 h 220"/>
                <a:gd name="T70" fmla="*/ 19 w 122"/>
                <a:gd name="T71" fmla="*/ 8 h 220"/>
                <a:gd name="T72" fmla="*/ 19 w 122"/>
                <a:gd name="T73" fmla="*/ 3 h 220"/>
                <a:gd name="T74" fmla="*/ 14 w 122"/>
                <a:gd name="T75" fmla="*/ 0 h 220"/>
                <a:gd name="T76" fmla="*/ 14 w 122"/>
                <a:gd name="T77" fmla="*/ 0 h 2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2" h="220">
                  <a:moveTo>
                    <a:pt x="30" y="0"/>
                  </a:moveTo>
                  <a:lnTo>
                    <a:pt x="14" y="15"/>
                  </a:lnTo>
                  <a:lnTo>
                    <a:pt x="0" y="37"/>
                  </a:lnTo>
                  <a:lnTo>
                    <a:pt x="19" y="49"/>
                  </a:lnTo>
                  <a:lnTo>
                    <a:pt x="19" y="80"/>
                  </a:lnTo>
                  <a:lnTo>
                    <a:pt x="30" y="85"/>
                  </a:lnTo>
                  <a:lnTo>
                    <a:pt x="49" y="74"/>
                  </a:lnTo>
                  <a:lnTo>
                    <a:pt x="60" y="74"/>
                  </a:lnTo>
                  <a:lnTo>
                    <a:pt x="92" y="110"/>
                  </a:lnTo>
                  <a:lnTo>
                    <a:pt x="92" y="124"/>
                  </a:lnTo>
                  <a:lnTo>
                    <a:pt x="97" y="135"/>
                  </a:lnTo>
                  <a:lnTo>
                    <a:pt x="97" y="154"/>
                  </a:lnTo>
                  <a:lnTo>
                    <a:pt x="92" y="159"/>
                  </a:lnTo>
                  <a:lnTo>
                    <a:pt x="72" y="154"/>
                  </a:lnTo>
                  <a:lnTo>
                    <a:pt x="60" y="140"/>
                  </a:lnTo>
                  <a:lnTo>
                    <a:pt x="47" y="154"/>
                  </a:lnTo>
                  <a:lnTo>
                    <a:pt x="42" y="165"/>
                  </a:lnTo>
                  <a:lnTo>
                    <a:pt x="49" y="189"/>
                  </a:lnTo>
                  <a:lnTo>
                    <a:pt x="60" y="202"/>
                  </a:lnTo>
                  <a:lnTo>
                    <a:pt x="79" y="220"/>
                  </a:lnTo>
                  <a:lnTo>
                    <a:pt x="85" y="214"/>
                  </a:lnTo>
                  <a:lnTo>
                    <a:pt x="97" y="202"/>
                  </a:lnTo>
                  <a:lnTo>
                    <a:pt x="97" y="189"/>
                  </a:lnTo>
                  <a:lnTo>
                    <a:pt x="110" y="182"/>
                  </a:lnTo>
                  <a:lnTo>
                    <a:pt x="120" y="177"/>
                  </a:lnTo>
                  <a:lnTo>
                    <a:pt x="122" y="165"/>
                  </a:lnTo>
                  <a:lnTo>
                    <a:pt x="110" y="154"/>
                  </a:lnTo>
                  <a:lnTo>
                    <a:pt x="117" y="134"/>
                  </a:lnTo>
                  <a:lnTo>
                    <a:pt x="120" y="129"/>
                  </a:lnTo>
                  <a:lnTo>
                    <a:pt x="115" y="117"/>
                  </a:lnTo>
                  <a:lnTo>
                    <a:pt x="85" y="74"/>
                  </a:lnTo>
                  <a:lnTo>
                    <a:pt x="67" y="55"/>
                  </a:lnTo>
                  <a:lnTo>
                    <a:pt x="72" y="37"/>
                  </a:lnTo>
                  <a:lnTo>
                    <a:pt x="67" y="25"/>
                  </a:lnTo>
                  <a:lnTo>
                    <a:pt x="60" y="19"/>
                  </a:lnTo>
                  <a:lnTo>
                    <a:pt x="42" y="19"/>
                  </a:lnTo>
                  <a:lnTo>
                    <a:pt x="42" y="7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5" name="Freeform 322"/>
            <p:cNvSpPr>
              <a:spLocks/>
            </p:cNvSpPr>
            <p:nvPr/>
          </p:nvSpPr>
          <p:spPr bwMode="auto">
            <a:xfrm>
              <a:off x="3969" y="2593"/>
              <a:ext cx="104" cy="184"/>
            </a:xfrm>
            <a:custGeom>
              <a:avLst/>
              <a:gdLst>
                <a:gd name="T0" fmla="*/ 14 w 122"/>
                <a:gd name="T1" fmla="*/ 0 h 220"/>
                <a:gd name="T2" fmla="*/ 7 w 122"/>
                <a:gd name="T3" fmla="*/ 7 h 220"/>
                <a:gd name="T4" fmla="*/ 0 w 122"/>
                <a:gd name="T5" fmla="*/ 15 h 220"/>
                <a:gd name="T6" fmla="*/ 9 w 122"/>
                <a:gd name="T7" fmla="*/ 19 h 220"/>
                <a:gd name="T8" fmla="*/ 9 w 122"/>
                <a:gd name="T9" fmla="*/ 33 h 220"/>
                <a:gd name="T10" fmla="*/ 14 w 122"/>
                <a:gd name="T11" fmla="*/ 34 h 220"/>
                <a:gd name="T12" fmla="*/ 22 w 122"/>
                <a:gd name="T13" fmla="*/ 30 h 220"/>
                <a:gd name="T14" fmla="*/ 27 w 122"/>
                <a:gd name="T15" fmla="*/ 30 h 220"/>
                <a:gd name="T16" fmla="*/ 41 w 122"/>
                <a:gd name="T17" fmla="*/ 45 h 220"/>
                <a:gd name="T18" fmla="*/ 41 w 122"/>
                <a:gd name="T19" fmla="*/ 51 h 220"/>
                <a:gd name="T20" fmla="*/ 44 w 122"/>
                <a:gd name="T21" fmla="*/ 55 h 220"/>
                <a:gd name="T22" fmla="*/ 44 w 122"/>
                <a:gd name="T23" fmla="*/ 63 h 220"/>
                <a:gd name="T24" fmla="*/ 41 w 122"/>
                <a:gd name="T25" fmla="*/ 65 h 220"/>
                <a:gd name="T26" fmla="*/ 32 w 122"/>
                <a:gd name="T27" fmla="*/ 63 h 220"/>
                <a:gd name="T28" fmla="*/ 27 w 122"/>
                <a:gd name="T29" fmla="*/ 58 h 220"/>
                <a:gd name="T30" fmla="*/ 21 w 122"/>
                <a:gd name="T31" fmla="*/ 63 h 220"/>
                <a:gd name="T32" fmla="*/ 19 w 122"/>
                <a:gd name="T33" fmla="*/ 67 h 220"/>
                <a:gd name="T34" fmla="*/ 22 w 122"/>
                <a:gd name="T35" fmla="*/ 77 h 220"/>
                <a:gd name="T36" fmla="*/ 27 w 122"/>
                <a:gd name="T37" fmla="*/ 83 h 220"/>
                <a:gd name="T38" fmla="*/ 36 w 122"/>
                <a:gd name="T39" fmla="*/ 90 h 220"/>
                <a:gd name="T40" fmla="*/ 38 w 122"/>
                <a:gd name="T41" fmla="*/ 88 h 220"/>
                <a:gd name="T42" fmla="*/ 44 w 122"/>
                <a:gd name="T43" fmla="*/ 83 h 220"/>
                <a:gd name="T44" fmla="*/ 44 w 122"/>
                <a:gd name="T45" fmla="*/ 77 h 220"/>
                <a:gd name="T46" fmla="*/ 49 w 122"/>
                <a:gd name="T47" fmla="*/ 74 h 220"/>
                <a:gd name="T48" fmla="*/ 54 w 122"/>
                <a:gd name="T49" fmla="*/ 73 h 220"/>
                <a:gd name="T50" fmla="*/ 55 w 122"/>
                <a:gd name="T51" fmla="*/ 67 h 220"/>
                <a:gd name="T52" fmla="*/ 49 w 122"/>
                <a:gd name="T53" fmla="*/ 63 h 220"/>
                <a:gd name="T54" fmla="*/ 52 w 122"/>
                <a:gd name="T55" fmla="*/ 55 h 220"/>
                <a:gd name="T56" fmla="*/ 54 w 122"/>
                <a:gd name="T57" fmla="*/ 53 h 220"/>
                <a:gd name="T58" fmla="*/ 52 w 122"/>
                <a:gd name="T59" fmla="*/ 49 h 220"/>
                <a:gd name="T60" fmla="*/ 38 w 122"/>
                <a:gd name="T61" fmla="*/ 30 h 220"/>
                <a:gd name="T62" fmla="*/ 31 w 122"/>
                <a:gd name="T63" fmla="*/ 23 h 220"/>
                <a:gd name="T64" fmla="*/ 32 w 122"/>
                <a:gd name="T65" fmla="*/ 15 h 220"/>
                <a:gd name="T66" fmla="*/ 31 w 122"/>
                <a:gd name="T67" fmla="*/ 11 h 220"/>
                <a:gd name="T68" fmla="*/ 27 w 122"/>
                <a:gd name="T69" fmla="*/ 8 h 220"/>
                <a:gd name="T70" fmla="*/ 19 w 122"/>
                <a:gd name="T71" fmla="*/ 8 h 220"/>
                <a:gd name="T72" fmla="*/ 19 w 122"/>
                <a:gd name="T73" fmla="*/ 3 h 220"/>
                <a:gd name="T74" fmla="*/ 14 w 122"/>
                <a:gd name="T75" fmla="*/ 0 h 220"/>
                <a:gd name="T76" fmla="*/ 14 w 122"/>
                <a:gd name="T77" fmla="*/ 0 h 22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2" h="220">
                  <a:moveTo>
                    <a:pt x="30" y="0"/>
                  </a:moveTo>
                  <a:lnTo>
                    <a:pt x="14" y="15"/>
                  </a:lnTo>
                  <a:lnTo>
                    <a:pt x="0" y="37"/>
                  </a:lnTo>
                  <a:lnTo>
                    <a:pt x="19" y="49"/>
                  </a:lnTo>
                  <a:lnTo>
                    <a:pt x="19" y="80"/>
                  </a:lnTo>
                  <a:lnTo>
                    <a:pt x="30" y="85"/>
                  </a:lnTo>
                  <a:lnTo>
                    <a:pt x="49" y="74"/>
                  </a:lnTo>
                  <a:lnTo>
                    <a:pt x="60" y="74"/>
                  </a:lnTo>
                  <a:lnTo>
                    <a:pt x="92" y="110"/>
                  </a:lnTo>
                  <a:lnTo>
                    <a:pt x="92" y="124"/>
                  </a:lnTo>
                  <a:lnTo>
                    <a:pt x="97" y="135"/>
                  </a:lnTo>
                  <a:lnTo>
                    <a:pt x="97" y="154"/>
                  </a:lnTo>
                  <a:lnTo>
                    <a:pt x="92" y="159"/>
                  </a:lnTo>
                  <a:lnTo>
                    <a:pt x="72" y="154"/>
                  </a:lnTo>
                  <a:lnTo>
                    <a:pt x="60" y="140"/>
                  </a:lnTo>
                  <a:lnTo>
                    <a:pt x="47" y="154"/>
                  </a:lnTo>
                  <a:lnTo>
                    <a:pt x="42" y="165"/>
                  </a:lnTo>
                  <a:lnTo>
                    <a:pt x="49" y="189"/>
                  </a:lnTo>
                  <a:lnTo>
                    <a:pt x="60" y="202"/>
                  </a:lnTo>
                  <a:lnTo>
                    <a:pt x="79" y="220"/>
                  </a:lnTo>
                  <a:lnTo>
                    <a:pt x="85" y="214"/>
                  </a:lnTo>
                  <a:lnTo>
                    <a:pt x="97" y="202"/>
                  </a:lnTo>
                  <a:lnTo>
                    <a:pt x="97" y="189"/>
                  </a:lnTo>
                  <a:lnTo>
                    <a:pt x="110" y="182"/>
                  </a:lnTo>
                  <a:lnTo>
                    <a:pt x="120" y="177"/>
                  </a:lnTo>
                  <a:lnTo>
                    <a:pt x="122" y="165"/>
                  </a:lnTo>
                  <a:lnTo>
                    <a:pt x="110" y="154"/>
                  </a:lnTo>
                  <a:lnTo>
                    <a:pt x="117" y="134"/>
                  </a:lnTo>
                  <a:lnTo>
                    <a:pt x="120" y="129"/>
                  </a:lnTo>
                  <a:lnTo>
                    <a:pt x="115" y="117"/>
                  </a:lnTo>
                  <a:lnTo>
                    <a:pt x="85" y="74"/>
                  </a:lnTo>
                  <a:lnTo>
                    <a:pt x="67" y="55"/>
                  </a:lnTo>
                  <a:lnTo>
                    <a:pt x="72" y="37"/>
                  </a:lnTo>
                  <a:lnTo>
                    <a:pt x="67" y="25"/>
                  </a:lnTo>
                  <a:lnTo>
                    <a:pt x="60" y="19"/>
                  </a:lnTo>
                  <a:lnTo>
                    <a:pt x="42" y="19"/>
                  </a:lnTo>
                  <a:lnTo>
                    <a:pt x="42" y="7"/>
                  </a:lnTo>
                  <a:lnTo>
                    <a:pt x="3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6" name="Freeform 323"/>
            <p:cNvSpPr>
              <a:spLocks/>
            </p:cNvSpPr>
            <p:nvPr/>
          </p:nvSpPr>
          <p:spPr bwMode="auto">
            <a:xfrm>
              <a:off x="3940" y="2623"/>
              <a:ext cx="112" cy="195"/>
            </a:xfrm>
            <a:custGeom>
              <a:avLst/>
              <a:gdLst>
                <a:gd name="T0" fmla="*/ 16 w 130"/>
                <a:gd name="T1" fmla="*/ 0 h 232"/>
                <a:gd name="T2" fmla="*/ 13 w 130"/>
                <a:gd name="T3" fmla="*/ 3 h 232"/>
                <a:gd name="T4" fmla="*/ 7 w 130"/>
                <a:gd name="T5" fmla="*/ 8 h 232"/>
                <a:gd name="T6" fmla="*/ 0 w 130"/>
                <a:gd name="T7" fmla="*/ 16 h 232"/>
                <a:gd name="T8" fmla="*/ 9 w 130"/>
                <a:gd name="T9" fmla="*/ 30 h 232"/>
                <a:gd name="T10" fmla="*/ 9 w 130"/>
                <a:gd name="T11" fmla="*/ 41 h 232"/>
                <a:gd name="T12" fmla="*/ 9 w 130"/>
                <a:gd name="T13" fmla="*/ 46 h 232"/>
                <a:gd name="T14" fmla="*/ 13 w 130"/>
                <a:gd name="T15" fmla="*/ 54 h 232"/>
                <a:gd name="T16" fmla="*/ 9 w 130"/>
                <a:gd name="T17" fmla="*/ 74 h 232"/>
                <a:gd name="T18" fmla="*/ 9 w 130"/>
                <a:gd name="T19" fmla="*/ 82 h 232"/>
                <a:gd name="T20" fmla="*/ 19 w 130"/>
                <a:gd name="T21" fmla="*/ 87 h 232"/>
                <a:gd name="T22" fmla="*/ 22 w 130"/>
                <a:gd name="T23" fmla="*/ 95 h 232"/>
                <a:gd name="T24" fmla="*/ 29 w 130"/>
                <a:gd name="T25" fmla="*/ 98 h 232"/>
                <a:gd name="T26" fmla="*/ 25 w 130"/>
                <a:gd name="T27" fmla="*/ 85 h 232"/>
                <a:gd name="T28" fmla="*/ 19 w 130"/>
                <a:gd name="T29" fmla="*/ 79 h 232"/>
                <a:gd name="T30" fmla="*/ 22 w 130"/>
                <a:gd name="T31" fmla="*/ 61 h 232"/>
                <a:gd name="T32" fmla="*/ 22 w 130"/>
                <a:gd name="T33" fmla="*/ 51 h 232"/>
                <a:gd name="T34" fmla="*/ 29 w 130"/>
                <a:gd name="T35" fmla="*/ 54 h 232"/>
                <a:gd name="T36" fmla="*/ 35 w 130"/>
                <a:gd name="T37" fmla="*/ 54 h 232"/>
                <a:gd name="T38" fmla="*/ 40 w 130"/>
                <a:gd name="T39" fmla="*/ 49 h 232"/>
                <a:gd name="T40" fmla="*/ 44 w 130"/>
                <a:gd name="T41" fmla="*/ 43 h 232"/>
                <a:gd name="T42" fmla="*/ 51 w 130"/>
                <a:gd name="T43" fmla="*/ 49 h 232"/>
                <a:gd name="T44" fmla="*/ 61 w 130"/>
                <a:gd name="T45" fmla="*/ 51 h 232"/>
                <a:gd name="T46" fmla="*/ 62 w 130"/>
                <a:gd name="T47" fmla="*/ 46 h 232"/>
                <a:gd name="T48" fmla="*/ 62 w 130"/>
                <a:gd name="T49" fmla="*/ 39 h 232"/>
                <a:gd name="T50" fmla="*/ 59 w 130"/>
                <a:gd name="T51" fmla="*/ 30 h 232"/>
                <a:gd name="T52" fmla="*/ 50 w 130"/>
                <a:gd name="T53" fmla="*/ 20 h 232"/>
                <a:gd name="T54" fmla="*/ 44 w 130"/>
                <a:gd name="T55" fmla="*/ 15 h 232"/>
                <a:gd name="T56" fmla="*/ 38 w 130"/>
                <a:gd name="T57" fmla="*/ 16 h 232"/>
                <a:gd name="T58" fmla="*/ 29 w 130"/>
                <a:gd name="T59" fmla="*/ 20 h 232"/>
                <a:gd name="T60" fmla="*/ 25 w 130"/>
                <a:gd name="T61" fmla="*/ 15 h 232"/>
                <a:gd name="T62" fmla="*/ 24 w 130"/>
                <a:gd name="T63" fmla="*/ 7 h 232"/>
                <a:gd name="T64" fmla="*/ 22 w 130"/>
                <a:gd name="T65" fmla="*/ 3 h 232"/>
                <a:gd name="T66" fmla="*/ 16 w 130"/>
                <a:gd name="T67" fmla="*/ 0 h 232"/>
                <a:gd name="T68" fmla="*/ 16 w 130"/>
                <a:gd name="T69" fmla="*/ 0 h 2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0" h="232">
                  <a:moveTo>
                    <a:pt x="33" y="0"/>
                  </a:moveTo>
                  <a:lnTo>
                    <a:pt x="27" y="8"/>
                  </a:lnTo>
                  <a:lnTo>
                    <a:pt x="15" y="20"/>
                  </a:lnTo>
                  <a:lnTo>
                    <a:pt x="0" y="38"/>
                  </a:lnTo>
                  <a:lnTo>
                    <a:pt x="20" y="73"/>
                  </a:lnTo>
                  <a:lnTo>
                    <a:pt x="20" y="98"/>
                  </a:lnTo>
                  <a:lnTo>
                    <a:pt x="20" y="110"/>
                  </a:lnTo>
                  <a:lnTo>
                    <a:pt x="27" y="128"/>
                  </a:lnTo>
                  <a:lnTo>
                    <a:pt x="20" y="177"/>
                  </a:lnTo>
                  <a:lnTo>
                    <a:pt x="20" y="195"/>
                  </a:lnTo>
                  <a:lnTo>
                    <a:pt x="40" y="207"/>
                  </a:lnTo>
                  <a:lnTo>
                    <a:pt x="45" y="228"/>
                  </a:lnTo>
                  <a:lnTo>
                    <a:pt x="63" y="232"/>
                  </a:lnTo>
                  <a:lnTo>
                    <a:pt x="52" y="202"/>
                  </a:lnTo>
                  <a:lnTo>
                    <a:pt x="40" y="188"/>
                  </a:lnTo>
                  <a:lnTo>
                    <a:pt x="45" y="147"/>
                  </a:lnTo>
                  <a:lnTo>
                    <a:pt x="45" y="122"/>
                  </a:lnTo>
                  <a:lnTo>
                    <a:pt x="63" y="128"/>
                  </a:lnTo>
                  <a:lnTo>
                    <a:pt x="75" y="128"/>
                  </a:lnTo>
                  <a:lnTo>
                    <a:pt x="82" y="117"/>
                  </a:lnTo>
                  <a:lnTo>
                    <a:pt x="93" y="103"/>
                  </a:lnTo>
                  <a:lnTo>
                    <a:pt x="107" y="117"/>
                  </a:lnTo>
                  <a:lnTo>
                    <a:pt x="128" y="122"/>
                  </a:lnTo>
                  <a:lnTo>
                    <a:pt x="130" y="110"/>
                  </a:lnTo>
                  <a:lnTo>
                    <a:pt x="130" y="92"/>
                  </a:lnTo>
                  <a:lnTo>
                    <a:pt x="125" y="73"/>
                  </a:lnTo>
                  <a:lnTo>
                    <a:pt x="105" y="48"/>
                  </a:lnTo>
                  <a:lnTo>
                    <a:pt x="93" y="37"/>
                  </a:lnTo>
                  <a:lnTo>
                    <a:pt x="80" y="38"/>
                  </a:lnTo>
                  <a:lnTo>
                    <a:pt x="63" y="48"/>
                  </a:lnTo>
                  <a:lnTo>
                    <a:pt x="52" y="37"/>
                  </a:lnTo>
                  <a:lnTo>
                    <a:pt x="50" y="15"/>
                  </a:lnTo>
                  <a:lnTo>
                    <a:pt x="45" y="7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7" name="Freeform 324"/>
            <p:cNvSpPr>
              <a:spLocks/>
            </p:cNvSpPr>
            <p:nvPr/>
          </p:nvSpPr>
          <p:spPr bwMode="auto">
            <a:xfrm>
              <a:off x="3940" y="2623"/>
              <a:ext cx="112" cy="195"/>
            </a:xfrm>
            <a:custGeom>
              <a:avLst/>
              <a:gdLst>
                <a:gd name="T0" fmla="*/ 16 w 130"/>
                <a:gd name="T1" fmla="*/ 0 h 232"/>
                <a:gd name="T2" fmla="*/ 13 w 130"/>
                <a:gd name="T3" fmla="*/ 3 h 232"/>
                <a:gd name="T4" fmla="*/ 7 w 130"/>
                <a:gd name="T5" fmla="*/ 8 h 232"/>
                <a:gd name="T6" fmla="*/ 0 w 130"/>
                <a:gd name="T7" fmla="*/ 16 h 232"/>
                <a:gd name="T8" fmla="*/ 9 w 130"/>
                <a:gd name="T9" fmla="*/ 30 h 232"/>
                <a:gd name="T10" fmla="*/ 9 w 130"/>
                <a:gd name="T11" fmla="*/ 41 h 232"/>
                <a:gd name="T12" fmla="*/ 9 w 130"/>
                <a:gd name="T13" fmla="*/ 46 h 232"/>
                <a:gd name="T14" fmla="*/ 13 w 130"/>
                <a:gd name="T15" fmla="*/ 54 h 232"/>
                <a:gd name="T16" fmla="*/ 9 w 130"/>
                <a:gd name="T17" fmla="*/ 74 h 232"/>
                <a:gd name="T18" fmla="*/ 9 w 130"/>
                <a:gd name="T19" fmla="*/ 82 h 232"/>
                <a:gd name="T20" fmla="*/ 19 w 130"/>
                <a:gd name="T21" fmla="*/ 87 h 232"/>
                <a:gd name="T22" fmla="*/ 22 w 130"/>
                <a:gd name="T23" fmla="*/ 95 h 232"/>
                <a:gd name="T24" fmla="*/ 29 w 130"/>
                <a:gd name="T25" fmla="*/ 98 h 232"/>
                <a:gd name="T26" fmla="*/ 25 w 130"/>
                <a:gd name="T27" fmla="*/ 85 h 232"/>
                <a:gd name="T28" fmla="*/ 19 w 130"/>
                <a:gd name="T29" fmla="*/ 79 h 232"/>
                <a:gd name="T30" fmla="*/ 22 w 130"/>
                <a:gd name="T31" fmla="*/ 61 h 232"/>
                <a:gd name="T32" fmla="*/ 22 w 130"/>
                <a:gd name="T33" fmla="*/ 51 h 232"/>
                <a:gd name="T34" fmla="*/ 29 w 130"/>
                <a:gd name="T35" fmla="*/ 54 h 232"/>
                <a:gd name="T36" fmla="*/ 35 w 130"/>
                <a:gd name="T37" fmla="*/ 54 h 232"/>
                <a:gd name="T38" fmla="*/ 40 w 130"/>
                <a:gd name="T39" fmla="*/ 49 h 232"/>
                <a:gd name="T40" fmla="*/ 44 w 130"/>
                <a:gd name="T41" fmla="*/ 43 h 232"/>
                <a:gd name="T42" fmla="*/ 51 w 130"/>
                <a:gd name="T43" fmla="*/ 49 h 232"/>
                <a:gd name="T44" fmla="*/ 61 w 130"/>
                <a:gd name="T45" fmla="*/ 51 h 232"/>
                <a:gd name="T46" fmla="*/ 62 w 130"/>
                <a:gd name="T47" fmla="*/ 46 h 232"/>
                <a:gd name="T48" fmla="*/ 62 w 130"/>
                <a:gd name="T49" fmla="*/ 39 h 232"/>
                <a:gd name="T50" fmla="*/ 59 w 130"/>
                <a:gd name="T51" fmla="*/ 30 h 232"/>
                <a:gd name="T52" fmla="*/ 50 w 130"/>
                <a:gd name="T53" fmla="*/ 20 h 232"/>
                <a:gd name="T54" fmla="*/ 44 w 130"/>
                <a:gd name="T55" fmla="*/ 15 h 232"/>
                <a:gd name="T56" fmla="*/ 38 w 130"/>
                <a:gd name="T57" fmla="*/ 16 h 232"/>
                <a:gd name="T58" fmla="*/ 29 w 130"/>
                <a:gd name="T59" fmla="*/ 20 h 232"/>
                <a:gd name="T60" fmla="*/ 25 w 130"/>
                <a:gd name="T61" fmla="*/ 15 h 232"/>
                <a:gd name="T62" fmla="*/ 24 w 130"/>
                <a:gd name="T63" fmla="*/ 7 h 232"/>
                <a:gd name="T64" fmla="*/ 22 w 130"/>
                <a:gd name="T65" fmla="*/ 3 h 232"/>
                <a:gd name="T66" fmla="*/ 16 w 130"/>
                <a:gd name="T67" fmla="*/ 0 h 232"/>
                <a:gd name="T68" fmla="*/ 16 w 130"/>
                <a:gd name="T69" fmla="*/ 0 h 23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0" h="232">
                  <a:moveTo>
                    <a:pt x="33" y="0"/>
                  </a:moveTo>
                  <a:lnTo>
                    <a:pt x="27" y="8"/>
                  </a:lnTo>
                  <a:lnTo>
                    <a:pt x="15" y="20"/>
                  </a:lnTo>
                  <a:lnTo>
                    <a:pt x="0" y="38"/>
                  </a:lnTo>
                  <a:lnTo>
                    <a:pt x="20" y="73"/>
                  </a:lnTo>
                  <a:lnTo>
                    <a:pt x="20" y="98"/>
                  </a:lnTo>
                  <a:lnTo>
                    <a:pt x="20" y="110"/>
                  </a:lnTo>
                  <a:lnTo>
                    <a:pt x="27" y="128"/>
                  </a:lnTo>
                  <a:lnTo>
                    <a:pt x="20" y="177"/>
                  </a:lnTo>
                  <a:lnTo>
                    <a:pt x="20" y="195"/>
                  </a:lnTo>
                  <a:lnTo>
                    <a:pt x="40" y="207"/>
                  </a:lnTo>
                  <a:lnTo>
                    <a:pt x="45" y="228"/>
                  </a:lnTo>
                  <a:lnTo>
                    <a:pt x="63" y="232"/>
                  </a:lnTo>
                  <a:lnTo>
                    <a:pt x="52" y="202"/>
                  </a:lnTo>
                  <a:lnTo>
                    <a:pt x="40" y="188"/>
                  </a:lnTo>
                  <a:lnTo>
                    <a:pt x="45" y="147"/>
                  </a:lnTo>
                  <a:lnTo>
                    <a:pt x="45" y="122"/>
                  </a:lnTo>
                  <a:lnTo>
                    <a:pt x="63" y="128"/>
                  </a:lnTo>
                  <a:lnTo>
                    <a:pt x="75" y="128"/>
                  </a:lnTo>
                  <a:lnTo>
                    <a:pt x="82" y="117"/>
                  </a:lnTo>
                  <a:lnTo>
                    <a:pt x="93" y="103"/>
                  </a:lnTo>
                  <a:lnTo>
                    <a:pt x="107" y="117"/>
                  </a:lnTo>
                  <a:lnTo>
                    <a:pt x="128" y="122"/>
                  </a:lnTo>
                  <a:lnTo>
                    <a:pt x="130" y="110"/>
                  </a:lnTo>
                  <a:lnTo>
                    <a:pt x="130" y="92"/>
                  </a:lnTo>
                  <a:lnTo>
                    <a:pt x="125" y="73"/>
                  </a:lnTo>
                  <a:lnTo>
                    <a:pt x="105" y="48"/>
                  </a:lnTo>
                  <a:lnTo>
                    <a:pt x="93" y="37"/>
                  </a:lnTo>
                  <a:lnTo>
                    <a:pt x="80" y="38"/>
                  </a:lnTo>
                  <a:lnTo>
                    <a:pt x="63" y="48"/>
                  </a:lnTo>
                  <a:lnTo>
                    <a:pt x="52" y="37"/>
                  </a:lnTo>
                  <a:lnTo>
                    <a:pt x="50" y="15"/>
                  </a:lnTo>
                  <a:lnTo>
                    <a:pt x="45" y="7"/>
                  </a:lnTo>
                  <a:lnTo>
                    <a:pt x="3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8" name="Freeform 325"/>
            <p:cNvSpPr>
              <a:spLocks/>
            </p:cNvSpPr>
            <p:nvPr/>
          </p:nvSpPr>
          <p:spPr bwMode="auto">
            <a:xfrm>
              <a:off x="3869" y="2502"/>
              <a:ext cx="125" cy="245"/>
            </a:xfrm>
            <a:custGeom>
              <a:avLst/>
              <a:gdLst>
                <a:gd name="T0" fmla="*/ 32 w 144"/>
                <a:gd name="T1" fmla="*/ 0 h 292"/>
                <a:gd name="T2" fmla="*/ 27 w 144"/>
                <a:gd name="T3" fmla="*/ 5 h 292"/>
                <a:gd name="T4" fmla="*/ 18 w 144"/>
                <a:gd name="T5" fmla="*/ 13 h 292"/>
                <a:gd name="T6" fmla="*/ 12 w 144"/>
                <a:gd name="T7" fmla="*/ 23 h 292"/>
                <a:gd name="T8" fmla="*/ 12 w 144"/>
                <a:gd name="T9" fmla="*/ 35 h 292"/>
                <a:gd name="T10" fmla="*/ 5 w 144"/>
                <a:gd name="T11" fmla="*/ 35 h 292"/>
                <a:gd name="T12" fmla="*/ 3 w 144"/>
                <a:gd name="T13" fmla="*/ 40 h 292"/>
                <a:gd name="T14" fmla="*/ 3 w 144"/>
                <a:gd name="T15" fmla="*/ 52 h 292"/>
                <a:gd name="T16" fmla="*/ 0 w 144"/>
                <a:gd name="T17" fmla="*/ 58 h 292"/>
                <a:gd name="T18" fmla="*/ 9 w 144"/>
                <a:gd name="T19" fmla="*/ 64 h 292"/>
                <a:gd name="T20" fmla="*/ 15 w 144"/>
                <a:gd name="T21" fmla="*/ 81 h 292"/>
                <a:gd name="T22" fmla="*/ 20 w 144"/>
                <a:gd name="T23" fmla="*/ 88 h 292"/>
                <a:gd name="T24" fmla="*/ 24 w 144"/>
                <a:gd name="T25" fmla="*/ 91 h 292"/>
                <a:gd name="T26" fmla="*/ 30 w 144"/>
                <a:gd name="T27" fmla="*/ 91 h 292"/>
                <a:gd name="T28" fmla="*/ 32 w 144"/>
                <a:gd name="T29" fmla="*/ 81 h 292"/>
                <a:gd name="T30" fmla="*/ 39 w 144"/>
                <a:gd name="T31" fmla="*/ 86 h 292"/>
                <a:gd name="T32" fmla="*/ 39 w 144"/>
                <a:gd name="T33" fmla="*/ 94 h 292"/>
                <a:gd name="T34" fmla="*/ 44 w 144"/>
                <a:gd name="T35" fmla="*/ 101 h 292"/>
                <a:gd name="T36" fmla="*/ 48 w 144"/>
                <a:gd name="T37" fmla="*/ 103 h 292"/>
                <a:gd name="T38" fmla="*/ 48 w 144"/>
                <a:gd name="T39" fmla="*/ 113 h 292"/>
                <a:gd name="T40" fmla="*/ 54 w 144"/>
                <a:gd name="T41" fmla="*/ 122 h 292"/>
                <a:gd name="T42" fmla="*/ 54 w 144"/>
                <a:gd name="T43" fmla="*/ 112 h 292"/>
                <a:gd name="T44" fmla="*/ 50 w 144"/>
                <a:gd name="T45" fmla="*/ 107 h 292"/>
                <a:gd name="T46" fmla="*/ 50 w 144"/>
                <a:gd name="T47" fmla="*/ 94 h 292"/>
                <a:gd name="T48" fmla="*/ 44 w 144"/>
                <a:gd name="T49" fmla="*/ 83 h 292"/>
                <a:gd name="T50" fmla="*/ 41 w 144"/>
                <a:gd name="T51" fmla="*/ 76 h 292"/>
                <a:gd name="T52" fmla="*/ 47 w 144"/>
                <a:gd name="T53" fmla="*/ 69 h 292"/>
                <a:gd name="T54" fmla="*/ 51 w 144"/>
                <a:gd name="T55" fmla="*/ 65 h 292"/>
                <a:gd name="T56" fmla="*/ 57 w 144"/>
                <a:gd name="T57" fmla="*/ 60 h 292"/>
                <a:gd name="T58" fmla="*/ 62 w 144"/>
                <a:gd name="T59" fmla="*/ 54 h 292"/>
                <a:gd name="T60" fmla="*/ 71 w 144"/>
                <a:gd name="T61" fmla="*/ 46 h 292"/>
                <a:gd name="T62" fmla="*/ 67 w 144"/>
                <a:gd name="T63" fmla="*/ 33 h 292"/>
                <a:gd name="T64" fmla="*/ 57 w 144"/>
                <a:gd name="T65" fmla="*/ 33 h 292"/>
                <a:gd name="T66" fmla="*/ 48 w 144"/>
                <a:gd name="T67" fmla="*/ 24 h 292"/>
                <a:gd name="T68" fmla="*/ 48 w 144"/>
                <a:gd name="T69" fmla="*/ 14 h 292"/>
                <a:gd name="T70" fmla="*/ 43 w 144"/>
                <a:gd name="T71" fmla="*/ 3 h 292"/>
                <a:gd name="T72" fmla="*/ 39 w 144"/>
                <a:gd name="T73" fmla="*/ 3 h 292"/>
                <a:gd name="T74" fmla="*/ 32 w 144"/>
                <a:gd name="T75" fmla="*/ 0 h 292"/>
                <a:gd name="T76" fmla="*/ 32 w 144"/>
                <a:gd name="T77" fmla="*/ 0 h 29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44" h="292">
                  <a:moveTo>
                    <a:pt x="67" y="0"/>
                  </a:moveTo>
                  <a:lnTo>
                    <a:pt x="55" y="12"/>
                  </a:lnTo>
                  <a:lnTo>
                    <a:pt x="37" y="30"/>
                  </a:lnTo>
                  <a:lnTo>
                    <a:pt x="25" y="55"/>
                  </a:lnTo>
                  <a:lnTo>
                    <a:pt x="25" y="83"/>
                  </a:lnTo>
                  <a:lnTo>
                    <a:pt x="10" y="85"/>
                  </a:lnTo>
                  <a:lnTo>
                    <a:pt x="7" y="97"/>
                  </a:lnTo>
                  <a:lnTo>
                    <a:pt x="5" y="125"/>
                  </a:lnTo>
                  <a:lnTo>
                    <a:pt x="0" y="140"/>
                  </a:lnTo>
                  <a:lnTo>
                    <a:pt x="19" y="152"/>
                  </a:lnTo>
                  <a:lnTo>
                    <a:pt x="30" y="193"/>
                  </a:lnTo>
                  <a:lnTo>
                    <a:pt x="42" y="212"/>
                  </a:lnTo>
                  <a:lnTo>
                    <a:pt x="49" y="218"/>
                  </a:lnTo>
                  <a:lnTo>
                    <a:pt x="60" y="218"/>
                  </a:lnTo>
                  <a:lnTo>
                    <a:pt x="67" y="193"/>
                  </a:lnTo>
                  <a:lnTo>
                    <a:pt x="79" y="207"/>
                  </a:lnTo>
                  <a:lnTo>
                    <a:pt x="79" y="225"/>
                  </a:lnTo>
                  <a:lnTo>
                    <a:pt x="90" y="243"/>
                  </a:lnTo>
                  <a:lnTo>
                    <a:pt x="97" y="248"/>
                  </a:lnTo>
                  <a:lnTo>
                    <a:pt x="97" y="273"/>
                  </a:lnTo>
                  <a:lnTo>
                    <a:pt x="109" y="292"/>
                  </a:lnTo>
                  <a:lnTo>
                    <a:pt x="109" y="267"/>
                  </a:lnTo>
                  <a:lnTo>
                    <a:pt x="102" y="255"/>
                  </a:lnTo>
                  <a:lnTo>
                    <a:pt x="102" y="225"/>
                  </a:lnTo>
                  <a:lnTo>
                    <a:pt x="90" y="200"/>
                  </a:lnTo>
                  <a:lnTo>
                    <a:pt x="82" y="180"/>
                  </a:lnTo>
                  <a:lnTo>
                    <a:pt x="95" y="167"/>
                  </a:lnTo>
                  <a:lnTo>
                    <a:pt x="104" y="157"/>
                  </a:lnTo>
                  <a:lnTo>
                    <a:pt x="115" y="145"/>
                  </a:lnTo>
                  <a:lnTo>
                    <a:pt x="127" y="127"/>
                  </a:lnTo>
                  <a:lnTo>
                    <a:pt x="144" y="110"/>
                  </a:lnTo>
                  <a:lnTo>
                    <a:pt x="137" y="78"/>
                  </a:lnTo>
                  <a:lnTo>
                    <a:pt x="115" y="78"/>
                  </a:lnTo>
                  <a:lnTo>
                    <a:pt x="97" y="60"/>
                  </a:lnTo>
                  <a:lnTo>
                    <a:pt x="97" y="35"/>
                  </a:lnTo>
                  <a:lnTo>
                    <a:pt x="85" y="7"/>
                  </a:lnTo>
                  <a:lnTo>
                    <a:pt x="79" y="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9" name="Freeform 326"/>
            <p:cNvSpPr>
              <a:spLocks/>
            </p:cNvSpPr>
            <p:nvPr/>
          </p:nvSpPr>
          <p:spPr bwMode="auto">
            <a:xfrm>
              <a:off x="3869" y="2502"/>
              <a:ext cx="125" cy="245"/>
            </a:xfrm>
            <a:custGeom>
              <a:avLst/>
              <a:gdLst>
                <a:gd name="T0" fmla="*/ 32 w 144"/>
                <a:gd name="T1" fmla="*/ 0 h 292"/>
                <a:gd name="T2" fmla="*/ 27 w 144"/>
                <a:gd name="T3" fmla="*/ 5 h 292"/>
                <a:gd name="T4" fmla="*/ 18 w 144"/>
                <a:gd name="T5" fmla="*/ 13 h 292"/>
                <a:gd name="T6" fmla="*/ 12 w 144"/>
                <a:gd name="T7" fmla="*/ 23 h 292"/>
                <a:gd name="T8" fmla="*/ 12 w 144"/>
                <a:gd name="T9" fmla="*/ 35 h 292"/>
                <a:gd name="T10" fmla="*/ 5 w 144"/>
                <a:gd name="T11" fmla="*/ 35 h 292"/>
                <a:gd name="T12" fmla="*/ 3 w 144"/>
                <a:gd name="T13" fmla="*/ 40 h 292"/>
                <a:gd name="T14" fmla="*/ 3 w 144"/>
                <a:gd name="T15" fmla="*/ 52 h 292"/>
                <a:gd name="T16" fmla="*/ 0 w 144"/>
                <a:gd name="T17" fmla="*/ 58 h 292"/>
                <a:gd name="T18" fmla="*/ 9 w 144"/>
                <a:gd name="T19" fmla="*/ 64 h 292"/>
                <a:gd name="T20" fmla="*/ 15 w 144"/>
                <a:gd name="T21" fmla="*/ 81 h 292"/>
                <a:gd name="T22" fmla="*/ 20 w 144"/>
                <a:gd name="T23" fmla="*/ 88 h 292"/>
                <a:gd name="T24" fmla="*/ 24 w 144"/>
                <a:gd name="T25" fmla="*/ 91 h 292"/>
                <a:gd name="T26" fmla="*/ 30 w 144"/>
                <a:gd name="T27" fmla="*/ 91 h 292"/>
                <a:gd name="T28" fmla="*/ 32 w 144"/>
                <a:gd name="T29" fmla="*/ 81 h 292"/>
                <a:gd name="T30" fmla="*/ 39 w 144"/>
                <a:gd name="T31" fmla="*/ 86 h 292"/>
                <a:gd name="T32" fmla="*/ 39 w 144"/>
                <a:gd name="T33" fmla="*/ 94 h 292"/>
                <a:gd name="T34" fmla="*/ 44 w 144"/>
                <a:gd name="T35" fmla="*/ 101 h 292"/>
                <a:gd name="T36" fmla="*/ 48 w 144"/>
                <a:gd name="T37" fmla="*/ 103 h 292"/>
                <a:gd name="T38" fmla="*/ 48 w 144"/>
                <a:gd name="T39" fmla="*/ 113 h 292"/>
                <a:gd name="T40" fmla="*/ 54 w 144"/>
                <a:gd name="T41" fmla="*/ 122 h 292"/>
                <a:gd name="T42" fmla="*/ 54 w 144"/>
                <a:gd name="T43" fmla="*/ 112 h 292"/>
                <a:gd name="T44" fmla="*/ 50 w 144"/>
                <a:gd name="T45" fmla="*/ 107 h 292"/>
                <a:gd name="T46" fmla="*/ 50 w 144"/>
                <a:gd name="T47" fmla="*/ 94 h 292"/>
                <a:gd name="T48" fmla="*/ 44 w 144"/>
                <a:gd name="T49" fmla="*/ 83 h 292"/>
                <a:gd name="T50" fmla="*/ 41 w 144"/>
                <a:gd name="T51" fmla="*/ 76 h 292"/>
                <a:gd name="T52" fmla="*/ 47 w 144"/>
                <a:gd name="T53" fmla="*/ 69 h 292"/>
                <a:gd name="T54" fmla="*/ 51 w 144"/>
                <a:gd name="T55" fmla="*/ 65 h 292"/>
                <a:gd name="T56" fmla="*/ 57 w 144"/>
                <a:gd name="T57" fmla="*/ 60 h 292"/>
                <a:gd name="T58" fmla="*/ 62 w 144"/>
                <a:gd name="T59" fmla="*/ 54 h 292"/>
                <a:gd name="T60" fmla="*/ 71 w 144"/>
                <a:gd name="T61" fmla="*/ 46 h 292"/>
                <a:gd name="T62" fmla="*/ 67 w 144"/>
                <a:gd name="T63" fmla="*/ 33 h 292"/>
                <a:gd name="T64" fmla="*/ 57 w 144"/>
                <a:gd name="T65" fmla="*/ 33 h 292"/>
                <a:gd name="T66" fmla="*/ 48 w 144"/>
                <a:gd name="T67" fmla="*/ 24 h 292"/>
                <a:gd name="T68" fmla="*/ 48 w 144"/>
                <a:gd name="T69" fmla="*/ 14 h 292"/>
                <a:gd name="T70" fmla="*/ 43 w 144"/>
                <a:gd name="T71" fmla="*/ 3 h 292"/>
                <a:gd name="T72" fmla="*/ 39 w 144"/>
                <a:gd name="T73" fmla="*/ 3 h 292"/>
                <a:gd name="T74" fmla="*/ 32 w 144"/>
                <a:gd name="T75" fmla="*/ 0 h 292"/>
                <a:gd name="T76" fmla="*/ 32 w 144"/>
                <a:gd name="T77" fmla="*/ 0 h 29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44" h="292">
                  <a:moveTo>
                    <a:pt x="67" y="0"/>
                  </a:moveTo>
                  <a:lnTo>
                    <a:pt x="55" y="12"/>
                  </a:lnTo>
                  <a:lnTo>
                    <a:pt x="37" y="30"/>
                  </a:lnTo>
                  <a:lnTo>
                    <a:pt x="25" y="55"/>
                  </a:lnTo>
                  <a:lnTo>
                    <a:pt x="25" y="83"/>
                  </a:lnTo>
                  <a:lnTo>
                    <a:pt x="10" y="85"/>
                  </a:lnTo>
                  <a:lnTo>
                    <a:pt x="7" y="97"/>
                  </a:lnTo>
                  <a:lnTo>
                    <a:pt x="5" y="125"/>
                  </a:lnTo>
                  <a:lnTo>
                    <a:pt x="0" y="140"/>
                  </a:lnTo>
                  <a:lnTo>
                    <a:pt x="19" y="152"/>
                  </a:lnTo>
                  <a:lnTo>
                    <a:pt x="30" y="193"/>
                  </a:lnTo>
                  <a:lnTo>
                    <a:pt x="42" y="212"/>
                  </a:lnTo>
                  <a:lnTo>
                    <a:pt x="49" y="218"/>
                  </a:lnTo>
                  <a:lnTo>
                    <a:pt x="60" y="218"/>
                  </a:lnTo>
                  <a:lnTo>
                    <a:pt x="67" y="193"/>
                  </a:lnTo>
                  <a:lnTo>
                    <a:pt x="79" y="207"/>
                  </a:lnTo>
                  <a:lnTo>
                    <a:pt x="79" y="225"/>
                  </a:lnTo>
                  <a:lnTo>
                    <a:pt x="90" y="243"/>
                  </a:lnTo>
                  <a:lnTo>
                    <a:pt x="97" y="248"/>
                  </a:lnTo>
                  <a:lnTo>
                    <a:pt x="97" y="273"/>
                  </a:lnTo>
                  <a:lnTo>
                    <a:pt x="109" y="292"/>
                  </a:lnTo>
                  <a:lnTo>
                    <a:pt x="109" y="267"/>
                  </a:lnTo>
                  <a:lnTo>
                    <a:pt x="102" y="255"/>
                  </a:lnTo>
                  <a:lnTo>
                    <a:pt x="102" y="225"/>
                  </a:lnTo>
                  <a:lnTo>
                    <a:pt x="90" y="200"/>
                  </a:lnTo>
                  <a:lnTo>
                    <a:pt x="82" y="180"/>
                  </a:lnTo>
                  <a:lnTo>
                    <a:pt x="95" y="167"/>
                  </a:lnTo>
                  <a:lnTo>
                    <a:pt x="104" y="157"/>
                  </a:lnTo>
                  <a:lnTo>
                    <a:pt x="115" y="145"/>
                  </a:lnTo>
                  <a:lnTo>
                    <a:pt x="127" y="127"/>
                  </a:lnTo>
                  <a:lnTo>
                    <a:pt x="144" y="110"/>
                  </a:lnTo>
                  <a:lnTo>
                    <a:pt x="137" y="78"/>
                  </a:lnTo>
                  <a:lnTo>
                    <a:pt x="115" y="78"/>
                  </a:lnTo>
                  <a:lnTo>
                    <a:pt x="97" y="60"/>
                  </a:lnTo>
                  <a:lnTo>
                    <a:pt x="97" y="35"/>
                  </a:lnTo>
                  <a:lnTo>
                    <a:pt x="85" y="7"/>
                  </a:lnTo>
                  <a:lnTo>
                    <a:pt x="79" y="5"/>
                  </a:lnTo>
                  <a:lnTo>
                    <a:pt x="6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0" name="Freeform 327"/>
            <p:cNvSpPr>
              <a:spLocks/>
            </p:cNvSpPr>
            <p:nvPr/>
          </p:nvSpPr>
          <p:spPr bwMode="auto">
            <a:xfrm>
              <a:off x="3805" y="2536"/>
              <a:ext cx="70" cy="84"/>
            </a:xfrm>
            <a:custGeom>
              <a:avLst/>
              <a:gdLst>
                <a:gd name="T0" fmla="*/ 43 w 78"/>
                <a:gd name="T1" fmla="*/ 42 h 100"/>
                <a:gd name="T2" fmla="*/ 38 w 78"/>
                <a:gd name="T3" fmla="*/ 33 h 100"/>
                <a:gd name="T4" fmla="*/ 28 w 78"/>
                <a:gd name="T5" fmla="*/ 24 h 100"/>
                <a:gd name="T6" fmla="*/ 22 w 78"/>
                <a:gd name="T7" fmla="*/ 18 h 100"/>
                <a:gd name="T8" fmla="*/ 13 w 78"/>
                <a:gd name="T9" fmla="*/ 11 h 100"/>
                <a:gd name="T10" fmla="*/ 11 w 78"/>
                <a:gd name="T11" fmla="*/ 13 h 100"/>
                <a:gd name="T12" fmla="*/ 11 w 78"/>
                <a:gd name="T13" fmla="*/ 20 h 100"/>
                <a:gd name="T14" fmla="*/ 4 w 78"/>
                <a:gd name="T15" fmla="*/ 29 h 100"/>
                <a:gd name="T16" fmla="*/ 4 w 78"/>
                <a:gd name="T17" fmla="*/ 20 h 100"/>
                <a:gd name="T18" fmla="*/ 4 w 78"/>
                <a:gd name="T19" fmla="*/ 8 h 100"/>
                <a:gd name="T20" fmla="*/ 0 w 78"/>
                <a:gd name="T21" fmla="*/ 6 h 100"/>
                <a:gd name="T22" fmla="*/ 0 w 78"/>
                <a:gd name="T23" fmla="*/ 2 h 100"/>
                <a:gd name="T24" fmla="*/ 4 w 78"/>
                <a:gd name="T25" fmla="*/ 0 h 100"/>
                <a:gd name="T26" fmla="*/ 22 w 78"/>
                <a:gd name="T27" fmla="*/ 3 h 100"/>
                <a:gd name="T28" fmla="*/ 23 w 78"/>
                <a:gd name="T29" fmla="*/ 8 h 100"/>
                <a:gd name="T30" fmla="*/ 31 w 78"/>
                <a:gd name="T31" fmla="*/ 7 h 100"/>
                <a:gd name="T32" fmla="*/ 36 w 78"/>
                <a:gd name="T33" fmla="*/ 12 h 100"/>
                <a:gd name="T34" fmla="*/ 37 w 78"/>
                <a:gd name="T35" fmla="*/ 19 h 100"/>
                <a:gd name="T36" fmla="*/ 43 w 78"/>
                <a:gd name="T37" fmla="*/ 27 h 100"/>
                <a:gd name="T38" fmla="*/ 46 w 78"/>
                <a:gd name="T39" fmla="*/ 29 h 100"/>
                <a:gd name="T40" fmla="*/ 45 w 78"/>
                <a:gd name="T41" fmla="*/ 36 h 100"/>
                <a:gd name="T42" fmla="*/ 43 w 78"/>
                <a:gd name="T43" fmla="*/ 42 h 100"/>
                <a:gd name="T44" fmla="*/ 43 w 78"/>
                <a:gd name="T45" fmla="*/ 42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" h="100">
                  <a:moveTo>
                    <a:pt x="73" y="100"/>
                  </a:moveTo>
                  <a:lnTo>
                    <a:pt x="65" y="80"/>
                  </a:lnTo>
                  <a:lnTo>
                    <a:pt x="47" y="57"/>
                  </a:lnTo>
                  <a:lnTo>
                    <a:pt x="37" y="43"/>
                  </a:lnTo>
                  <a:lnTo>
                    <a:pt x="23" y="27"/>
                  </a:lnTo>
                  <a:lnTo>
                    <a:pt x="18" y="32"/>
                  </a:lnTo>
                  <a:lnTo>
                    <a:pt x="18" y="50"/>
                  </a:lnTo>
                  <a:lnTo>
                    <a:pt x="5" y="68"/>
                  </a:lnTo>
                  <a:lnTo>
                    <a:pt x="5" y="50"/>
                  </a:lnTo>
                  <a:lnTo>
                    <a:pt x="5" y="20"/>
                  </a:lnTo>
                  <a:lnTo>
                    <a:pt x="0" y="13"/>
                  </a:lnTo>
                  <a:lnTo>
                    <a:pt x="0" y="2"/>
                  </a:lnTo>
                  <a:lnTo>
                    <a:pt x="8" y="0"/>
                  </a:lnTo>
                  <a:lnTo>
                    <a:pt x="37" y="8"/>
                  </a:lnTo>
                  <a:lnTo>
                    <a:pt x="40" y="20"/>
                  </a:lnTo>
                  <a:lnTo>
                    <a:pt x="55" y="17"/>
                  </a:lnTo>
                  <a:lnTo>
                    <a:pt x="62" y="28"/>
                  </a:lnTo>
                  <a:lnTo>
                    <a:pt x="63" y="45"/>
                  </a:lnTo>
                  <a:lnTo>
                    <a:pt x="75" y="63"/>
                  </a:lnTo>
                  <a:lnTo>
                    <a:pt x="78" y="68"/>
                  </a:lnTo>
                  <a:lnTo>
                    <a:pt x="77" y="87"/>
                  </a:lnTo>
                  <a:lnTo>
                    <a:pt x="73" y="10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1" name="Freeform 328"/>
            <p:cNvSpPr>
              <a:spLocks/>
            </p:cNvSpPr>
            <p:nvPr/>
          </p:nvSpPr>
          <p:spPr bwMode="auto">
            <a:xfrm>
              <a:off x="3805" y="2536"/>
              <a:ext cx="70" cy="84"/>
            </a:xfrm>
            <a:custGeom>
              <a:avLst/>
              <a:gdLst>
                <a:gd name="T0" fmla="*/ 43 w 78"/>
                <a:gd name="T1" fmla="*/ 42 h 100"/>
                <a:gd name="T2" fmla="*/ 38 w 78"/>
                <a:gd name="T3" fmla="*/ 33 h 100"/>
                <a:gd name="T4" fmla="*/ 28 w 78"/>
                <a:gd name="T5" fmla="*/ 24 h 100"/>
                <a:gd name="T6" fmla="*/ 22 w 78"/>
                <a:gd name="T7" fmla="*/ 18 h 100"/>
                <a:gd name="T8" fmla="*/ 13 w 78"/>
                <a:gd name="T9" fmla="*/ 11 h 100"/>
                <a:gd name="T10" fmla="*/ 11 w 78"/>
                <a:gd name="T11" fmla="*/ 13 h 100"/>
                <a:gd name="T12" fmla="*/ 11 w 78"/>
                <a:gd name="T13" fmla="*/ 20 h 100"/>
                <a:gd name="T14" fmla="*/ 4 w 78"/>
                <a:gd name="T15" fmla="*/ 29 h 100"/>
                <a:gd name="T16" fmla="*/ 4 w 78"/>
                <a:gd name="T17" fmla="*/ 20 h 100"/>
                <a:gd name="T18" fmla="*/ 4 w 78"/>
                <a:gd name="T19" fmla="*/ 8 h 100"/>
                <a:gd name="T20" fmla="*/ 0 w 78"/>
                <a:gd name="T21" fmla="*/ 6 h 100"/>
                <a:gd name="T22" fmla="*/ 0 w 78"/>
                <a:gd name="T23" fmla="*/ 2 h 100"/>
                <a:gd name="T24" fmla="*/ 4 w 78"/>
                <a:gd name="T25" fmla="*/ 0 h 100"/>
                <a:gd name="T26" fmla="*/ 22 w 78"/>
                <a:gd name="T27" fmla="*/ 3 h 100"/>
                <a:gd name="T28" fmla="*/ 23 w 78"/>
                <a:gd name="T29" fmla="*/ 8 h 100"/>
                <a:gd name="T30" fmla="*/ 31 w 78"/>
                <a:gd name="T31" fmla="*/ 7 h 100"/>
                <a:gd name="T32" fmla="*/ 36 w 78"/>
                <a:gd name="T33" fmla="*/ 12 h 100"/>
                <a:gd name="T34" fmla="*/ 37 w 78"/>
                <a:gd name="T35" fmla="*/ 19 h 100"/>
                <a:gd name="T36" fmla="*/ 43 w 78"/>
                <a:gd name="T37" fmla="*/ 27 h 100"/>
                <a:gd name="T38" fmla="*/ 46 w 78"/>
                <a:gd name="T39" fmla="*/ 29 h 100"/>
                <a:gd name="T40" fmla="*/ 45 w 78"/>
                <a:gd name="T41" fmla="*/ 36 h 100"/>
                <a:gd name="T42" fmla="*/ 43 w 78"/>
                <a:gd name="T43" fmla="*/ 42 h 100"/>
                <a:gd name="T44" fmla="*/ 43 w 78"/>
                <a:gd name="T45" fmla="*/ 42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78" h="100">
                  <a:moveTo>
                    <a:pt x="73" y="100"/>
                  </a:moveTo>
                  <a:lnTo>
                    <a:pt x="65" y="80"/>
                  </a:lnTo>
                  <a:lnTo>
                    <a:pt x="47" y="57"/>
                  </a:lnTo>
                  <a:lnTo>
                    <a:pt x="37" y="43"/>
                  </a:lnTo>
                  <a:lnTo>
                    <a:pt x="23" y="27"/>
                  </a:lnTo>
                  <a:lnTo>
                    <a:pt x="18" y="32"/>
                  </a:lnTo>
                  <a:lnTo>
                    <a:pt x="18" y="50"/>
                  </a:lnTo>
                  <a:lnTo>
                    <a:pt x="5" y="68"/>
                  </a:lnTo>
                  <a:lnTo>
                    <a:pt x="5" y="50"/>
                  </a:lnTo>
                  <a:lnTo>
                    <a:pt x="5" y="20"/>
                  </a:lnTo>
                  <a:lnTo>
                    <a:pt x="0" y="13"/>
                  </a:lnTo>
                  <a:lnTo>
                    <a:pt x="0" y="2"/>
                  </a:lnTo>
                  <a:lnTo>
                    <a:pt x="8" y="0"/>
                  </a:lnTo>
                  <a:lnTo>
                    <a:pt x="37" y="8"/>
                  </a:lnTo>
                  <a:lnTo>
                    <a:pt x="40" y="20"/>
                  </a:lnTo>
                  <a:lnTo>
                    <a:pt x="55" y="17"/>
                  </a:lnTo>
                  <a:lnTo>
                    <a:pt x="62" y="28"/>
                  </a:lnTo>
                  <a:lnTo>
                    <a:pt x="63" y="45"/>
                  </a:lnTo>
                  <a:lnTo>
                    <a:pt x="75" y="63"/>
                  </a:lnTo>
                  <a:lnTo>
                    <a:pt x="78" y="68"/>
                  </a:lnTo>
                  <a:lnTo>
                    <a:pt x="77" y="87"/>
                  </a:lnTo>
                  <a:lnTo>
                    <a:pt x="73" y="10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2" name="Freeform 329"/>
            <p:cNvSpPr>
              <a:spLocks/>
            </p:cNvSpPr>
            <p:nvPr/>
          </p:nvSpPr>
          <p:spPr bwMode="auto">
            <a:xfrm>
              <a:off x="3799" y="2485"/>
              <a:ext cx="127" cy="124"/>
            </a:xfrm>
            <a:custGeom>
              <a:avLst/>
              <a:gdLst>
                <a:gd name="T0" fmla="*/ 44 w 145"/>
                <a:gd name="T1" fmla="*/ 63 h 147"/>
                <a:gd name="T2" fmla="*/ 44 w 145"/>
                <a:gd name="T3" fmla="*/ 55 h 147"/>
                <a:gd name="T4" fmla="*/ 35 w 145"/>
                <a:gd name="T5" fmla="*/ 44 h 147"/>
                <a:gd name="T6" fmla="*/ 35 w 145"/>
                <a:gd name="T7" fmla="*/ 40 h 147"/>
                <a:gd name="T8" fmla="*/ 35 w 145"/>
                <a:gd name="T9" fmla="*/ 36 h 147"/>
                <a:gd name="T10" fmla="*/ 34 w 145"/>
                <a:gd name="T11" fmla="*/ 34 h 147"/>
                <a:gd name="T12" fmla="*/ 25 w 145"/>
                <a:gd name="T13" fmla="*/ 34 h 147"/>
                <a:gd name="T14" fmla="*/ 23 w 145"/>
                <a:gd name="T15" fmla="*/ 30 h 147"/>
                <a:gd name="T16" fmla="*/ 7 w 145"/>
                <a:gd name="T17" fmla="*/ 25 h 147"/>
                <a:gd name="T18" fmla="*/ 2 w 145"/>
                <a:gd name="T19" fmla="*/ 25 h 147"/>
                <a:gd name="T20" fmla="*/ 0 w 145"/>
                <a:gd name="T21" fmla="*/ 23 h 147"/>
                <a:gd name="T22" fmla="*/ 4 w 145"/>
                <a:gd name="T23" fmla="*/ 11 h 147"/>
                <a:gd name="T24" fmla="*/ 10 w 145"/>
                <a:gd name="T25" fmla="*/ 11 h 147"/>
                <a:gd name="T26" fmla="*/ 10 w 145"/>
                <a:gd name="T27" fmla="*/ 18 h 147"/>
                <a:gd name="T28" fmla="*/ 16 w 145"/>
                <a:gd name="T29" fmla="*/ 24 h 147"/>
                <a:gd name="T30" fmla="*/ 32 w 145"/>
                <a:gd name="T31" fmla="*/ 21 h 147"/>
                <a:gd name="T32" fmla="*/ 32 w 145"/>
                <a:gd name="T33" fmla="*/ 9 h 147"/>
                <a:gd name="T34" fmla="*/ 39 w 145"/>
                <a:gd name="T35" fmla="*/ 8 h 147"/>
                <a:gd name="T36" fmla="*/ 46 w 145"/>
                <a:gd name="T37" fmla="*/ 3 h 147"/>
                <a:gd name="T38" fmla="*/ 52 w 145"/>
                <a:gd name="T39" fmla="*/ 0 h 147"/>
                <a:gd name="T40" fmla="*/ 59 w 145"/>
                <a:gd name="T41" fmla="*/ 2 h 147"/>
                <a:gd name="T42" fmla="*/ 62 w 145"/>
                <a:gd name="T43" fmla="*/ 2 h 147"/>
                <a:gd name="T44" fmla="*/ 64 w 145"/>
                <a:gd name="T45" fmla="*/ 5 h 147"/>
                <a:gd name="T46" fmla="*/ 74 w 145"/>
                <a:gd name="T47" fmla="*/ 8 h 147"/>
                <a:gd name="T48" fmla="*/ 71 w 145"/>
                <a:gd name="T49" fmla="*/ 12 h 147"/>
                <a:gd name="T50" fmla="*/ 59 w 145"/>
                <a:gd name="T51" fmla="*/ 22 h 147"/>
                <a:gd name="T52" fmla="*/ 55 w 145"/>
                <a:gd name="T53" fmla="*/ 30 h 147"/>
                <a:gd name="T54" fmla="*/ 53 w 145"/>
                <a:gd name="T55" fmla="*/ 40 h 147"/>
                <a:gd name="T56" fmla="*/ 53 w 145"/>
                <a:gd name="T57" fmla="*/ 44 h 147"/>
                <a:gd name="T58" fmla="*/ 47 w 145"/>
                <a:gd name="T59" fmla="*/ 44 h 147"/>
                <a:gd name="T60" fmla="*/ 44 w 145"/>
                <a:gd name="T61" fmla="*/ 52 h 147"/>
                <a:gd name="T62" fmla="*/ 44 w 145"/>
                <a:gd name="T63" fmla="*/ 63 h 147"/>
                <a:gd name="T64" fmla="*/ 44 w 145"/>
                <a:gd name="T65" fmla="*/ 63 h 14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5" h="147">
                  <a:moveTo>
                    <a:pt x="85" y="147"/>
                  </a:moveTo>
                  <a:lnTo>
                    <a:pt x="85" y="128"/>
                  </a:lnTo>
                  <a:lnTo>
                    <a:pt x="67" y="103"/>
                  </a:lnTo>
                  <a:lnTo>
                    <a:pt x="67" y="92"/>
                  </a:lnTo>
                  <a:lnTo>
                    <a:pt x="67" y="85"/>
                  </a:lnTo>
                  <a:lnTo>
                    <a:pt x="65" y="78"/>
                  </a:lnTo>
                  <a:lnTo>
                    <a:pt x="47" y="80"/>
                  </a:lnTo>
                  <a:lnTo>
                    <a:pt x="44" y="70"/>
                  </a:lnTo>
                  <a:lnTo>
                    <a:pt x="12" y="60"/>
                  </a:lnTo>
                  <a:lnTo>
                    <a:pt x="2" y="60"/>
                  </a:lnTo>
                  <a:lnTo>
                    <a:pt x="0" y="53"/>
                  </a:lnTo>
                  <a:lnTo>
                    <a:pt x="9" y="25"/>
                  </a:lnTo>
                  <a:lnTo>
                    <a:pt x="19" y="25"/>
                  </a:lnTo>
                  <a:lnTo>
                    <a:pt x="19" y="42"/>
                  </a:lnTo>
                  <a:lnTo>
                    <a:pt x="30" y="55"/>
                  </a:lnTo>
                  <a:lnTo>
                    <a:pt x="62" y="50"/>
                  </a:lnTo>
                  <a:lnTo>
                    <a:pt x="62" y="22"/>
                  </a:lnTo>
                  <a:lnTo>
                    <a:pt x="75" y="18"/>
                  </a:lnTo>
                  <a:lnTo>
                    <a:pt x="87" y="8"/>
                  </a:lnTo>
                  <a:lnTo>
                    <a:pt x="100" y="0"/>
                  </a:lnTo>
                  <a:lnTo>
                    <a:pt x="115" y="2"/>
                  </a:lnTo>
                  <a:lnTo>
                    <a:pt x="120" y="2"/>
                  </a:lnTo>
                  <a:lnTo>
                    <a:pt x="124" y="12"/>
                  </a:lnTo>
                  <a:lnTo>
                    <a:pt x="145" y="18"/>
                  </a:lnTo>
                  <a:lnTo>
                    <a:pt x="137" y="28"/>
                  </a:lnTo>
                  <a:lnTo>
                    <a:pt x="115" y="52"/>
                  </a:lnTo>
                  <a:lnTo>
                    <a:pt x="107" y="70"/>
                  </a:lnTo>
                  <a:lnTo>
                    <a:pt x="104" y="92"/>
                  </a:lnTo>
                  <a:lnTo>
                    <a:pt x="104" y="103"/>
                  </a:lnTo>
                  <a:lnTo>
                    <a:pt x="92" y="103"/>
                  </a:lnTo>
                  <a:lnTo>
                    <a:pt x="85" y="123"/>
                  </a:lnTo>
                  <a:lnTo>
                    <a:pt x="85" y="14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3" name="Freeform 330"/>
            <p:cNvSpPr>
              <a:spLocks/>
            </p:cNvSpPr>
            <p:nvPr/>
          </p:nvSpPr>
          <p:spPr bwMode="auto">
            <a:xfrm>
              <a:off x="3799" y="2485"/>
              <a:ext cx="127" cy="124"/>
            </a:xfrm>
            <a:custGeom>
              <a:avLst/>
              <a:gdLst>
                <a:gd name="T0" fmla="*/ 44 w 145"/>
                <a:gd name="T1" fmla="*/ 63 h 147"/>
                <a:gd name="T2" fmla="*/ 44 w 145"/>
                <a:gd name="T3" fmla="*/ 55 h 147"/>
                <a:gd name="T4" fmla="*/ 35 w 145"/>
                <a:gd name="T5" fmla="*/ 44 h 147"/>
                <a:gd name="T6" fmla="*/ 35 w 145"/>
                <a:gd name="T7" fmla="*/ 40 h 147"/>
                <a:gd name="T8" fmla="*/ 35 w 145"/>
                <a:gd name="T9" fmla="*/ 36 h 147"/>
                <a:gd name="T10" fmla="*/ 34 w 145"/>
                <a:gd name="T11" fmla="*/ 34 h 147"/>
                <a:gd name="T12" fmla="*/ 25 w 145"/>
                <a:gd name="T13" fmla="*/ 34 h 147"/>
                <a:gd name="T14" fmla="*/ 23 w 145"/>
                <a:gd name="T15" fmla="*/ 30 h 147"/>
                <a:gd name="T16" fmla="*/ 7 w 145"/>
                <a:gd name="T17" fmla="*/ 25 h 147"/>
                <a:gd name="T18" fmla="*/ 2 w 145"/>
                <a:gd name="T19" fmla="*/ 25 h 147"/>
                <a:gd name="T20" fmla="*/ 0 w 145"/>
                <a:gd name="T21" fmla="*/ 23 h 147"/>
                <a:gd name="T22" fmla="*/ 4 w 145"/>
                <a:gd name="T23" fmla="*/ 11 h 147"/>
                <a:gd name="T24" fmla="*/ 10 w 145"/>
                <a:gd name="T25" fmla="*/ 11 h 147"/>
                <a:gd name="T26" fmla="*/ 10 w 145"/>
                <a:gd name="T27" fmla="*/ 18 h 147"/>
                <a:gd name="T28" fmla="*/ 16 w 145"/>
                <a:gd name="T29" fmla="*/ 24 h 147"/>
                <a:gd name="T30" fmla="*/ 32 w 145"/>
                <a:gd name="T31" fmla="*/ 21 h 147"/>
                <a:gd name="T32" fmla="*/ 32 w 145"/>
                <a:gd name="T33" fmla="*/ 9 h 147"/>
                <a:gd name="T34" fmla="*/ 39 w 145"/>
                <a:gd name="T35" fmla="*/ 8 h 147"/>
                <a:gd name="T36" fmla="*/ 46 w 145"/>
                <a:gd name="T37" fmla="*/ 3 h 147"/>
                <a:gd name="T38" fmla="*/ 52 w 145"/>
                <a:gd name="T39" fmla="*/ 0 h 147"/>
                <a:gd name="T40" fmla="*/ 59 w 145"/>
                <a:gd name="T41" fmla="*/ 2 h 147"/>
                <a:gd name="T42" fmla="*/ 62 w 145"/>
                <a:gd name="T43" fmla="*/ 2 h 147"/>
                <a:gd name="T44" fmla="*/ 64 w 145"/>
                <a:gd name="T45" fmla="*/ 5 h 147"/>
                <a:gd name="T46" fmla="*/ 74 w 145"/>
                <a:gd name="T47" fmla="*/ 8 h 147"/>
                <a:gd name="T48" fmla="*/ 71 w 145"/>
                <a:gd name="T49" fmla="*/ 12 h 147"/>
                <a:gd name="T50" fmla="*/ 59 w 145"/>
                <a:gd name="T51" fmla="*/ 22 h 147"/>
                <a:gd name="T52" fmla="*/ 55 w 145"/>
                <a:gd name="T53" fmla="*/ 30 h 147"/>
                <a:gd name="T54" fmla="*/ 53 w 145"/>
                <a:gd name="T55" fmla="*/ 40 h 147"/>
                <a:gd name="T56" fmla="*/ 53 w 145"/>
                <a:gd name="T57" fmla="*/ 44 h 147"/>
                <a:gd name="T58" fmla="*/ 47 w 145"/>
                <a:gd name="T59" fmla="*/ 44 h 147"/>
                <a:gd name="T60" fmla="*/ 44 w 145"/>
                <a:gd name="T61" fmla="*/ 52 h 147"/>
                <a:gd name="T62" fmla="*/ 44 w 145"/>
                <a:gd name="T63" fmla="*/ 63 h 147"/>
                <a:gd name="T64" fmla="*/ 44 w 145"/>
                <a:gd name="T65" fmla="*/ 63 h 14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5" h="147">
                  <a:moveTo>
                    <a:pt x="85" y="147"/>
                  </a:moveTo>
                  <a:lnTo>
                    <a:pt x="85" y="128"/>
                  </a:lnTo>
                  <a:lnTo>
                    <a:pt x="67" y="103"/>
                  </a:lnTo>
                  <a:lnTo>
                    <a:pt x="67" y="92"/>
                  </a:lnTo>
                  <a:lnTo>
                    <a:pt x="67" y="85"/>
                  </a:lnTo>
                  <a:lnTo>
                    <a:pt x="65" y="78"/>
                  </a:lnTo>
                  <a:lnTo>
                    <a:pt x="47" y="80"/>
                  </a:lnTo>
                  <a:lnTo>
                    <a:pt x="44" y="70"/>
                  </a:lnTo>
                  <a:lnTo>
                    <a:pt x="12" y="60"/>
                  </a:lnTo>
                  <a:lnTo>
                    <a:pt x="2" y="60"/>
                  </a:lnTo>
                  <a:lnTo>
                    <a:pt x="0" y="53"/>
                  </a:lnTo>
                  <a:lnTo>
                    <a:pt x="9" y="25"/>
                  </a:lnTo>
                  <a:lnTo>
                    <a:pt x="19" y="25"/>
                  </a:lnTo>
                  <a:lnTo>
                    <a:pt x="19" y="42"/>
                  </a:lnTo>
                  <a:lnTo>
                    <a:pt x="30" y="55"/>
                  </a:lnTo>
                  <a:lnTo>
                    <a:pt x="62" y="50"/>
                  </a:lnTo>
                  <a:lnTo>
                    <a:pt x="62" y="22"/>
                  </a:lnTo>
                  <a:lnTo>
                    <a:pt x="75" y="18"/>
                  </a:lnTo>
                  <a:lnTo>
                    <a:pt x="87" y="8"/>
                  </a:lnTo>
                  <a:lnTo>
                    <a:pt x="100" y="0"/>
                  </a:lnTo>
                  <a:lnTo>
                    <a:pt x="115" y="2"/>
                  </a:lnTo>
                  <a:lnTo>
                    <a:pt x="120" y="2"/>
                  </a:lnTo>
                  <a:lnTo>
                    <a:pt x="124" y="12"/>
                  </a:lnTo>
                  <a:lnTo>
                    <a:pt x="145" y="18"/>
                  </a:lnTo>
                  <a:lnTo>
                    <a:pt x="137" y="28"/>
                  </a:lnTo>
                  <a:lnTo>
                    <a:pt x="115" y="52"/>
                  </a:lnTo>
                  <a:lnTo>
                    <a:pt x="107" y="70"/>
                  </a:lnTo>
                  <a:lnTo>
                    <a:pt x="104" y="92"/>
                  </a:lnTo>
                  <a:lnTo>
                    <a:pt x="104" y="103"/>
                  </a:lnTo>
                  <a:lnTo>
                    <a:pt x="92" y="103"/>
                  </a:lnTo>
                  <a:lnTo>
                    <a:pt x="85" y="123"/>
                  </a:lnTo>
                  <a:lnTo>
                    <a:pt x="85" y="14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4" name="Freeform 331"/>
            <p:cNvSpPr>
              <a:spLocks/>
            </p:cNvSpPr>
            <p:nvPr/>
          </p:nvSpPr>
          <p:spPr bwMode="auto">
            <a:xfrm>
              <a:off x="3816" y="2503"/>
              <a:ext cx="40" cy="29"/>
            </a:xfrm>
            <a:custGeom>
              <a:avLst/>
              <a:gdLst>
                <a:gd name="T0" fmla="*/ 0 w 45"/>
                <a:gd name="T1" fmla="*/ 3 h 33"/>
                <a:gd name="T2" fmla="*/ 0 w 45"/>
                <a:gd name="T3" fmla="*/ 10 h 33"/>
                <a:gd name="T4" fmla="*/ 4 w 45"/>
                <a:gd name="T5" fmla="*/ 15 h 33"/>
                <a:gd name="T6" fmla="*/ 8 w 45"/>
                <a:gd name="T7" fmla="*/ 17 h 33"/>
                <a:gd name="T8" fmla="*/ 18 w 45"/>
                <a:gd name="T9" fmla="*/ 15 h 33"/>
                <a:gd name="T10" fmla="*/ 25 w 45"/>
                <a:gd name="T11" fmla="*/ 14 h 33"/>
                <a:gd name="T12" fmla="*/ 24 w 45"/>
                <a:gd name="T13" fmla="*/ 4 h 33"/>
                <a:gd name="T14" fmla="*/ 25 w 45"/>
                <a:gd name="T15" fmla="*/ 0 h 33"/>
                <a:gd name="T16" fmla="*/ 14 w 45"/>
                <a:gd name="T17" fmla="*/ 3 h 33"/>
                <a:gd name="T18" fmla="*/ 4 w 45"/>
                <a:gd name="T19" fmla="*/ 3 h 33"/>
                <a:gd name="T20" fmla="*/ 0 w 45"/>
                <a:gd name="T21" fmla="*/ 3 h 33"/>
                <a:gd name="T22" fmla="*/ 0 w 45"/>
                <a:gd name="T23" fmla="*/ 3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5" h="33">
                  <a:moveTo>
                    <a:pt x="0" y="3"/>
                  </a:moveTo>
                  <a:lnTo>
                    <a:pt x="0" y="18"/>
                  </a:lnTo>
                  <a:lnTo>
                    <a:pt x="6" y="28"/>
                  </a:lnTo>
                  <a:lnTo>
                    <a:pt x="13" y="33"/>
                  </a:lnTo>
                  <a:lnTo>
                    <a:pt x="31" y="28"/>
                  </a:lnTo>
                  <a:lnTo>
                    <a:pt x="45" y="26"/>
                  </a:lnTo>
                  <a:lnTo>
                    <a:pt x="43" y="8"/>
                  </a:lnTo>
                  <a:lnTo>
                    <a:pt x="45" y="0"/>
                  </a:lnTo>
                  <a:lnTo>
                    <a:pt x="26" y="3"/>
                  </a:lnTo>
                  <a:lnTo>
                    <a:pt x="8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5" name="Freeform 332"/>
            <p:cNvSpPr>
              <a:spLocks/>
            </p:cNvSpPr>
            <p:nvPr/>
          </p:nvSpPr>
          <p:spPr bwMode="auto">
            <a:xfrm>
              <a:off x="3816" y="2503"/>
              <a:ext cx="40" cy="29"/>
            </a:xfrm>
            <a:custGeom>
              <a:avLst/>
              <a:gdLst>
                <a:gd name="T0" fmla="*/ 0 w 45"/>
                <a:gd name="T1" fmla="*/ 3 h 33"/>
                <a:gd name="T2" fmla="*/ 0 w 45"/>
                <a:gd name="T3" fmla="*/ 10 h 33"/>
                <a:gd name="T4" fmla="*/ 4 w 45"/>
                <a:gd name="T5" fmla="*/ 15 h 33"/>
                <a:gd name="T6" fmla="*/ 8 w 45"/>
                <a:gd name="T7" fmla="*/ 17 h 33"/>
                <a:gd name="T8" fmla="*/ 18 w 45"/>
                <a:gd name="T9" fmla="*/ 15 h 33"/>
                <a:gd name="T10" fmla="*/ 25 w 45"/>
                <a:gd name="T11" fmla="*/ 14 h 33"/>
                <a:gd name="T12" fmla="*/ 24 w 45"/>
                <a:gd name="T13" fmla="*/ 4 h 33"/>
                <a:gd name="T14" fmla="*/ 25 w 45"/>
                <a:gd name="T15" fmla="*/ 0 h 33"/>
                <a:gd name="T16" fmla="*/ 14 w 45"/>
                <a:gd name="T17" fmla="*/ 3 h 33"/>
                <a:gd name="T18" fmla="*/ 4 w 45"/>
                <a:gd name="T19" fmla="*/ 3 h 33"/>
                <a:gd name="T20" fmla="*/ 0 w 45"/>
                <a:gd name="T21" fmla="*/ 3 h 33"/>
                <a:gd name="T22" fmla="*/ 0 w 45"/>
                <a:gd name="T23" fmla="*/ 3 h 3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5" h="33">
                  <a:moveTo>
                    <a:pt x="0" y="3"/>
                  </a:moveTo>
                  <a:lnTo>
                    <a:pt x="0" y="18"/>
                  </a:lnTo>
                  <a:lnTo>
                    <a:pt x="6" y="28"/>
                  </a:lnTo>
                  <a:lnTo>
                    <a:pt x="13" y="33"/>
                  </a:lnTo>
                  <a:lnTo>
                    <a:pt x="31" y="28"/>
                  </a:lnTo>
                  <a:lnTo>
                    <a:pt x="45" y="26"/>
                  </a:lnTo>
                  <a:lnTo>
                    <a:pt x="43" y="8"/>
                  </a:lnTo>
                  <a:lnTo>
                    <a:pt x="45" y="0"/>
                  </a:lnTo>
                  <a:lnTo>
                    <a:pt x="26" y="3"/>
                  </a:lnTo>
                  <a:lnTo>
                    <a:pt x="8" y="3"/>
                  </a:lnTo>
                  <a:lnTo>
                    <a:pt x="0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6" name="Freeform 333"/>
            <p:cNvSpPr>
              <a:spLocks/>
            </p:cNvSpPr>
            <p:nvPr/>
          </p:nvSpPr>
          <p:spPr bwMode="auto">
            <a:xfrm>
              <a:off x="3539" y="2359"/>
              <a:ext cx="272" cy="418"/>
            </a:xfrm>
            <a:custGeom>
              <a:avLst/>
              <a:gdLst>
                <a:gd name="T0" fmla="*/ 45 w 317"/>
                <a:gd name="T1" fmla="*/ 0 h 500"/>
                <a:gd name="T2" fmla="*/ 28 w 317"/>
                <a:gd name="T3" fmla="*/ 5 h 500"/>
                <a:gd name="T4" fmla="*/ 25 w 317"/>
                <a:gd name="T5" fmla="*/ 8 h 500"/>
                <a:gd name="T6" fmla="*/ 25 w 317"/>
                <a:gd name="T7" fmla="*/ 13 h 500"/>
                <a:gd name="T8" fmla="*/ 33 w 317"/>
                <a:gd name="T9" fmla="*/ 19 h 500"/>
                <a:gd name="T10" fmla="*/ 28 w 317"/>
                <a:gd name="T11" fmla="*/ 28 h 500"/>
                <a:gd name="T12" fmla="*/ 31 w 317"/>
                <a:gd name="T13" fmla="*/ 34 h 500"/>
                <a:gd name="T14" fmla="*/ 48 w 317"/>
                <a:gd name="T15" fmla="*/ 38 h 500"/>
                <a:gd name="T16" fmla="*/ 48 w 317"/>
                <a:gd name="T17" fmla="*/ 40 h 500"/>
                <a:gd name="T18" fmla="*/ 43 w 317"/>
                <a:gd name="T19" fmla="*/ 45 h 500"/>
                <a:gd name="T20" fmla="*/ 33 w 317"/>
                <a:gd name="T21" fmla="*/ 65 h 500"/>
                <a:gd name="T22" fmla="*/ 28 w 317"/>
                <a:gd name="T23" fmla="*/ 73 h 500"/>
                <a:gd name="T24" fmla="*/ 11 w 317"/>
                <a:gd name="T25" fmla="*/ 77 h 500"/>
                <a:gd name="T26" fmla="*/ 14 w 317"/>
                <a:gd name="T27" fmla="*/ 84 h 500"/>
                <a:gd name="T28" fmla="*/ 23 w 317"/>
                <a:gd name="T29" fmla="*/ 94 h 500"/>
                <a:gd name="T30" fmla="*/ 14 w 317"/>
                <a:gd name="T31" fmla="*/ 100 h 500"/>
                <a:gd name="T32" fmla="*/ 8 w 317"/>
                <a:gd name="T33" fmla="*/ 97 h 500"/>
                <a:gd name="T34" fmla="*/ 0 w 317"/>
                <a:gd name="T35" fmla="*/ 94 h 500"/>
                <a:gd name="T36" fmla="*/ 0 w 317"/>
                <a:gd name="T37" fmla="*/ 100 h 500"/>
                <a:gd name="T38" fmla="*/ 3 w 317"/>
                <a:gd name="T39" fmla="*/ 105 h 500"/>
                <a:gd name="T40" fmla="*/ 17 w 317"/>
                <a:gd name="T41" fmla="*/ 105 h 500"/>
                <a:gd name="T42" fmla="*/ 17 w 317"/>
                <a:gd name="T43" fmla="*/ 107 h 500"/>
                <a:gd name="T44" fmla="*/ 8 w 317"/>
                <a:gd name="T45" fmla="*/ 110 h 500"/>
                <a:gd name="T46" fmla="*/ 17 w 317"/>
                <a:gd name="T47" fmla="*/ 120 h 500"/>
                <a:gd name="T48" fmla="*/ 25 w 317"/>
                <a:gd name="T49" fmla="*/ 120 h 500"/>
                <a:gd name="T50" fmla="*/ 31 w 317"/>
                <a:gd name="T51" fmla="*/ 107 h 500"/>
                <a:gd name="T52" fmla="*/ 33 w 317"/>
                <a:gd name="T53" fmla="*/ 115 h 500"/>
                <a:gd name="T54" fmla="*/ 38 w 317"/>
                <a:gd name="T55" fmla="*/ 140 h 500"/>
                <a:gd name="T56" fmla="*/ 51 w 317"/>
                <a:gd name="T57" fmla="*/ 171 h 500"/>
                <a:gd name="T58" fmla="*/ 60 w 317"/>
                <a:gd name="T59" fmla="*/ 189 h 500"/>
                <a:gd name="T60" fmla="*/ 69 w 317"/>
                <a:gd name="T61" fmla="*/ 201 h 500"/>
                <a:gd name="T62" fmla="*/ 70 w 317"/>
                <a:gd name="T63" fmla="*/ 204 h 500"/>
                <a:gd name="T64" fmla="*/ 86 w 317"/>
                <a:gd name="T65" fmla="*/ 197 h 500"/>
                <a:gd name="T66" fmla="*/ 100 w 317"/>
                <a:gd name="T67" fmla="*/ 171 h 500"/>
                <a:gd name="T68" fmla="*/ 105 w 317"/>
                <a:gd name="T69" fmla="*/ 147 h 500"/>
                <a:gd name="T70" fmla="*/ 113 w 317"/>
                <a:gd name="T71" fmla="*/ 143 h 500"/>
                <a:gd name="T72" fmla="*/ 136 w 317"/>
                <a:gd name="T73" fmla="*/ 130 h 500"/>
                <a:gd name="T74" fmla="*/ 145 w 317"/>
                <a:gd name="T75" fmla="*/ 117 h 500"/>
                <a:gd name="T76" fmla="*/ 148 w 317"/>
                <a:gd name="T77" fmla="*/ 115 h 500"/>
                <a:gd name="T78" fmla="*/ 148 w 317"/>
                <a:gd name="T79" fmla="*/ 94 h 500"/>
                <a:gd name="T80" fmla="*/ 145 w 317"/>
                <a:gd name="T81" fmla="*/ 90 h 500"/>
                <a:gd name="T82" fmla="*/ 142 w 317"/>
                <a:gd name="T83" fmla="*/ 84 h 500"/>
                <a:gd name="T84" fmla="*/ 142 w 317"/>
                <a:gd name="T85" fmla="*/ 83 h 500"/>
                <a:gd name="T86" fmla="*/ 125 w 317"/>
                <a:gd name="T87" fmla="*/ 83 h 500"/>
                <a:gd name="T88" fmla="*/ 120 w 317"/>
                <a:gd name="T89" fmla="*/ 79 h 500"/>
                <a:gd name="T90" fmla="*/ 112 w 317"/>
                <a:gd name="T91" fmla="*/ 75 h 500"/>
                <a:gd name="T92" fmla="*/ 100 w 317"/>
                <a:gd name="T93" fmla="*/ 75 h 500"/>
                <a:gd name="T94" fmla="*/ 86 w 317"/>
                <a:gd name="T95" fmla="*/ 62 h 500"/>
                <a:gd name="T96" fmla="*/ 86 w 317"/>
                <a:gd name="T97" fmla="*/ 60 h 500"/>
                <a:gd name="T98" fmla="*/ 86 w 317"/>
                <a:gd name="T99" fmla="*/ 53 h 500"/>
                <a:gd name="T100" fmla="*/ 77 w 317"/>
                <a:gd name="T101" fmla="*/ 49 h 500"/>
                <a:gd name="T102" fmla="*/ 70 w 317"/>
                <a:gd name="T103" fmla="*/ 45 h 500"/>
                <a:gd name="T104" fmla="*/ 69 w 317"/>
                <a:gd name="T105" fmla="*/ 34 h 500"/>
                <a:gd name="T106" fmla="*/ 69 w 317"/>
                <a:gd name="T107" fmla="*/ 30 h 500"/>
                <a:gd name="T108" fmla="*/ 74 w 317"/>
                <a:gd name="T109" fmla="*/ 19 h 500"/>
                <a:gd name="T110" fmla="*/ 77 w 317"/>
                <a:gd name="T111" fmla="*/ 15 h 500"/>
                <a:gd name="T112" fmla="*/ 77 w 317"/>
                <a:gd name="T113" fmla="*/ 5 h 500"/>
                <a:gd name="T114" fmla="*/ 69 w 317"/>
                <a:gd name="T115" fmla="*/ 11 h 500"/>
                <a:gd name="T116" fmla="*/ 64 w 317"/>
                <a:gd name="T117" fmla="*/ 12 h 500"/>
                <a:gd name="T118" fmla="*/ 51 w 317"/>
                <a:gd name="T119" fmla="*/ 11 h 500"/>
                <a:gd name="T120" fmla="*/ 48 w 317"/>
                <a:gd name="T121" fmla="*/ 3 h 500"/>
                <a:gd name="T122" fmla="*/ 45 w 317"/>
                <a:gd name="T123" fmla="*/ 0 h 500"/>
                <a:gd name="T124" fmla="*/ 45 w 317"/>
                <a:gd name="T125" fmla="*/ 0 h 5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17" h="500">
                  <a:moveTo>
                    <a:pt x="97" y="0"/>
                  </a:moveTo>
                  <a:lnTo>
                    <a:pt x="62" y="12"/>
                  </a:lnTo>
                  <a:lnTo>
                    <a:pt x="55" y="19"/>
                  </a:lnTo>
                  <a:lnTo>
                    <a:pt x="55" y="30"/>
                  </a:lnTo>
                  <a:lnTo>
                    <a:pt x="74" y="49"/>
                  </a:lnTo>
                  <a:lnTo>
                    <a:pt x="62" y="67"/>
                  </a:lnTo>
                  <a:lnTo>
                    <a:pt x="67" y="85"/>
                  </a:lnTo>
                  <a:lnTo>
                    <a:pt x="104" y="92"/>
                  </a:lnTo>
                  <a:lnTo>
                    <a:pt x="104" y="97"/>
                  </a:lnTo>
                  <a:lnTo>
                    <a:pt x="92" y="110"/>
                  </a:lnTo>
                  <a:lnTo>
                    <a:pt x="74" y="159"/>
                  </a:lnTo>
                  <a:lnTo>
                    <a:pt x="62" y="177"/>
                  </a:lnTo>
                  <a:lnTo>
                    <a:pt x="25" y="189"/>
                  </a:lnTo>
                  <a:lnTo>
                    <a:pt x="30" y="207"/>
                  </a:lnTo>
                  <a:lnTo>
                    <a:pt x="49" y="232"/>
                  </a:lnTo>
                  <a:lnTo>
                    <a:pt x="30" y="244"/>
                  </a:lnTo>
                  <a:lnTo>
                    <a:pt x="18" y="237"/>
                  </a:lnTo>
                  <a:lnTo>
                    <a:pt x="0" y="232"/>
                  </a:lnTo>
                  <a:lnTo>
                    <a:pt x="0" y="244"/>
                  </a:lnTo>
                  <a:lnTo>
                    <a:pt x="7" y="255"/>
                  </a:lnTo>
                  <a:lnTo>
                    <a:pt x="37" y="255"/>
                  </a:lnTo>
                  <a:lnTo>
                    <a:pt x="37" y="262"/>
                  </a:lnTo>
                  <a:lnTo>
                    <a:pt x="18" y="269"/>
                  </a:lnTo>
                  <a:lnTo>
                    <a:pt x="37" y="292"/>
                  </a:lnTo>
                  <a:lnTo>
                    <a:pt x="55" y="292"/>
                  </a:lnTo>
                  <a:lnTo>
                    <a:pt x="67" y="262"/>
                  </a:lnTo>
                  <a:lnTo>
                    <a:pt x="74" y="280"/>
                  </a:lnTo>
                  <a:lnTo>
                    <a:pt x="80" y="342"/>
                  </a:lnTo>
                  <a:lnTo>
                    <a:pt x="110" y="420"/>
                  </a:lnTo>
                  <a:lnTo>
                    <a:pt x="129" y="462"/>
                  </a:lnTo>
                  <a:lnTo>
                    <a:pt x="147" y="494"/>
                  </a:lnTo>
                  <a:lnTo>
                    <a:pt x="152" y="500"/>
                  </a:lnTo>
                  <a:lnTo>
                    <a:pt x="184" y="482"/>
                  </a:lnTo>
                  <a:lnTo>
                    <a:pt x="214" y="420"/>
                  </a:lnTo>
                  <a:lnTo>
                    <a:pt x="225" y="360"/>
                  </a:lnTo>
                  <a:lnTo>
                    <a:pt x="244" y="349"/>
                  </a:lnTo>
                  <a:lnTo>
                    <a:pt x="294" y="317"/>
                  </a:lnTo>
                  <a:lnTo>
                    <a:pt x="312" y="287"/>
                  </a:lnTo>
                  <a:lnTo>
                    <a:pt x="317" y="280"/>
                  </a:lnTo>
                  <a:lnTo>
                    <a:pt x="317" y="232"/>
                  </a:lnTo>
                  <a:lnTo>
                    <a:pt x="312" y="220"/>
                  </a:lnTo>
                  <a:lnTo>
                    <a:pt x="305" y="207"/>
                  </a:lnTo>
                  <a:lnTo>
                    <a:pt x="305" y="202"/>
                  </a:lnTo>
                  <a:lnTo>
                    <a:pt x="269" y="202"/>
                  </a:lnTo>
                  <a:lnTo>
                    <a:pt x="257" y="195"/>
                  </a:lnTo>
                  <a:lnTo>
                    <a:pt x="239" y="184"/>
                  </a:lnTo>
                  <a:lnTo>
                    <a:pt x="214" y="184"/>
                  </a:lnTo>
                  <a:lnTo>
                    <a:pt x="184" y="152"/>
                  </a:lnTo>
                  <a:lnTo>
                    <a:pt x="184" y="147"/>
                  </a:lnTo>
                  <a:lnTo>
                    <a:pt x="184" y="129"/>
                  </a:lnTo>
                  <a:lnTo>
                    <a:pt x="165" y="122"/>
                  </a:lnTo>
                  <a:lnTo>
                    <a:pt x="152" y="110"/>
                  </a:lnTo>
                  <a:lnTo>
                    <a:pt x="147" y="85"/>
                  </a:lnTo>
                  <a:lnTo>
                    <a:pt x="147" y="74"/>
                  </a:lnTo>
                  <a:lnTo>
                    <a:pt x="159" y="49"/>
                  </a:lnTo>
                  <a:lnTo>
                    <a:pt x="165" y="37"/>
                  </a:lnTo>
                  <a:lnTo>
                    <a:pt x="165" y="12"/>
                  </a:lnTo>
                  <a:lnTo>
                    <a:pt x="147" y="27"/>
                  </a:lnTo>
                  <a:lnTo>
                    <a:pt x="137" y="29"/>
                  </a:lnTo>
                  <a:lnTo>
                    <a:pt x="110" y="25"/>
                  </a:lnTo>
                  <a:lnTo>
                    <a:pt x="102" y="7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7" name="Freeform 334"/>
            <p:cNvSpPr>
              <a:spLocks/>
            </p:cNvSpPr>
            <p:nvPr/>
          </p:nvSpPr>
          <p:spPr bwMode="auto">
            <a:xfrm>
              <a:off x="3539" y="2359"/>
              <a:ext cx="272" cy="418"/>
            </a:xfrm>
            <a:custGeom>
              <a:avLst/>
              <a:gdLst>
                <a:gd name="T0" fmla="*/ 45 w 317"/>
                <a:gd name="T1" fmla="*/ 0 h 500"/>
                <a:gd name="T2" fmla="*/ 28 w 317"/>
                <a:gd name="T3" fmla="*/ 5 h 500"/>
                <a:gd name="T4" fmla="*/ 25 w 317"/>
                <a:gd name="T5" fmla="*/ 8 h 500"/>
                <a:gd name="T6" fmla="*/ 25 w 317"/>
                <a:gd name="T7" fmla="*/ 13 h 500"/>
                <a:gd name="T8" fmla="*/ 33 w 317"/>
                <a:gd name="T9" fmla="*/ 19 h 500"/>
                <a:gd name="T10" fmla="*/ 28 w 317"/>
                <a:gd name="T11" fmla="*/ 28 h 500"/>
                <a:gd name="T12" fmla="*/ 31 w 317"/>
                <a:gd name="T13" fmla="*/ 34 h 500"/>
                <a:gd name="T14" fmla="*/ 48 w 317"/>
                <a:gd name="T15" fmla="*/ 38 h 500"/>
                <a:gd name="T16" fmla="*/ 48 w 317"/>
                <a:gd name="T17" fmla="*/ 40 h 500"/>
                <a:gd name="T18" fmla="*/ 43 w 317"/>
                <a:gd name="T19" fmla="*/ 45 h 500"/>
                <a:gd name="T20" fmla="*/ 33 w 317"/>
                <a:gd name="T21" fmla="*/ 65 h 500"/>
                <a:gd name="T22" fmla="*/ 28 w 317"/>
                <a:gd name="T23" fmla="*/ 73 h 500"/>
                <a:gd name="T24" fmla="*/ 11 w 317"/>
                <a:gd name="T25" fmla="*/ 77 h 500"/>
                <a:gd name="T26" fmla="*/ 14 w 317"/>
                <a:gd name="T27" fmla="*/ 84 h 500"/>
                <a:gd name="T28" fmla="*/ 23 w 317"/>
                <a:gd name="T29" fmla="*/ 94 h 500"/>
                <a:gd name="T30" fmla="*/ 14 w 317"/>
                <a:gd name="T31" fmla="*/ 100 h 500"/>
                <a:gd name="T32" fmla="*/ 8 w 317"/>
                <a:gd name="T33" fmla="*/ 97 h 500"/>
                <a:gd name="T34" fmla="*/ 0 w 317"/>
                <a:gd name="T35" fmla="*/ 94 h 500"/>
                <a:gd name="T36" fmla="*/ 0 w 317"/>
                <a:gd name="T37" fmla="*/ 100 h 500"/>
                <a:gd name="T38" fmla="*/ 3 w 317"/>
                <a:gd name="T39" fmla="*/ 105 h 500"/>
                <a:gd name="T40" fmla="*/ 17 w 317"/>
                <a:gd name="T41" fmla="*/ 105 h 500"/>
                <a:gd name="T42" fmla="*/ 17 w 317"/>
                <a:gd name="T43" fmla="*/ 107 h 500"/>
                <a:gd name="T44" fmla="*/ 8 w 317"/>
                <a:gd name="T45" fmla="*/ 110 h 500"/>
                <a:gd name="T46" fmla="*/ 17 w 317"/>
                <a:gd name="T47" fmla="*/ 120 h 500"/>
                <a:gd name="T48" fmla="*/ 25 w 317"/>
                <a:gd name="T49" fmla="*/ 120 h 500"/>
                <a:gd name="T50" fmla="*/ 31 w 317"/>
                <a:gd name="T51" fmla="*/ 107 h 500"/>
                <a:gd name="T52" fmla="*/ 33 w 317"/>
                <a:gd name="T53" fmla="*/ 115 h 500"/>
                <a:gd name="T54" fmla="*/ 38 w 317"/>
                <a:gd name="T55" fmla="*/ 140 h 500"/>
                <a:gd name="T56" fmla="*/ 51 w 317"/>
                <a:gd name="T57" fmla="*/ 171 h 500"/>
                <a:gd name="T58" fmla="*/ 60 w 317"/>
                <a:gd name="T59" fmla="*/ 189 h 500"/>
                <a:gd name="T60" fmla="*/ 69 w 317"/>
                <a:gd name="T61" fmla="*/ 201 h 500"/>
                <a:gd name="T62" fmla="*/ 70 w 317"/>
                <a:gd name="T63" fmla="*/ 204 h 500"/>
                <a:gd name="T64" fmla="*/ 86 w 317"/>
                <a:gd name="T65" fmla="*/ 197 h 500"/>
                <a:gd name="T66" fmla="*/ 100 w 317"/>
                <a:gd name="T67" fmla="*/ 171 h 500"/>
                <a:gd name="T68" fmla="*/ 105 w 317"/>
                <a:gd name="T69" fmla="*/ 147 h 500"/>
                <a:gd name="T70" fmla="*/ 113 w 317"/>
                <a:gd name="T71" fmla="*/ 143 h 500"/>
                <a:gd name="T72" fmla="*/ 136 w 317"/>
                <a:gd name="T73" fmla="*/ 130 h 500"/>
                <a:gd name="T74" fmla="*/ 145 w 317"/>
                <a:gd name="T75" fmla="*/ 117 h 500"/>
                <a:gd name="T76" fmla="*/ 148 w 317"/>
                <a:gd name="T77" fmla="*/ 115 h 500"/>
                <a:gd name="T78" fmla="*/ 148 w 317"/>
                <a:gd name="T79" fmla="*/ 94 h 500"/>
                <a:gd name="T80" fmla="*/ 145 w 317"/>
                <a:gd name="T81" fmla="*/ 90 h 500"/>
                <a:gd name="T82" fmla="*/ 142 w 317"/>
                <a:gd name="T83" fmla="*/ 84 h 500"/>
                <a:gd name="T84" fmla="*/ 142 w 317"/>
                <a:gd name="T85" fmla="*/ 83 h 500"/>
                <a:gd name="T86" fmla="*/ 125 w 317"/>
                <a:gd name="T87" fmla="*/ 83 h 500"/>
                <a:gd name="T88" fmla="*/ 120 w 317"/>
                <a:gd name="T89" fmla="*/ 79 h 500"/>
                <a:gd name="T90" fmla="*/ 112 w 317"/>
                <a:gd name="T91" fmla="*/ 75 h 500"/>
                <a:gd name="T92" fmla="*/ 100 w 317"/>
                <a:gd name="T93" fmla="*/ 75 h 500"/>
                <a:gd name="T94" fmla="*/ 86 w 317"/>
                <a:gd name="T95" fmla="*/ 62 h 500"/>
                <a:gd name="T96" fmla="*/ 86 w 317"/>
                <a:gd name="T97" fmla="*/ 60 h 500"/>
                <a:gd name="T98" fmla="*/ 86 w 317"/>
                <a:gd name="T99" fmla="*/ 53 h 500"/>
                <a:gd name="T100" fmla="*/ 77 w 317"/>
                <a:gd name="T101" fmla="*/ 49 h 500"/>
                <a:gd name="T102" fmla="*/ 70 w 317"/>
                <a:gd name="T103" fmla="*/ 45 h 500"/>
                <a:gd name="T104" fmla="*/ 69 w 317"/>
                <a:gd name="T105" fmla="*/ 34 h 500"/>
                <a:gd name="T106" fmla="*/ 69 w 317"/>
                <a:gd name="T107" fmla="*/ 30 h 500"/>
                <a:gd name="T108" fmla="*/ 74 w 317"/>
                <a:gd name="T109" fmla="*/ 19 h 500"/>
                <a:gd name="T110" fmla="*/ 77 w 317"/>
                <a:gd name="T111" fmla="*/ 15 h 500"/>
                <a:gd name="T112" fmla="*/ 77 w 317"/>
                <a:gd name="T113" fmla="*/ 5 h 500"/>
                <a:gd name="T114" fmla="*/ 69 w 317"/>
                <a:gd name="T115" fmla="*/ 11 h 500"/>
                <a:gd name="T116" fmla="*/ 64 w 317"/>
                <a:gd name="T117" fmla="*/ 12 h 500"/>
                <a:gd name="T118" fmla="*/ 51 w 317"/>
                <a:gd name="T119" fmla="*/ 11 h 500"/>
                <a:gd name="T120" fmla="*/ 48 w 317"/>
                <a:gd name="T121" fmla="*/ 3 h 500"/>
                <a:gd name="T122" fmla="*/ 45 w 317"/>
                <a:gd name="T123" fmla="*/ 0 h 500"/>
                <a:gd name="T124" fmla="*/ 45 w 317"/>
                <a:gd name="T125" fmla="*/ 0 h 50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17" h="500">
                  <a:moveTo>
                    <a:pt x="97" y="0"/>
                  </a:moveTo>
                  <a:lnTo>
                    <a:pt x="62" y="12"/>
                  </a:lnTo>
                  <a:lnTo>
                    <a:pt x="55" y="19"/>
                  </a:lnTo>
                  <a:lnTo>
                    <a:pt x="55" y="30"/>
                  </a:lnTo>
                  <a:lnTo>
                    <a:pt x="74" y="49"/>
                  </a:lnTo>
                  <a:lnTo>
                    <a:pt x="62" y="67"/>
                  </a:lnTo>
                  <a:lnTo>
                    <a:pt x="67" y="85"/>
                  </a:lnTo>
                  <a:lnTo>
                    <a:pt x="104" y="92"/>
                  </a:lnTo>
                  <a:lnTo>
                    <a:pt x="104" y="97"/>
                  </a:lnTo>
                  <a:lnTo>
                    <a:pt x="92" y="110"/>
                  </a:lnTo>
                  <a:lnTo>
                    <a:pt x="74" y="159"/>
                  </a:lnTo>
                  <a:lnTo>
                    <a:pt x="62" y="177"/>
                  </a:lnTo>
                  <a:lnTo>
                    <a:pt x="25" y="189"/>
                  </a:lnTo>
                  <a:lnTo>
                    <a:pt x="30" y="207"/>
                  </a:lnTo>
                  <a:lnTo>
                    <a:pt x="49" y="232"/>
                  </a:lnTo>
                  <a:lnTo>
                    <a:pt x="30" y="244"/>
                  </a:lnTo>
                  <a:lnTo>
                    <a:pt x="18" y="237"/>
                  </a:lnTo>
                  <a:lnTo>
                    <a:pt x="0" y="232"/>
                  </a:lnTo>
                  <a:lnTo>
                    <a:pt x="0" y="244"/>
                  </a:lnTo>
                  <a:lnTo>
                    <a:pt x="7" y="255"/>
                  </a:lnTo>
                  <a:lnTo>
                    <a:pt x="37" y="255"/>
                  </a:lnTo>
                  <a:lnTo>
                    <a:pt x="37" y="262"/>
                  </a:lnTo>
                  <a:lnTo>
                    <a:pt x="18" y="269"/>
                  </a:lnTo>
                  <a:lnTo>
                    <a:pt x="37" y="292"/>
                  </a:lnTo>
                  <a:lnTo>
                    <a:pt x="55" y="292"/>
                  </a:lnTo>
                  <a:lnTo>
                    <a:pt x="67" y="262"/>
                  </a:lnTo>
                  <a:lnTo>
                    <a:pt x="74" y="280"/>
                  </a:lnTo>
                  <a:lnTo>
                    <a:pt x="80" y="342"/>
                  </a:lnTo>
                  <a:lnTo>
                    <a:pt x="110" y="420"/>
                  </a:lnTo>
                  <a:lnTo>
                    <a:pt x="129" y="462"/>
                  </a:lnTo>
                  <a:lnTo>
                    <a:pt x="147" y="494"/>
                  </a:lnTo>
                  <a:lnTo>
                    <a:pt x="152" y="500"/>
                  </a:lnTo>
                  <a:lnTo>
                    <a:pt x="184" y="482"/>
                  </a:lnTo>
                  <a:lnTo>
                    <a:pt x="214" y="420"/>
                  </a:lnTo>
                  <a:lnTo>
                    <a:pt x="225" y="360"/>
                  </a:lnTo>
                  <a:lnTo>
                    <a:pt x="244" y="349"/>
                  </a:lnTo>
                  <a:lnTo>
                    <a:pt x="294" y="317"/>
                  </a:lnTo>
                  <a:lnTo>
                    <a:pt x="312" y="287"/>
                  </a:lnTo>
                  <a:lnTo>
                    <a:pt x="317" y="280"/>
                  </a:lnTo>
                  <a:lnTo>
                    <a:pt x="317" y="232"/>
                  </a:lnTo>
                  <a:lnTo>
                    <a:pt x="312" y="220"/>
                  </a:lnTo>
                  <a:lnTo>
                    <a:pt x="305" y="207"/>
                  </a:lnTo>
                  <a:lnTo>
                    <a:pt x="305" y="202"/>
                  </a:lnTo>
                  <a:lnTo>
                    <a:pt x="269" y="202"/>
                  </a:lnTo>
                  <a:lnTo>
                    <a:pt x="257" y="195"/>
                  </a:lnTo>
                  <a:lnTo>
                    <a:pt x="239" y="184"/>
                  </a:lnTo>
                  <a:lnTo>
                    <a:pt x="214" y="184"/>
                  </a:lnTo>
                  <a:lnTo>
                    <a:pt x="184" y="152"/>
                  </a:lnTo>
                  <a:lnTo>
                    <a:pt x="184" y="147"/>
                  </a:lnTo>
                  <a:lnTo>
                    <a:pt x="184" y="129"/>
                  </a:lnTo>
                  <a:lnTo>
                    <a:pt x="165" y="122"/>
                  </a:lnTo>
                  <a:lnTo>
                    <a:pt x="152" y="110"/>
                  </a:lnTo>
                  <a:lnTo>
                    <a:pt x="147" y="85"/>
                  </a:lnTo>
                  <a:lnTo>
                    <a:pt x="147" y="74"/>
                  </a:lnTo>
                  <a:lnTo>
                    <a:pt x="159" y="49"/>
                  </a:lnTo>
                  <a:lnTo>
                    <a:pt x="165" y="37"/>
                  </a:lnTo>
                  <a:lnTo>
                    <a:pt x="165" y="12"/>
                  </a:lnTo>
                  <a:lnTo>
                    <a:pt x="147" y="27"/>
                  </a:lnTo>
                  <a:lnTo>
                    <a:pt x="137" y="29"/>
                  </a:lnTo>
                  <a:lnTo>
                    <a:pt x="110" y="25"/>
                  </a:lnTo>
                  <a:lnTo>
                    <a:pt x="102" y="7"/>
                  </a:lnTo>
                  <a:lnTo>
                    <a:pt x="9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8" name="Freeform 335"/>
            <p:cNvSpPr>
              <a:spLocks/>
            </p:cNvSpPr>
            <p:nvPr/>
          </p:nvSpPr>
          <p:spPr bwMode="auto">
            <a:xfrm>
              <a:off x="3696" y="2466"/>
              <a:ext cx="115" cy="62"/>
            </a:xfrm>
            <a:custGeom>
              <a:avLst/>
              <a:gdLst>
                <a:gd name="T0" fmla="*/ 0 w 131"/>
                <a:gd name="T1" fmla="*/ 0 h 73"/>
                <a:gd name="T2" fmla="*/ 0 w 131"/>
                <a:gd name="T3" fmla="*/ 5 h 73"/>
                <a:gd name="T4" fmla="*/ 0 w 131"/>
                <a:gd name="T5" fmla="*/ 10 h 73"/>
                <a:gd name="T6" fmla="*/ 13 w 131"/>
                <a:gd name="T7" fmla="*/ 21 h 73"/>
                <a:gd name="T8" fmla="*/ 16 w 131"/>
                <a:gd name="T9" fmla="*/ 25 h 73"/>
                <a:gd name="T10" fmla="*/ 28 w 131"/>
                <a:gd name="T11" fmla="*/ 25 h 73"/>
                <a:gd name="T12" fmla="*/ 38 w 131"/>
                <a:gd name="T13" fmla="*/ 30 h 73"/>
                <a:gd name="T14" fmla="*/ 45 w 131"/>
                <a:gd name="T15" fmla="*/ 31 h 73"/>
                <a:gd name="T16" fmla="*/ 47 w 131"/>
                <a:gd name="T17" fmla="*/ 32 h 73"/>
                <a:gd name="T18" fmla="*/ 61 w 131"/>
                <a:gd name="T19" fmla="*/ 32 h 73"/>
                <a:gd name="T20" fmla="*/ 64 w 131"/>
                <a:gd name="T21" fmla="*/ 32 h 73"/>
                <a:gd name="T22" fmla="*/ 68 w 131"/>
                <a:gd name="T23" fmla="*/ 26 h 73"/>
                <a:gd name="T24" fmla="*/ 68 w 131"/>
                <a:gd name="T25" fmla="*/ 21 h 73"/>
                <a:gd name="T26" fmla="*/ 58 w 131"/>
                <a:gd name="T27" fmla="*/ 21 h 73"/>
                <a:gd name="T28" fmla="*/ 54 w 131"/>
                <a:gd name="T29" fmla="*/ 18 h 73"/>
                <a:gd name="T30" fmla="*/ 50 w 131"/>
                <a:gd name="T31" fmla="*/ 14 h 73"/>
                <a:gd name="T32" fmla="*/ 45 w 131"/>
                <a:gd name="T33" fmla="*/ 14 h 73"/>
                <a:gd name="T34" fmla="*/ 40 w 131"/>
                <a:gd name="T35" fmla="*/ 15 h 73"/>
                <a:gd name="T36" fmla="*/ 26 w 131"/>
                <a:gd name="T37" fmla="*/ 11 h 73"/>
                <a:gd name="T38" fmla="*/ 18 w 131"/>
                <a:gd name="T39" fmla="*/ 5 h 73"/>
                <a:gd name="T40" fmla="*/ 9 w 131"/>
                <a:gd name="T41" fmla="*/ 3 h 73"/>
                <a:gd name="T42" fmla="*/ 0 w 131"/>
                <a:gd name="T43" fmla="*/ 0 h 73"/>
                <a:gd name="T44" fmla="*/ 0 w 131"/>
                <a:gd name="T45" fmla="*/ 0 h 7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1" h="73">
                  <a:moveTo>
                    <a:pt x="0" y="0"/>
                  </a:moveTo>
                  <a:lnTo>
                    <a:pt x="0" y="11"/>
                  </a:lnTo>
                  <a:lnTo>
                    <a:pt x="0" y="23"/>
                  </a:lnTo>
                  <a:lnTo>
                    <a:pt x="25" y="48"/>
                  </a:lnTo>
                  <a:lnTo>
                    <a:pt x="31" y="55"/>
                  </a:lnTo>
                  <a:lnTo>
                    <a:pt x="55" y="55"/>
                  </a:lnTo>
                  <a:lnTo>
                    <a:pt x="73" y="66"/>
                  </a:lnTo>
                  <a:lnTo>
                    <a:pt x="85" y="71"/>
                  </a:lnTo>
                  <a:lnTo>
                    <a:pt x="91" y="73"/>
                  </a:lnTo>
                  <a:lnTo>
                    <a:pt x="116" y="73"/>
                  </a:lnTo>
                  <a:lnTo>
                    <a:pt x="123" y="73"/>
                  </a:lnTo>
                  <a:lnTo>
                    <a:pt x="130" y="60"/>
                  </a:lnTo>
                  <a:lnTo>
                    <a:pt x="131" y="48"/>
                  </a:lnTo>
                  <a:lnTo>
                    <a:pt x="110" y="48"/>
                  </a:lnTo>
                  <a:lnTo>
                    <a:pt x="103" y="41"/>
                  </a:lnTo>
                  <a:lnTo>
                    <a:pt x="96" y="31"/>
                  </a:lnTo>
                  <a:lnTo>
                    <a:pt x="86" y="31"/>
                  </a:lnTo>
                  <a:lnTo>
                    <a:pt x="75" y="35"/>
                  </a:lnTo>
                  <a:lnTo>
                    <a:pt x="50" y="25"/>
                  </a:lnTo>
                  <a:lnTo>
                    <a:pt x="35" y="11"/>
                  </a:lnTo>
                  <a:lnTo>
                    <a:pt x="16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9" name="Freeform 336"/>
            <p:cNvSpPr>
              <a:spLocks/>
            </p:cNvSpPr>
            <p:nvPr/>
          </p:nvSpPr>
          <p:spPr bwMode="auto">
            <a:xfrm>
              <a:off x="3696" y="2466"/>
              <a:ext cx="115" cy="62"/>
            </a:xfrm>
            <a:custGeom>
              <a:avLst/>
              <a:gdLst>
                <a:gd name="T0" fmla="*/ 0 w 131"/>
                <a:gd name="T1" fmla="*/ 0 h 73"/>
                <a:gd name="T2" fmla="*/ 0 w 131"/>
                <a:gd name="T3" fmla="*/ 5 h 73"/>
                <a:gd name="T4" fmla="*/ 0 w 131"/>
                <a:gd name="T5" fmla="*/ 10 h 73"/>
                <a:gd name="T6" fmla="*/ 13 w 131"/>
                <a:gd name="T7" fmla="*/ 21 h 73"/>
                <a:gd name="T8" fmla="*/ 16 w 131"/>
                <a:gd name="T9" fmla="*/ 25 h 73"/>
                <a:gd name="T10" fmla="*/ 28 w 131"/>
                <a:gd name="T11" fmla="*/ 25 h 73"/>
                <a:gd name="T12" fmla="*/ 38 w 131"/>
                <a:gd name="T13" fmla="*/ 30 h 73"/>
                <a:gd name="T14" fmla="*/ 45 w 131"/>
                <a:gd name="T15" fmla="*/ 31 h 73"/>
                <a:gd name="T16" fmla="*/ 47 w 131"/>
                <a:gd name="T17" fmla="*/ 32 h 73"/>
                <a:gd name="T18" fmla="*/ 61 w 131"/>
                <a:gd name="T19" fmla="*/ 32 h 73"/>
                <a:gd name="T20" fmla="*/ 64 w 131"/>
                <a:gd name="T21" fmla="*/ 32 h 73"/>
                <a:gd name="T22" fmla="*/ 68 w 131"/>
                <a:gd name="T23" fmla="*/ 26 h 73"/>
                <a:gd name="T24" fmla="*/ 68 w 131"/>
                <a:gd name="T25" fmla="*/ 21 h 73"/>
                <a:gd name="T26" fmla="*/ 58 w 131"/>
                <a:gd name="T27" fmla="*/ 21 h 73"/>
                <a:gd name="T28" fmla="*/ 54 w 131"/>
                <a:gd name="T29" fmla="*/ 18 h 73"/>
                <a:gd name="T30" fmla="*/ 50 w 131"/>
                <a:gd name="T31" fmla="*/ 14 h 73"/>
                <a:gd name="T32" fmla="*/ 45 w 131"/>
                <a:gd name="T33" fmla="*/ 14 h 73"/>
                <a:gd name="T34" fmla="*/ 40 w 131"/>
                <a:gd name="T35" fmla="*/ 15 h 73"/>
                <a:gd name="T36" fmla="*/ 26 w 131"/>
                <a:gd name="T37" fmla="*/ 11 h 73"/>
                <a:gd name="T38" fmla="*/ 18 w 131"/>
                <a:gd name="T39" fmla="*/ 5 h 73"/>
                <a:gd name="T40" fmla="*/ 9 w 131"/>
                <a:gd name="T41" fmla="*/ 3 h 73"/>
                <a:gd name="T42" fmla="*/ 0 w 131"/>
                <a:gd name="T43" fmla="*/ 0 h 73"/>
                <a:gd name="T44" fmla="*/ 0 w 131"/>
                <a:gd name="T45" fmla="*/ 0 h 7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1" h="73">
                  <a:moveTo>
                    <a:pt x="0" y="0"/>
                  </a:moveTo>
                  <a:lnTo>
                    <a:pt x="0" y="11"/>
                  </a:lnTo>
                  <a:lnTo>
                    <a:pt x="0" y="23"/>
                  </a:lnTo>
                  <a:lnTo>
                    <a:pt x="25" y="48"/>
                  </a:lnTo>
                  <a:lnTo>
                    <a:pt x="31" y="55"/>
                  </a:lnTo>
                  <a:lnTo>
                    <a:pt x="55" y="55"/>
                  </a:lnTo>
                  <a:lnTo>
                    <a:pt x="73" y="66"/>
                  </a:lnTo>
                  <a:lnTo>
                    <a:pt x="85" y="71"/>
                  </a:lnTo>
                  <a:lnTo>
                    <a:pt x="91" y="73"/>
                  </a:lnTo>
                  <a:lnTo>
                    <a:pt x="116" y="73"/>
                  </a:lnTo>
                  <a:lnTo>
                    <a:pt x="123" y="73"/>
                  </a:lnTo>
                  <a:lnTo>
                    <a:pt x="130" y="60"/>
                  </a:lnTo>
                  <a:lnTo>
                    <a:pt x="131" y="48"/>
                  </a:lnTo>
                  <a:lnTo>
                    <a:pt x="110" y="48"/>
                  </a:lnTo>
                  <a:lnTo>
                    <a:pt x="103" y="41"/>
                  </a:lnTo>
                  <a:lnTo>
                    <a:pt x="96" y="31"/>
                  </a:lnTo>
                  <a:lnTo>
                    <a:pt x="86" y="31"/>
                  </a:lnTo>
                  <a:lnTo>
                    <a:pt x="75" y="35"/>
                  </a:lnTo>
                  <a:lnTo>
                    <a:pt x="50" y="25"/>
                  </a:lnTo>
                  <a:lnTo>
                    <a:pt x="35" y="11"/>
                  </a:lnTo>
                  <a:lnTo>
                    <a:pt x="16" y="5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0" name="Freeform 337"/>
            <p:cNvSpPr>
              <a:spLocks/>
            </p:cNvSpPr>
            <p:nvPr/>
          </p:nvSpPr>
          <p:spPr bwMode="auto">
            <a:xfrm>
              <a:off x="3701" y="2777"/>
              <a:ext cx="31" cy="41"/>
            </a:xfrm>
            <a:custGeom>
              <a:avLst/>
              <a:gdLst>
                <a:gd name="T0" fmla="*/ 9 w 36"/>
                <a:gd name="T1" fmla="*/ 0 h 49"/>
                <a:gd name="T2" fmla="*/ 6 w 36"/>
                <a:gd name="T3" fmla="*/ 5 h 49"/>
                <a:gd name="T4" fmla="*/ 0 w 36"/>
                <a:gd name="T5" fmla="*/ 10 h 49"/>
                <a:gd name="T6" fmla="*/ 0 w 36"/>
                <a:gd name="T7" fmla="*/ 15 h 49"/>
                <a:gd name="T8" fmla="*/ 6 w 36"/>
                <a:gd name="T9" fmla="*/ 18 h 49"/>
                <a:gd name="T10" fmla="*/ 15 w 36"/>
                <a:gd name="T11" fmla="*/ 19 h 49"/>
                <a:gd name="T12" fmla="*/ 17 w 36"/>
                <a:gd name="T13" fmla="*/ 15 h 49"/>
                <a:gd name="T14" fmla="*/ 15 w 36"/>
                <a:gd name="T15" fmla="*/ 10 h 49"/>
                <a:gd name="T16" fmla="*/ 15 w 36"/>
                <a:gd name="T17" fmla="*/ 8 h 49"/>
                <a:gd name="T18" fmla="*/ 9 w 36"/>
                <a:gd name="T19" fmla="*/ 0 h 49"/>
                <a:gd name="T20" fmla="*/ 9 w 36"/>
                <a:gd name="T21" fmla="*/ 0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6" h="49">
                  <a:moveTo>
                    <a:pt x="18" y="0"/>
                  </a:moveTo>
                  <a:lnTo>
                    <a:pt x="13" y="12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13" y="44"/>
                  </a:lnTo>
                  <a:lnTo>
                    <a:pt x="31" y="49"/>
                  </a:lnTo>
                  <a:lnTo>
                    <a:pt x="36" y="37"/>
                  </a:lnTo>
                  <a:lnTo>
                    <a:pt x="31" y="24"/>
                  </a:lnTo>
                  <a:lnTo>
                    <a:pt x="31" y="19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1" name="Freeform 338"/>
            <p:cNvSpPr>
              <a:spLocks/>
            </p:cNvSpPr>
            <p:nvPr/>
          </p:nvSpPr>
          <p:spPr bwMode="auto">
            <a:xfrm>
              <a:off x="3701" y="2777"/>
              <a:ext cx="31" cy="41"/>
            </a:xfrm>
            <a:custGeom>
              <a:avLst/>
              <a:gdLst>
                <a:gd name="T0" fmla="*/ 9 w 36"/>
                <a:gd name="T1" fmla="*/ 0 h 49"/>
                <a:gd name="T2" fmla="*/ 6 w 36"/>
                <a:gd name="T3" fmla="*/ 5 h 49"/>
                <a:gd name="T4" fmla="*/ 0 w 36"/>
                <a:gd name="T5" fmla="*/ 10 h 49"/>
                <a:gd name="T6" fmla="*/ 0 w 36"/>
                <a:gd name="T7" fmla="*/ 15 h 49"/>
                <a:gd name="T8" fmla="*/ 6 w 36"/>
                <a:gd name="T9" fmla="*/ 18 h 49"/>
                <a:gd name="T10" fmla="*/ 15 w 36"/>
                <a:gd name="T11" fmla="*/ 19 h 49"/>
                <a:gd name="T12" fmla="*/ 17 w 36"/>
                <a:gd name="T13" fmla="*/ 15 h 49"/>
                <a:gd name="T14" fmla="*/ 15 w 36"/>
                <a:gd name="T15" fmla="*/ 10 h 49"/>
                <a:gd name="T16" fmla="*/ 15 w 36"/>
                <a:gd name="T17" fmla="*/ 8 h 49"/>
                <a:gd name="T18" fmla="*/ 9 w 36"/>
                <a:gd name="T19" fmla="*/ 0 h 49"/>
                <a:gd name="T20" fmla="*/ 9 w 36"/>
                <a:gd name="T21" fmla="*/ 0 h 4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6" h="49">
                  <a:moveTo>
                    <a:pt x="18" y="0"/>
                  </a:moveTo>
                  <a:lnTo>
                    <a:pt x="13" y="12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13" y="44"/>
                  </a:lnTo>
                  <a:lnTo>
                    <a:pt x="31" y="49"/>
                  </a:lnTo>
                  <a:lnTo>
                    <a:pt x="36" y="37"/>
                  </a:lnTo>
                  <a:lnTo>
                    <a:pt x="31" y="24"/>
                  </a:lnTo>
                  <a:lnTo>
                    <a:pt x="31" y="19"/>
                  </a:lnTo>
                  <a:lnTo>
                    <a:pt x="1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2" name="Freeform 339"/>
            <p:cNvSpPr>
              <a:spLocks/>
            </p:cNvSpPr>
            <p:nvPr/>
          </p:nvSpPr>
          <p:spPr bwMode="auto">
            <a:xfrm>
              <a:off x="3443" y="2374"/>
              <a:ext cx="185" cy="190"/>
            </a:xfrm>
            <a:custGeom>
              <a:avLst/>
              <a:gdLst>
                <a:gd name="T0" fmla="*/ 80 w 214"/>
                <a:gd name="T1" fmla="*/ 0 h 225"/>
                <a:gd name="T2" fmla="*/ 71 w 214"/>
                <a:gd name="T3" fmla="*/ 3 h 225"/>
                <a:gd name="T4" fmla="*/ 68 w 214"/>
                <a:gd name="T5" fmla="*/ 3 h 225"/>
                <a:gd name="T6" fmla="*/ 68 w 214"/>
                <a:gd name="T7" fmla="*/ 12 h 225"/>
                <a:gd name="T8" fmla="*/ 65 w 214"/>
                <a:gd name="T9" fmla="*/ 18 h 225"/>
                <a:gd name="T10" fmla="*/ 62 w 214"/>
                <a:gd name="T11" fmla="*/ 18 h 225"/>
                <a:gd name="T12" fmla="*/ 56 w 214"/>
                <a:gd name="T13" fmla="*/ 31 h 225"/>
                <a:gd name="T14" fmla="*/ 51 w 214"/>
                <a:gd name="T15" fmla="*/ 35 h 225"/>
                <a:gd name="T16" fmla="*/ 47 w 214"/>
                <a:gd name="T17" fmla="*/ 41 h 225"/>
                <a:gd name="T18" fmla="*/ 32 w 214"/>
                <a:gd name="T19" fmla="*/ 42 h 225"/>
                <a:gd name="T20" fmla="*/ 32 w 214"/>
                <a:gd name="T21" fmla="*/ 52 h 225"/>
                <a:gd name="T22" fmla="*/ 21 w 214"/>
                <a:gd name="T23" fmla="*/ 55 h 225"/>
                <a:gd name="T24" fmla="*/ 12 w 214"/>
                <a:gd name="T25" fmla="*/ 52 h 225"/>
                <a:gd name="T26" fmla="*/ 0 w 214"/>
                <a:gd name="T27" fmla="*/ 49 h 225"/>
                <a:gd name="T28" fmla="*/ 0 w 214"/>
                <a:gd name="T29" fmla="*/ 57 h 225"/>
                <a:gd name="T30" fmla="*/ 12 w 214"/>
                <a:gd name="T31" fmla="*/ 66 h 225"/>
                <a:gd name="T32" fmla="*/ 12 w 214"/>
                <a:gd name="T33" fmla="*/ 73 h 225"/>
                <a:gd name="T34" fmla="*/ 7 w 214"/>
                <a:gd name="T35" fmla="*/ 73 h 225"/>
                <a:gd name="T36" fmla="*/ 3 w 214"/>
                <a:gd name="T37" fmla="*/ 84 h 225"/>
                <a:gd name="T38" fmla="*/ 16 w 214"/>
                <a:gd name="T39" fmla="*/ 84 h 225"/>
                <a:gd name="T40" fmla="*/ 39 w 214"/>
                <a:gd name="T41" fmla="*/ 84 h 225"/>
                <a:gd name="T42" fmla="*/ 45 w 214"/>
                <a:gd name="T43" fmla="*/ 89 h 225"/>
                <a:gd name="T44" fmla="*/ 53 w 214"/>
                <a:gd name="T45" fmla="*/ 96 h 225"/>
                <a:gd name="T46" fmla="*/ 53 w 214"/>
                <a:gd name="T47" fmla="*/ 91 h 225"/>
                <a:gd name="T48" fmla="*/ 59 w 214"/>
                <a:gd name="T49" fmla="*/ 94 h 225"/>
                <a:gd name="T50" fmla="*/ 68 w 214"/>
                <a:gd name="T51" fmla="*/ 96 h 225"/>
                <a:gd name="T52" fmla="*/ 76 w 214"/>
                <a:gd name="T53" fmla="*/ 91 h 225"/>
                <a:gd name="T54" fmla="*/ 65 w 214"/>
                <a:gd name="T55" fmla="*/ 73 h 225"/>
                <a:gd name="T56" fmla="*/ 73 w 214"/>
                <a:gd name="T57" fmla="*/ 71 h 225"/>
                <a:gd name="T58" fmla="*/ 84 w 214"/>
                <a:gd name="T59" fmla="*/ 68 h 225"/>
                <a:gd name="T60" fmla="*/ 98 w 214"/>
                <a:gd name="T61" fmla="*/ 48 h 225"/>
                <a:gd name="T62" fmla="*/ 98 w 214"/>
                <a:gd name="T63" fmla="*/ 42 h 225"/>
                <a:gd name="T64" fmla="*/ 103 w 214"/>
                <a:gd name="T65" fmla="*/ 31 h 225"/>
                <a:gd name="T66" fmla="*/ 92 w 214"/>
                <a:gd name="T67" fmla="*/ 29 h 225"/>
                <a:gd name="T68" fmla="*/ 86 w 214"/>
                <a:gd name="T69" fmla="*/ 29 h 225"/>
                <a:gd name="T70" fmla="*/ 82 w 214"/>
                <a:gd name="T71" fmla="*/ 20 h 225"/>
                <a:gd name="T72" fmla="*/ 88 w 214"/>
                <a:gd name="T73" fmla="*/ 13 h 225"/>
                <a:gd name="T74" fmla="*/ 80 w 214"/>
                <a:gd name="T75" fmla="*/ 7 h 225"/>
                <a:gd name="T76" fmla="*/ 80 w 214"/>
                <a:gd name="T77" fmla="*/ 3 h 225"/>
                <a:gd name="T78" fmla="*/ 80 w 214"/>
                <a:gd name="T79" fmla="*/ 0 h 225"/>
                <a:gd name="T80" fmla="*/ 80 w 214"/>
                <a:gd name="T81" fmla="*/ 0 h 2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14" h="225">
                  <a:moveTo>
                    <a:pt x="165" y="0"/>
                  </a:moveTo>
                  <a:lnTo>
                    <a:pt x="147" y="5"/>
                  </a:lnTo>
                  <a:lnTo>
                    <a:pt x="140" y="6"/>
                  </a:lnTo>
                  <a:lnTo>
                    <a:pt x="140" y="26"/>
                  </a:lnTo>
                  <a:lnTo>
                    <a:pt x="135" y="41"/>
                  </a:lnTo>
                  <a:lnTo>
                    <a:pt x="128" y="41"/>
                  </a:lnTo>
                  <a:lnTo>
                    <a:pt x="117" y="73"/>
                  </a:lnTo>
                  <a:lnTo>
                    <a:pt x="105" y="81"/>
                  </a:lnTo>
                  <a:lnTo>
                    <a:pt x="97" y="96"/>
                  </a:lnTo>
                  <a:lnTo>
                    <a:pt x="67" y="98"/>
                  </a:lnTo>
                  <a:lnTo>
                    <a:pt x="67" y="121"/>
                  </a:lnTo>
                  <a:lnTo>
                    <a:pt x="43" y="128"/>
                  </a:lnTo>
                  <a:lnTo>
                    <a:pt x="25" y="121"/>
                  </a:lnTo>
                  <a:lnTo>
                    <a:pt x="0" y="115"/>
                  </a:lnTo>
                  <a:lnTo>
                    <a:pt x="0" y="133"/>
                  </a:lnTo>
                  <a:lnTo>
                    <a:pt x="25" y="153"/>
                  </a:lnTo>
                  <a:lnTo>
                    <a:pt x="25" y="170"/>
                  </a:lnTo>
                  <a:lnTo>
                    <a:pt x="13" y="170"/>
                  </a:lnTo>
                  <a:lnTo>
                    <a:pt x="7" y="195"/>
                  </a:lnTo>
                  <a:lnTo>
                    <a:pt x="32" y="195"/>
                  </a:lnTo>
                  <a:lnTo>
                    <a:pt x="80" y="195"/>
                  </a:lnTo>
                  <a:lnTo>
                    <a:pt x="92" y="206"/>
                  </a:lnTo>
                  <a:lnTo>
                    <a:pt x="110" y="225"/>
                  </a:lnTo>
                  <a:lnTo>
                    <a:pt x="110" y="213"/>
                  </a:lnTo>
                  <a:lnTo>
                    <a:pt x="122" y="218"/>
                  </a:lnTo>
                  <a:lnTo>
                    <a:pt x="140" y="225"/>
                  </a:lnTo>
                  <a:lnTo>
                    <a:pt x="159" y="213"/>
                  </a:lnTo>
                  <a:lnTo>
                    <a:pt x="135" y="170"/>
                  </a:lnTo>
                  <a:lnTo>
                    <a:pt x="152" y="165"/>
                  </a:lnTo>
                  <a:lnTo>
                    <a:pt x="172" y="158"/>
                  </a:lnTo>
                  <a:lnTo>
                    <a:pt x="202" y="110"/>
                  </a:lnTo>
                  <a:lnTo>
                    <a:pt x="202" y="98"/>
                  </a:lnTo>
                  <a:lnTo>
                    <a:pt x="214" y="73"/>
                  </a:lnTo>
                  <a:lnTo>
                    <a:pt x="190" y="66"/>
                  </a:lnTo>
                  <a:lnTo>
                    <a:pt x="179" y="66"/>
                  </a:lnTo>
                  <a:lnTo>
                    <a:pt x="170" y="46"/>
                  </a:lnTo>
                  <a:lnTo>
                    <a:pt x="184" y="30"/>
                  </a:lnTo>
                  <a:lnTo>
                    <a:pt x="167" y="15"/>
                  </a:lnTo>
                  <a:lnTo>
                    <a:pt x="165" y="6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3" name="Freeform 340"/>
            <p:cNvSpPr>
              <a:spLocks/>
            </p:cNvSpPr>
            <p:nvPr/>
          </p:nvSpPr>
          <p:spPr bwMode="auto">
            <a:xfrm>
              <a:off x="3443" y="2374"/>
              <a:ext cx="185" cy="190"/>
            </a:xfrm>
            <a:custGeom>
              <a:avLst/>
              <a:gdLst>
                <a:gd name="T0" fmla="*/ 80 w 214"/>
                <a:gd name="T1" fmla="*/ 0 h 225"/>
                <a:gd name="T2" fmla="*/ 71 w 214"/>
                <a:gd name="T3" fmla="*/ 3 h 225"/>
                <a:gd name="T4" fmla="*/ 68 w 214"/>
                <a:gd name="T5" fmla="*/ 3 h 225"/>
                <a:gd name="T6" fmla="*/ 68 w 214"/>
                <a:gd name="T7" fmla="*/ 12 h 225"/>
                <a:gd name="T8" fmla="*/ 65 w 214"/>
                <a:gd name="T9" fmla="*/ 18 h 225"/>
                <a:gd name="T10" fmla="*/ 62 w 214"/>
                <a:gd name="T11" fmla="*/ 18 h 225"/>
                <a:gd name="T12" fmla="*/ 56 w 214"/>
                <a:gd name="T13" fmla="*/ 31 h 225"/>
                <a:gd name="T14" fmla="*/ 51 w 214"/>
                <a:gd name="T15" fmla="*/ 35 h 225"/>
                <a:gd name="T16" fmla="*/ 47 w 214"/>
                <a:gd name="T17" fmla="*/ 41 h 225"/>
                <a:gd name="T18" fmla="*/ 32 w 214"/>
                <a:gd name="T19" fmla="*/ 42 h 225"/>
                <a:gd name="T20" fmla="*/ 32 w 214"/>
                <a:gd name="T21" fmla="*/ 52 h 225"/>
                <a:gd name="T22" fmla="*/ 21 w 214"/>
                <a:gd name="T23" fmla="*/ 55 h 225"/>
                <a:gd name="T24" fmla="*/ 12 w 214"/>
                <a:gd name="T25" fmla="*/ 52 h 225"/>
                <a:gd name="T26" fmla="*/ 0 w 214"/>
                <a:gd name="T27" fmla="*/ 49 h 225"/>
                <a:gd name="T28" fmla="*/ 0 w 214"/>
                <a:gd name="T29" fmla="*/ 57 h 225"/>
                <a:gd name="T30" fmla="*/ 12 w 214"/>
                <a:gd name="T31" fmla="*/ 66 h 225"/>
                <a:gd name="T32" fmla="*/ 12 w 214"/>
                <a:gd name="T33" fmla="*/ 73 h 225"/>
                <a:gd name="T34" fmla="*/ 7 w 214"/>
                <a:gd name="T35" fmla="*/ 73 h 225"/>
                <a:gd name="T36" fmla="*/ 3 w 214"/>
                <a:gd name="T37" fmla="*/ 84 h 225"/>
                <a:gd name="T38" fmla="*/ 16 w 214"/>
                <a:gd name="T39" fmla="*/ 84 h 225"/>
                <a:gd name="T40" fmla="*/ 39 w 214"/>
                <a:gd name="T41" fmla="*/ 84 h 225"/>
                <a:gd name="T42" fmla="*/ 45 w 214"/>
                <a:gd name="T43" fmla="*/ 89 h 225"/>
                <a:gd name="T44" fmla="*/ 53 w 214"/>
                <a:gd name="T45" fmla="*/ 96 h 225"/>
                <a:gd name="T46" fmla="*/ 53 w 214"/>
                <a:gd name="T47" fmla="*/ 91 h 225"/>
                <a:gd name="T48" fmla="*/ 59 w 214"/>
                <a:gd name="T49" fmla="*/ 94 h 225"/>
                <a:gd name="T50" fmla="*/ 68 w 214"/>
                <a:gd name="T51" fmla="*/ 96 h 225"/>
                <a:gd name="T52" fmla="*/ 76 w 214"/>
                <a:gd name="T53" fmla="*/ 91 h 225"/>
                <a:gd name="T54" fmla="*/ 65 w 214"/>
                <a:gd name="T55" fmla="*/ 73 h 225"/>
                <a:gd name="T56" fmla="*/ 73 w 214"/>
                <a:gd name="T57" fmla="*/ 71 h 225"/>
                <a:gd name="T58" fmla="*/ 84 w 214"/>
                <a:gd name="T59" fmla="*/ 68 h 225"/>
                <a:gd name="T60" fmla="*/ 98 w 214"/>
                <a:gd name="T61" fmla="*/ 48 h 225"/>
                <a:gd name="T62" fmla="*/ 98 w 214"/>
                <a:gd name="T63" fmla="*/ 42 h 225"/>
                <a:gd name="T64" fmla="*/ 103 w 214"/>
                <a:gd name="T65" fmla="*/ 31 h 225"/>
                <a:gd name="T66" fmla="*/ 92 w 214"/>
                <a:gd name="T67" fmla="*/ 29 h 225"/>
                <a:gd name="T68" fmla="*/ 86 w 214"/>
                <a:gd name="T69" fmla="*/ 29 h 225"/>
                <a:gd name="T70" fmla="*/ 82 w 214"/>
                <a:gd name="T71" fmla="*/ 20 h 225"/>
                <a:gd name="T72" fmla="*/ 88 w 214"/>
                <a:gd name="T73" fmla="*/ 13 h 225"/>
                <a:gd name="T74" fmla="*/ 80 w 214"/>
                <a:gd name="T75" fmla="*/ 7 h 225"/>
                <a:gd name="T76" fmla="*/ 80 w 214"/>
                <a:gd name="T77" fmla="*/ 3 h 225"/>
                <a:gd name="T78" fmla="*/ 80 w 214"/>
                <a:gd name="T79" fmla="*/ 0 h 225"/>
                <a:gd name="T80" fmla="*/ 80 w 214"/>
                <a:gd name="T81" fmla="*/ 0 h 22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14" h="225">
                  <a:moveTo>
                    <a:pt x="165" y="0"/>
                  </a:moveTo>
                  <a:lnTo>
                    <a:pt x="147" y="5"/>
                  </a:lnTo>
                  <a:lnTo>
                    <a:pt x="140" y="6"/>
                  </a:lnTo>
                  <a:lnTo>
                    <a:pt x="140" y="26"/>
                  </a:lnTo>
                  <a:lnTo>
                    <a:pt x="135" y="41"/>
                  </a:lnTo>
                  <a:lnTo>
                    <a:pt x="128" y="41"/>
                  </a:lnTo>
                  <a:lnTo>
                    <a:pt x="117" y="73"/>
                  </a:lnTo>
                  <a:lnTo>
                    <a:pt x="105" y="81"/>
                  </a:lnTo>
                  <a:lnTo>
                    <a:pt x="97" y="96"/>
                  </a:lnTo>
                  <a:lnTo>
                    <a:pt x="67" y="98"/>
                  </a:lnTo>
                  <a:lnTo>
                    <a:pt x="67" y="121"/>
                  </a:lnTo>
                  <a:lnTo>
                    <a:pt x="43" y="128"/>
                  </a:lnTo>
                  <a:lnTo>
                    <a:pt x="25" y="121"/>
                  </a:lnTo>
                  <a:lnTo>
                    <a:pt x="0" y="115"/>
                  </a:lnTo>
                  <a:lnTo>
                    <a:pt x="0" y="133"/>
                  </a:lnTo>
                  <a:lnTo>
                    <a:pt x="25" y="153"/>
                  </a:lnTo>
                  <a:lnTo>
                    <a:pt x="25" y="170"/>
                  </a:lnTo>
                  <a:lnTo>
                    <a:pt x="13" y="170"/>
                  </a:lnTo>
                  <a:lnTo>
                    <a:pt x="7" y="195"/>
                  </a:lnTo>
                  <a:lnTo>
                    <a:pt x="32" y="195"/>
                  </a:lnTo>
                  <a:lnTo>
                    <a:pt x="80" y="195"/>
                  </a:lnTo>
                  <a:lnTo>
                    <a:pt x="92" y="206"/>
                  </a:lnTo>
                  <a:lnTo>
                    <a:pt x="110" y="225"/>
                  </a:lnTo>
                  <a:lnTo>
                    <a:pt x="110" y="213"/>
                  </a:lnTo>
                  <a:lnTo>
                    <a:pt x="122" y="218"/>
                  </a:lnTo>
                  <a:lnTo>
                    <a:pt x="140" y="225"/>
                  </a:lnTo>
                  <a:lnTo>
                    <a:pt x="159" y="213"/>
                  </a:lnTo>
                  <a:lnTo>
                    <a:pt x="135" y="170"/>
                  </a:lnTo>
                  <a:lnTo>
                    <a:pt x="152" y="165"/>
                  </a:lnTo>
                  <a:lnTo>
                    <a:pt x="172" y="158"/>
                  </a:lnTo>
                  <a:lnTo>
                    <a:pt x="202" y="110"/>
                  </a:lnTo>
                  <a:lnTo>
                    <a:pt x="202" y="98"/>
                  </a:lnTo>
                  <a:lnTo>
                    <a:pt x="214" y="73"/>
                  </a:lnTo>
                  <a:lnTo>
                    <a:pt x="190" y="66"/>
                  </a:lnTo>
                  <a:lnTo>
                    <a:pt x="179" y="66"/>
                  </a:lnTo>
                  <a:lnTo>
                    <a:pt x="170" y="46"/>
                  </a:lnTo>
                  <a:lnTo>
                    <a:pt x="184" y="30"/>
                  </a:lnTo>
                  <a:lnTo>
                    <a:pt x="167" y="15"/>
                  </a:lnTo>
                  <a:lnTo>
                    <a:pt x="165" y="6"/>
                  </a:lnTo>
                  <a:lnTo>
                    <a:pt x="16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4" name="Freeform 341"/>
            <p:cNvSpPr>
              <a:spLocks/>
            </p:cNvSpPr>
            <p:nvPr/>
          </p:nvSpPr>
          <p:spPr bwMode="auto">
            <a:xfrm>
              <a:off x="3425" y="2342"/>
              <a:ext cx="197" cy="140"/>
            </a:xfrm>
            <a:custGeom>
              <a:avLst/>
              <a:gdLst>
                <a:gd name="T0" fmla="*/ 8 w 230"/>
                <a:gd name="T1" fmla="*/ 19 h 167"/>
                <a:gd name="T2" fmla="*/ 3 w 230"/>
                <a:gd name="T3" fmla="*/ 31 h 167"/>
                <a:gd name="T4" fmla="*/ 5 w 230"/>
                <a:gd name="T5" fmla="*/ 39 h 167"/>
                <a:gd name="T6" fmla="*/ 0 w 230"/>
                <a:gd name="T7" fmla="*/ 49 h 167"/>
                <a:gd name="T8" fmla="*/ 5 w 230"/>
                <a:gd name="T9" fmla="*/ 54 h 167"/>
                <a:gd name="T10" fmla="*/ 14 w 230"/>
                <a:gd name="T11" fmla="*/ 54 h 167"/>
                <a:gd name="T12" fmla="*/ 14 w 230"/>
                <a:gd name="T13" fmla="*/ 62 h 167"/>
                <a:gd name="T14" fmla="*/ 11 w 230"/>
                <a:gd name="T15" fmla="*/ 64 h 167"/>
                <a:gd name="T16" fmla="*/ 31 w 230"/>
                <a:gd name="T17" fmla="*/ 69 h 167"/>
                <a:gd name="T18" fmla="*/ 42 w 230"/>
                <a:gd name="T19" fmla="*/ 66 h 167"/>
                <a:gd name="T20" fmla="*/ 42 w 230"/>
                <a:gd name="T21" fmla="*/ 56 h 167"/>
                <a:gd name="T22" fmla="*/ 56 w 230"/>
                <a:gd name="T23" fmla="*/ 56 h 167"/>
                <a:gd name="T24" fmla="*/ 59 w 230"/>
                <a:gd name="T25" fmla="*/ 49 h 167"/>
                <a:gd name="T26" fmla="*/ 64 w 230"/>
                <a:gd name="T27" fmla="*/ 46 h 167"/>
                <a:gd name="T28" fmla="*/ 69 w 230"/>
                <a:gd name="T29" fmla="*/ 33 h 167"/>
                <a:gd name="T30" fmla="*/ 73 w 230"/>
                <a:gd name="T31" fmla="*/ 33 h 167"/>
                <a:gd name="T32" fmla="*/ 75 w 230"/>
                <a:gd name="T33" fmla="*/ 26 h 167"/>
                <a:gd name="T34" fmla="*/ 75 w 230"/>
                <a:gd name="T35" fmla="*/ 19 h 167"/>
                <a:gd name="T36" fmla="*/ 79 w 230"/>
                <a:gd name="T37" fmla="*/ 19 h 167"/>
                <a:gd name="T38" fmla="*/ 87 w 230"/>
                <a:gd name="T39" fmla="*/ 16 h 167"/>
                <a:gd name="T40" fmla="*/ 89 w 230"/>
                <a:gd name="T41" fmla="*/ 13 h 167"/>
                <a:gd name="T42" fmla="*/ 106 w 230"/>
                <a:gd name="T43" fmla="*/ 8 h 167"/>
                <a:gd name="T44" fmla="*/ 103 w 230"/>
                <a:gd name="T45" fmla="*/ 0 h 167"/>
                <a:gd name="T46" fmla="*/ 89 w 230"/>
                <a:gd name="T47" fmla="*/ 4 h 167"/>
                <a:gd name="T48" fmla="*/ 81 w 230"/>
                <a:gd name="T49" fmla="*/ 6 h 167"/>
                <a:gd name="T50" fmla="*/ 75 w 230"/>
                <a:gd name="T51" fmla="*/ 2 h 167"/>
                <a:gd name="T52" fmla="*/ 63 w 230"/>
                <a:gd name="T53" fmla="*/ 7 h 167"/>
                <a:gd name="T54" fmla="*/ 49 w 230"/>
                <a:gd name="T55" fmla="*/ 4 h 167"/>
                <a:gd name="T56" fmla="*/ 34 w 230"/>
                <a:gd name="T57" fmla="*/ 12 h 167"/>
                <a:gd name="T58" fmla="*/ 28 w 230"/>
                <a:gd name="T59" fmla="*/ 17 h 167"/>
                <a:gd name="T60" fmla="*/ 17 w 230"/>
                <a:gd name="T61" fmla="*/ 24 h 167"/>
                <a:gd name="T62" fmla="*/ 11 w 230"/>
                <a:gd name="T63" fmla="*/ 20 h 167"/>
                <a:gd name="T64" fmla="*/ 8 w 230"/>
                <a:gd name="T65" fmla="*/ 19 h 167"/>
                <a:gd name="T66" fmla="*/ 8 w 230"/>
                <a:gd name="T67" fmla="*/ 19 h 16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0" h="167">
                  <a:moveTo>
                    <a:pt x="18" y="47"/>
                  </a:moveTo>
                  <a:lnTo>
                    <a:pt x="5" y="75"/>
                  </a:lnTo>
                  <a:lnTo>
                    <a:pt x="11" y="94"/>
                  </a:lnTo>
                  <a:lnTo>
                    <a:pt x="0" y="117"/>
                  </a:lnTo>
                  <a:lnTo>
                    <a:pt x="11" y="130"/>
                  </a:lnTo>
                  <a:lnTo>
                    <a:pt x="30" y="130"/>
                  </a:lnTo>
                  <a:lnTo>
                    <a:pt x="30" y="149"/>
                  </a:lnTo>
                  <a:lnTo>
                    <a:pt x="23" y="154"/>
                  </a:lnTo>
                  <a:lnTo>
                    <a:pt x="66" y="167"/>
                  </a:lnTo>
                  <a:lnTo>
                    <a:pt x="90" y="160"/>
                  </a:lnTo>
                  <a:lnTo>
                    <a:pt x="90" y="137"/>
                  </a:lnTo>
                  <a:lnTo>
                    <a:pt x="121" y="137"/>
                  </a:lnTo>
                  <a:lnTo>
                    <a:pt x="128" y="117"/>
                  </a:lnTo>
                  <a:lnTo>
                    <a:pt x="140" y="112"/>
                  </a:lnTo>
                  <a:lnTo>
                    <a:pt x="151" y="80"/>
                  </a:lnTo>
                  <a:lnTo>
                    <a:pt x="158" y="80"/>
                  </a:lnTo>
                  <a:lnTo>
                    <a:pt x="163" y="62"/>
                  </a:lnTo>
                  <a:lnTo>
                    <a:pt x="163" y="45"/>
                  </a:lnTo>
                  <a:lnTo>
                    <a:pt x="170" y="45"/>
                  </a:lnTo>
                  <a:lnTo>
                    <a:pt x="188" y="39"/>
                  </a:lnTo>
                  <a:lnTo>
                    <a:pt x="195" y="32"/>
                  </a:lnTo>
                  <a:lnTo>
                    <a:pt x="230" y="20"/>
                  </a:lnTo>
                  <a:lnTo>
                    <a:pt x="222" y="0"/>
                  </a:lnTo>
                  <a:lnTo>
                    <a:pt x="193" y="9"/>
                  </a:lnTo>
                  <a:lnTo>
                    <a:pt x="175" y="14"/>
                  </a:lnTo>
                  <a:lnTo>
                    <a:pt x="163" y="2"/>
                  </a:lnTo>
                  <a:lnTo>
                    <a:pt x="135" y="15"/>
                  </a:lnTo>
                  <a:lnTo>
                    <a:pt x="105" y="10"/>
                  </a:lnTo>
                  <a:lnTo>
                    <a:pt x="75" y="29"/>
                  </a:lnTo>
                  <a:lnTo>
                    <a:pt x="61" y="42"/>
                  </a:lnTo>
                  <a:lnTo>
                    <a:pt x="36" y="57"/>
                  </a:lnTo>
                  <a:lnTo>
                    <a:pt x="25" y="50"/>
                  </a:lnTo>
                  <a:lnTo>
                    <a:pt x="18" y="4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5" name="Freeform 342"/>
            <p:cNvSpPr>
              <a:spLocks/>
            </p:cNvSpPr>
            <p:nvPr/>
          </p:nvSpPr>
          <p:spPr bwMode="auto">
            <a:xfrm>
              <a:off x="3425" y="2342"/>
              <a:ext cx="197" cy="140"/>
            </a:xfrm>
            <a:custGeom>
              <a:avLst/>
              <a:gdLst>
                <a:gd name="T0" fmla="*/ 8 w 230"/>
                <a:gd name="T1" fmla="*/ 19 h 167"/>
                <a:gd name="T2" fmla="*/ 3 w 230"/>
                <a:gd name="T3" fmla="*/ 31 h 167"/>
                <a:gd name="T4" fmla="*/ 5 w 230"/>
                <a:gd name="T5" fmla="*/ 39 h 167"/>
                <a:gd name="T6" fmla="*/ 0 w 230"/>
                <a:gd name="T7" fmla="*/ 49 h 167"/>
                <a:gd name="T8" fmla="*/ 5 w 230"/>
                <a:gd name="T9" fmla="*/ 54 h 167"/>
                <a:gd name="T10" fmla="*/ 14 w 230"/>
                <a:gd name="T11" fmla="*/ 54 h 167"/>
                <a:gd name="T12" fmla="*/ 14 w 230"/>
                <a:gd name="T13" fmla="*/ 62 h 167"/>
                <a:gd name="T14" fmla="*/ 11 w 230"/>
                <a:gd name="T15" fmla="*/ 64 h 167"/>
                <a:gd name="T16" fmla="*/ 31 w 230"/>
                <a:gd name="T17" fmla="*/ 69 h 167"/>
                <a:gd name="T18" fmla="*/ 42 w 230"/>
                <a:gd name="T19" fmla="*/ 66 h 167"/>
                <a:gd name="T20" fmla="*/ 42 w 230"/>
                <a:gd name="T21" fmla="*/ 56 h 167"/>
                <a:gd name="T22" fmla="*/ 56 w 230"/>
                <a:gd name="T23" fmla="*/ 56 h 167"/>
                <a:gd name="T24" fmla="*/ 59 w 230"/>
                <a:gd name="T25" fmla="*/ 49 h 167"/>
                <a:gd name="T26" fmla="*/ 64 w 230"/>
                <a:gd name="T27" fmla="*/ 46 h 167"/>
                <a:gd name="T28" fmla="*/ 69 w 230"/>
                <a:gd name="T29" fmla="*/ 33 h 167"/>
                <a:gd name="T30" fmla="*/ 73 w 230"/>
                <a:gd name="T31" fmla="*/ 33 h 167"/>
                <a:gd name="T32" fmla="*/ 75 w 230"/>
                <a:gd name="T33" fmla="*/ 26 h 167"/>
                <a:gd name="T34" fmla="*/ 75 w 230"/>
                <a:gd name="T35" fmla="*/ 19 h 167"/>
                <a:gd name="T36" fmla="*/ 79 w 230"/>
                <a:gd name="T37" fmla="*/ 19 h 167"/>
                <a:gd name="T38" fmla="*/ 87 w 230"/>
                <a:gd name="T39" fmla="*/ 16 h 167"/>
                <a:gd name="T40" fmla="*/ 89 w 230"/>
                <a:gd name="T41" fmla="*/ 13 h 167"/>
                <a:gd name="T42" fmla="*/ 106 w 230"/>
                <a:gd name="T43" fmla="*/ 8 h 167"/>
                <a:gd name="T44" fmla="*/ 103 w 230"/>
                <a:gd name="T45" fmla="*/ 0 h 167"/>
                <a:gd name="T46" fmla="*/ 89 w 230"/>
                <a:gd name="T47" fmla="*/ 4 h 167"/>
                <a:gd name="T48" fmla="*/ 81 w 230"/>
                <a:gd name="T49" fmla="*/ 6 h 167"/>
                <a:gd name="T50" fmla="*/ 75 w 230"/>
                <a:gd name="T51" fmla="*/ 2 h 167"/>
                <a:gd name="T52" fmla="*/ 63 w 230"/>
                <a:gd name="T53" fmla="*/ 7 h 167"/>
                <a:gd name="T54" fmla="*/ 49 w 230"/>
                <a:gd name="T55" fmla="*/ 4 h 167"/>
                <a:gd name="T56" fmla="*/ 34 w 230"/>
                <a:gd name="T57" fmla="*/ 12 h 167"/>
                <a:gd name="T58" fmla="*/ 28 w 230"/>
                <a:gd name="T59" fmla="*/ 17 h 167"/>
                <a:gd name="T60" fmla="*/ 17 w 230"/>
                <a:gd name="T61" fmla="*/ 24 h 167"/>
                <a:gd name="T62" fmla="*/ 11 w 230"/>
                <a:gd name="T63" fmla="*/ 20 h 167"/>
                <a:gd name="T64" fmla="*/ 8 w 230"/>
                <a:gd name="T65" fmla="*/ 19 h 167"/>
                <a:gd name="T66" fmla="*/ 8 w 230"/>
                <a:gd name="T67" fmla="*/ 19 h 16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0" h="167">
                  <a:moveTo>
                    <a:pt x="18" y="47"/>
                  </a:moveTo>
                  <a:lnTo>
                    <a:pt x="5" y="75"/>
                  </a:lnTo>
                  <a:lnTo>
                    <a:pt x="11" y="94"/>
                  </a:lnTo>
                  <a:lnTo>
                    <a:pt x="0" y="117"/>
                  </a:lnTo>
                  <a:lnTo>
                    <a:pt x="11" y="130"/>
                  </a:lnTo>
                  <a:lnTo>
                    <a:pt x="30" y="130"/>
                  </a:lnTo>
                  <a:lnTo>
                    <a:pt x="30" y="149"/>
                  </a:lnTo>
                  <a:lnTo>
                    <a:pt x="23" y="154"/>
                  </a:lnTo>
                  <a:lnTo>
                    <a:pt x="66" y="167"/>
                  </a:lnTo>
                  <a:lnTo>
                    <a:pt x="90" y="160"/>
                  </a:lnTo>
                  <a:lnTo>
                    <a:pt x="90" y="137"/>
                  </a:lnTo>
                  <a:lnTo>
                    <a:pt x="121" y="137"/>
                  </a:lnTo>
                  <a:lnTo>
                    <a:pt x="128" y="117"/>
                  </a:lnTo>
                  <a:lnTo>
                    <a:pt x="140" y="112"/>
                  </a:lnTo>
                  <a:lnTo>
                    <a:pt x="151" y="80"/>
                  </a:lnTo>
                  <a:lnTo>
                    <a:pt x="158" y="80"/>
                  </a:lnTo>
                  <a:lnTo>
                    <a:pt x="163" y="62"/>
                  </a:lnTo>
                  <a:lnTo>
                    <a:pt x="163" y="45"/>
                  </a:lnTo>
                  <a:lnTo>
                    <a:pt x="170" y="45"/>
                  </a:lnTo>
                  <a:lnTo>
                    <a:pt x="188" y="39"/>
                  </a:lnTo>
                  <a:lnTo>
                    <a:pt x="195" y="32"/>
                  </a:lnTo>
                  <a:lnTo>
                    <a:pt x="230" y="20"/>
                  </a:lnTo>
                  <a:lnTo>
                    <a:pt x="222" y="0"/>
                  </a:lnTo>
                  <a:lnTo>
                    <a:pt x="193" y="9"/>
                  </a:lnTo>
                  <a:lnTo>
                    <a:pt x="175" y="14"/>
                  </a:lnTo>
                  <a:lnTo>
                    <a:pt x="163" y="2"/>
                  </a:lnTo>
                  <a:lnTo>
                    <a:pt x="135" y="15"/>
                  </a:lnTo>
                  <a:lnTo>
                    <a:pt x="105" y="10"/>
                  </a:lnTo>
                  <a:lnTo>
                    <a:pt x="75" y="29"/>
                  </a:lnTo>
                  <a:lnTo>
                    <a:pt x="61" y="42"/>
                  </a:lnTo>
                  <a:lnTo>
                    <a:pt x="36" y="57"/>
                  </a:lnTo>
                  <a:lnTo>
                    <a:pt x="25" y="50"/>
                  </a:lnTo>
                  <a:lnTo>
                    <a:pt x="18" y="4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6" name="Freeform 343"/>
            <p:cNvSpPr>
              <a:spLocks/>
            </p:cNvSpPr>
            <p:nvPr/>
          </p:nvSpPr>
          <p:spPr bwMode="auto">
            <a:xfrm>
              <a:off x="3208" y="2316"/>
              <a:ext cx="258" cy="221"/>
            </a:xfrm>
            <a:custGeom>
              <a:avLst/>
              <a:gdLst>
                <a:gd name="T0" fmla="*/ 3 w 298"/>
                <a:gd name="T1" fmla="*/ 0 h 265"/>
                <a:gd name="T2" fmla="*/ 0 w 298"/>
                <a:gd name="T3" fmla="*/ 11 h 265"/>
                <a:gd name="T4" fmla="*/ 0 w 298"/>
                <a:gd name="T5" fmla="*/ 16 h 265"/>
                <a:gd name="T6" fmla="*/ 9 w 298"/>
                <a:gd name="T7" fmla="*/ 28 h 265"/>
                <a:gd name="T8" fmla="*/ 21 w 298"/>
                <a:gd name="T9" fmla="*/ 31 h 265"/>
                <a:gd name="T10" fmla="*/ 15 w 298"/>
                <a:gd name="T11" fmla="*/ 40 h 265"/>
                <a:gd name="T12" fmla="*/ 17 w 298"/>
                <a:gd name="T13" fmla="*/ 48 h 265"/>
                <a:gd name="T14" fmla="*/ 30 w 298"/>
                <a:gd name="T15" fmla="*/ 51 h 265"/>
                <a:gd name="T16" fmla="*/ 31 w 298"/>
                <a:gd name="T17" fmla="*/ 63 h 265"/>
                <a:gd name="T18" fmla="*/ 42 w 298"/>
                <a:gd name="T19" fmla="*/ 73 h 265"/>
                <a:gd name="T20" fmla="*/ 50 w 298"/>
                <a:gd name="T21" fmla="*/ 74 h 265"/>
                <a:gd name="T22" fmla="*/ 56 w 298"/>
                <a:gd name="T23" fmla="*/ 85 h 265"/>
                <a:gd name="T24" fmla="*/ 62 w 298"/>
                <a:gd name="T25" fmla="*/ 87 h 265"/>
                <a:gd name="T26" fmla="*/ 77 w 298"/>
                <a:gd name="T27" fmla="*/ 94 h 265"/>
                <a:gd name="T28" fmla="*/ 86 w 298"/>
                <a:gd name="T29" fmla="*/ 97 h 265"/>
                <a:gd name="T30" fmla="*/ 100 w 298"/>
                <a:gd name="T31" fmla="*/ 94 h 265"/>
                <a:gd name="T32" fmla="*/ 103 w 298"/>
                <a:gd name="T33" fmla="*/ 103 h 265"/>
                <a:gd name="T34" fmla="*/ 124 w 298"/>
                <a:gd name="T35" fmla="*/ 103 h 265"/>
                <a:gd name="T36" fmla="*/ 139 w 298"/>
                <a:gd name="T37" fmla="*/ 107 h 265"/>
                <a:gd name="T38" fmla="*/ 139 w 298"/>
                <a:gd name="T39" fmla="*/ 98 h 265"/>
                <a:gd name="T40" fmla="*/ 145 w 298"/>
                <a:gd name="T41" fmla="*/ 96 h 265"/>
                <a:gd name="T42" fmla="*/ 145 w 298"/>
                <a:gd name="T43" fmla="*/ 90 h 265"/>
                <a:gd name="T44" fmla="*/ 132 w 298"/>
                <a:gd name="T45" fmla="*/ 82 h 265"/>
                <a:gd name="T46" fmla="*/ 132 w 298"/>
                <a:gd name="T47" fmla="*/ 74 h 265"/>
                <a:gd name="T48" fmla="*/ 137 w 298"/>
                <a:gd name="T49" fmla="*/ 73 h 265"/>
                <a:gd name="T50" fmla="*/ 137 w 298"/>
                <a:gd name="T51" fmla="*/ 65 h 265"/>
                <a:gd name="T52" fmla="*/ 127 w 298"/>
                <a:gd name="T53" fmla="*/ 65 h 265"/>
                <a:gd name="T54" fmla="*/ 121 w 298"/>
                <a:gd name="T55" fmla="*/ 60 h 265"/>
                <a:gd name="T56" fmla="*/ 127 w 298"/>
                <a:gd name="T57" fmla="*/ 51 h 265"/>
                <a:gd name="T58" fmla="*/ 124 w 298"/>
                <a:gd name="T59" fmla="*/ 43 h 265"/>
                <a:gd name="T60" fmla="*/ 131 w 298"/>
                <a:gd name="T61" fmla="*/ 31 h 265"/>
                <a:gd name="T62" fmla="*/ 127 w 298"/>
                <a:gd name="T63" fmla="*/ 23 h 265"/>
                <a:gd name="T64" fmla="*/ 119 w 298"/>
                <a:gd name="T65" fmla="*/ 16 h 265"/>
                <a:gd name="T66" fmla="*/ 100 w 298"/>
                <a:gd name="T67" fmla="*/ 13 h 265"/>
                <a:gd name="T68" fmla="*/ 90 w 298"/>
                <a:gd name="T69" fmla="*/ 13 h 265"/>
                <a:gd name="T70" fmla="*/ 85 w 298"/>
                <a:gd name="T71" fmla="*/ 13 h 265"/>
                <a:gd name="T72" fmla="*/ 77 w 298"/>
                <a:gd name="T73" fmla="*/ 16 h 265"/>
                <a:gd name="T74" fmla="*/ 77 w 298"/>
                <a:gd name="T75" fmla="*/ 21 h 265"/>
                <a:gd name="T76" fmla="*/ 59 w 298"/>
                <a:gd name="T77" fmla="*/ 23 h 265"/>
                <a:gd name="T78" fmla="*/ 48 w 298"/>
                <a:gd name="T79" fmla="*/ 19 h 265"/>
                <a:gd name="T80" fmla="*/ 35 w 298"/>
                <a:gd name="T81" fmla="*/ 7 h 265"/>
                <a:gd name="T82" fmla="*/ 31 w 298"/>
                <a:gd name="T83" fmla="*/ 4 h 265"/>
                <a:gd name="T84" fmla="*/ 16 w 298"/>
                <a:gd name="T85" fmla="*/ 9 h 265"/>
                <a:gd name="T86" fmla="*/ 9 w 298"/>
                <a:gd name="T87" fmla="*/ 0 h 265"/>
                <a:gd name="T88" fmla="*/ 6 w 298"/>
                <a:gd name="T89" fmla="*/ 0 h 265"/>
                <a:gd name="T90" fmla="*/ 3 w 298"/>
                <a:gd name="T91" fmla="*/ 0 h 265"/>
                <a:gd name="T92" fmla="*/ 3 w 298"/>
                <a:gd name="T93" fmla="*/ 0 h 26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98" h="265">
                  <a:moveTo>
                    <a:pt x="5" y="0"/>
                  </a:moveTo>
                  <a:lnTo>
                    <a:pt x="0" y="26"/>
                  </a:lnTo>
                  <a:lnTo>
                    <a:pt x="0" y="40"/>
                  </a:lnTo>
                  <a:lnTo>
                    <a:pt x="18" y="70"/>
                  </a:lnTo>
                  <a:lnTo>
                    <a:pt x="43" y="76"/>
                  </a:lnTo>
                  <a:lnTo>
                    <a:pt x="30" y="100"/>
                  </a:lnTo>
                  <a:lnTo>
                    <a:pt x="36" y="118"/>
                  </a:lnTo>
                  <a:lnTo>
                    <a:pt x="61" y="125"/>
                  </a:lnTo>
                  <a:lnTo>
                    <a:pt x="66" y="155"/>
                  </a:lnTo>
                  <a:lnTo>
                    <a:pt x="85" y="180"/>
                  </a:lnTo>
                  <a:lnTo>
                    <a:pt x="103" y="185"/>
                  </a:lnTo>
                  <a:lnTo>
                    <a:pt x="116" y="210"/>
                  </a:lnTo>
                  <a:lnTo>
                    <a:pt x="128" y="216"/>
                  </a:lnTo>
                  <a:lnTo>
                    <a:pt x="158" y="235"/>
                  </a:lnTo>
                  <a:lnTo>
                    <a:pt x="176" y="240"/>
                  </a:lnTo>
                  <a:lnTo>
                    <a:pt x="206" y="235"/>
                  </a:lnTo>
                  <a:lnTo>
                    <a:pt x="213" y="253"/>
                  </a:lnTo>
                  <a:lnTo>
                    <a:pt x="255" y="258"/>
                  </a:lnTo>
                  <a:lnTo>
                    <a:pt x="285" y="265"/>
                  </a:lnTo>
                  <a:lnTo>
                    <a:pt x="286" y="245"/>
                  </a:lnTo>
                  <a:lnTo>
                    <a:pt x="298" y="238"/>
                  </a:lnTo>
                  <a:lnTo>
                    <a:pt x="298" y="223"/>
                  </a:lnTo>
                  <a:lnTo>
                    <a:pt x="273" y="203"/>
                  </a:lnTo>
                  <a:lnTo>
                    <a:pt x="273" y="185"/>
                  </a:lnTo>
                  <a:lnTo>
                    <a:pt x="280" y="180"/>
                  </a:lnTo>
                  <a:lnTo>
                    <a:pt x="280" y="161"/>
                  </a:lnTo>
                  <a:lnTo>
                    <a:pt x="261" y="161"/>
                  </a:lnTo>
                  <a:lnTo>
                    <a:pt x="250" y="148"/>
                  </a:lnTo>
                  <a:lnTo>
                    <a:pt x="261" y="126"/>
                  </a:lnTo>
                  <a:lnTo>
                    <a:pt x="255" y="106"/>
                  </a:lnTo>
                  <a:lnTo>
                    <a:pt x="268" y="76"/>
                  </a:lnTo>
                  <a:lnTo>
                    <a:pt x="261" y="58"/>
                  </a:lnTo>
                  <a:lnTo>
                    <a:pt x="243" y="40"/>
                  </a:lnTo>
                  <a:lnTo>
                    <a:pt x="206" y="33"/>
                  </a:lnTo>
                  <a:lnTo>
                    <a:pt x="185" y="33"/>
                  </a:lnTo>
                  <a:lnTo>
                    <a:pt x="173" y="33"/>
                  </a:lnTo>
                  <a:lnTo>
                    <a:pt x="158" y="40"/>
                  </a:lnTo>
                  <a:lnTo>
                    <a:pt x="158" y="51"/>
                  </a:lnTo>
                  <a:lnTo>
                    <a:pt x="121" y="58"/>
                  </a:lnTo>
                  <a:lnTo>
                    <a:pt x="98" y="46"/>
                  </a:lnTo>
                  <a:lnTo>
                    <a:pt x="71" y="15"/>
                  </a:lnTo>
                  <a:lnTo>
                    <a:pt x="65" y="10"/>
                  </a:lnTo>
                  <a:lnTo>
                    <a:pt x="33" y="21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7" name="Freeform 344"/>
            <p:cNvSpPr>
              <a:spLocks/>
            </p:cNvSpPr>
            <p:nvPr/>
          </p:nvSpPr>
          <p:spPr bwMode="auto">
            <a:xfrm>
              <a:off x="3208" y="2316"/>
              <a:ext cx="258" cy="221"/>
            </a:xfrm>
            <a:custGeom>
              <a:avLst/>
              <a:gdLst>
                <a:gd name="T0" fmla="*/ 3 w 298"/>
                <a:gd name="T1" fmla="*/ 0 h 265"/>
                <a:gd name="T2" fmla="*/ 0 w 298"/>
                <a:gd name="T3" fmla="*/ 11 h 265"/>
                <a:gd name="T4" fmla="*/ 0 w 298"/>
                <a:gd name="T5" fmla="*/ 16 h 265"/>
                <a:gd name="T6" fmla="*/ 9 w 298"/>
                <a:gd name="T7" fmla="*/ 28 h 265"/>
                <a:gd name="T8" fmla="*/ 21 w 298"/>
                <a:gd name="T9" fmla="*/ 31 h 265"/>
                <a:gd name="T10" fmla="*/ 15 w 298"/>
                <a:gd name="T11" fmla="*/ 40 h 265"/>
                <a:gd name="T12" fmla="*/ 17 w 298"/>
                <a:gd name="T13" fmla="*/ 48 h 265"/>
                <a:gd name="T14" fmla="*/ 30 w 298"/>
                <a:gd name="T15" fmla="*/ 51 h 265"/>
                <a:gd name="T16" fmla="*/ 31 w 298"/>
                <a:gd name="T17" fmla="*/ 63 h 265"/>
                <a:gd name="T18" fmla="*/ 42 w 298"/>
                <a:gd name="T19" fmla="*/ 73 h 265"/>
                <a:gd name="T20" fmla="*/ 50 w 298"/>
                <a:gd name="T21" fmla="*/ 74 h 265"/>
                <a:gd name="T22" fmla="*/ 56 w 298"/>
                <a:gd name="T23" fmla="*/ 85 h 265"/>
                <a:gd name="T24" fmla="*/ 62 w 298"/>
                <a:gd name="T25" fmla="*/ 87 h 265"/>
                <a:gd name="T26" fmla="*/ 77 w 298"/>
                <a:gd name="T27" fmla="*/ 94 h 265"/>
                <a:gd name="T28" fmla="*/ 86 w 298"/>
                <a:gd name="T29" fmla="*/ 97 h 265"/>
                <a:gd name="T30" fmla="*/ 100 w 298"/>
                <a:gd name="T31" fmla="*/ 94 h 265"/>
                <a:gd name="T32" fmla="*/ 103 w 298"/>
                <a:gd name="T33" fmla="*/ 103 h 265"/>
                <a:gd name="T34" fmla="*/ 124 w 298"/>
                <a:gd name="T35" fmla="*/ 103 h 265"/>
                <a:gd name="T36" fmla="*/ 139 w 298"/>
                <a:gd name="T37" fmla="*/ 107 h 265"/>
                <a:gd name="T38" fmla="*/ 139 w 298"/>
                <a:gd name="T39" fmla="*/ 98 h 265"/>
                <a:gd name="T40" fmla="*/ 145 w 298"/>
                <a:gd name="T41" fmla="*/ 96 h 265"/>
                <a:gd name="T42" fmla="*/ 145 w 298"/>
                <a:gd name="T43" fmla="*/ 90 h 265"/>
                <a:gd name="T44" fmla="*/ 132 w 298"/>
                <a:gd name="T45" fmla="*/ 82 h 265"/>
                <a:gd name="T46" fmla="*/ 132 w 298"/>
                <a:gd name="T47" fmla="*/ 74 h 265"/>
                <a:gd name="T48" fmla="*/ 137 w 298"/>
                <a:gd name="T49" fmla="*/ 73 h 265"/>
                <a:gd name="T50" fmla="*/ 137 w 298"/>
                <a:gd name="T51" fmla="*/ 65 h 265"/>
                <a:gd name="T52" fmla="*/ 127 w 298"/>
                <a:gd name="T53" fmla="*/ 65 h 265"/>
                <a:gd name="T54" fmla="*/ 121 w 298"/>
                <a:gd name="T55" fmla="*/ 60 h 265"/>
                <a:gd name="T56" fmla="*/ 127 w 298"/>
                <a:gd name="T57" fmla="*/ 51 h 265"/>
                <a:gd name="T58" fmla="*/ 124 w 298"/>
                <a:gd name="T59" fmla="*/ 43 h 265"/>
                <a:gd name="T60" fmla="*/ 131 w 298"/>
                <a:gd name="T61" fmla="*/ 31 h 265"/>
                <a:gd name="T62" fmla="*/ 127 w 298"/>
                <a:gd name="T63" fmla="*/ 23 h 265"/>
                <a:gd name="T64" fmla="*/ 119 w 298"/>
                <a:gd name="T65" fmla="*/ 16 h 265"/>
                <a:gd name="T66" fmla="*/ 100 w 298"/>
                <a:gd name="T67" fmla="*/ 13 h 265"/>
                <a:gd name="T68" fmla="*/ 90 w 298"/>
                <a:gd name="T69" fmla="*/ 13 h 265"/>
                <a:gd name="T70" fmla="*/ 85 w 298"/>
                <a:gd name="T71" fmla="*/ 13 h 265"/>
                <a:gd name="T72" fmla="*/ 77 w 298"/>
                <a:gd name="T73" fmla="*/ 16 h 265"/>
                <a:gd name="T74" fmla="*/ 77 w 298"/>
                <a:gd name="T75" fmla="*/ 21 h 265"/>
                <a:gd name="T76" fmla="*/ 59 w 298"/>
                <a:gd name="T77" fmla="*/ 23 h 265"/>
                <a:gd name="T78" fmla="*/ 48 w 298"/>
                <a:gd name="T79" fmla="*/ 19 h 265"/>
                <a:gd name="T80" fmla="*/ 35 w 298"/>
                <a:gd name="T81" fmla="*/ 7 h 265"/>
                <a:gd name="T82" fmla="*/ 31 w 298"/>
                <a:gd name="T83" fmla="*/ 4 h 265"/>
                <a:gd name="T84" fmla="*/ 16 w 298"/>
                <a:gd name="T85" fmla="*/ 9 h 265"/>
                <a:gd name="T86" fmla="*/ 9 w 298"/>
                <a:gd name="T87" fmla="*/ 0 h 265"/>
                <a:gd name="T88" fmla="*/ 6 w 298"/>
                <a:gd name="T89" fmla="*/ 0 h 265"/>
                <a:gd name="T90" fmla="*/ 3 w 298"/>
                <a:gd name="T91" fmla="*/ 0 h 265"/>
                <a:gd name="T92" fmla="*/ 3 w 298"/>
                <a:gd name="T93" fmla="*/ 0 h 26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98" h="265">
                  <a:moveTo>
                    <a:pt x="5" y="0"/>
                  </a:moveTo>
                  <a:lnTo>
                    <a:pt x="0" y="26"/>
                  </a:lnTo>
                  <a:lnTo>
                    <a:pt x="0" y="40"/>
                  </a:lnTo>
                  <a:lnTo>
                    <a:pt x="18" y="70"/>
                  </a:lnTo>
                  <a:lnTo>
                    <a:pt x="43" y="76"/>
                  </a:lnTo>
                  <a:lnTo>
                    <a:pt x="30" y="100"/>
                  </a:lnTo>
                  <a:lnTo>
                    <a:pt x="36" y="118"/>
                  </a:lnTo>
                  <a:lnTo>
                    <a:pt x="61" y="125"/>
                  </a:lnTo>
                  <a:lnTo>
                    <a:pt x="66" y="155"/>
                  </a:lnTo>
                  <a:lnTo>
                    <a:pt x="85" y="180"/>
                  </a:lnTo>
                  <a:lnTo>
                    <a:pt x="103" y="185"/>
                  </a:lnTo>
                  <a:lnTo>
                    <a:pt x="116" y="210"/>
                  </a:lnTo>
                  <a:lnTo>
                    <a:pt x="128" y="216"/>
                  </a:lnTo>
                  <a:lnTo>
                    <a:pt x="158" y="235"/>
                  </a:lnTo>
                  <a:lnTo>
                    <a:pt x="176" y="240"/>
                  </a:lnTo>
                  <a:lnTo>
                    <a:pt x="206" y="235"/>
                  </a:lnTo>
                  <a:lnTo>
                    <a:pt x="213" y="253"/>
                  </a:lnTo>
                  <a:lnTo>
                    <a:pt x="255" y="258"/>
                  </a:lnTo>
                  <a:lnTo>
                    <a:pt x="285" y="265"/>
                  </a:lnTo>
                  <a:lnTo>
                    <a:pt x="286" y="245"/>
                  </a:lnTo>
                  <a:lnTo>
                    <a:pt x="298" y="238"/>
                  </a:lnTo>
                  <a:lnTo>
                    <a:pt x="298" y="223"/>
                  </a:lnTo>
                  <a:lnTo>
                    <a:pt x="273" y="203"/>
                  </a:lnTo>
                  <a:lnTo>
                    <a:pt x="273" y="185"/>
                  </a:lnTo>
                  <a:lnTo>
                    <a:pt x="280" y="180"/>
                  </a:lnTo>
                  <a:lnTo>
                    <a:pt x="280" y="161"/>
                  </a:lnTo>
                  <a:lnTo>
                    <a:pt x="261" y="161"/>
                  </a:lnTo>
                  <a:lnTo>
                    <a:pt x="250" y="148"/>
                  </a:lnTo>
                  <a:lnTo>
                    <a:pt x="261" y="126"/>
                  </a:lnTo>
                  <a:lnTo>
                    <a:pt x="255" y="106"/>
                  </a:lnTo>
                  <a:lnTo>
                    <a:pt x="268" y="76"/>
                  </a:lnTo>
                  <a:lnTo>
                    <a:pt x="261" y="58"/>
                  </a:lnTo>
                  <a:lnTo>
                    <a:pt x="243" y="40"/>
                  </a:lnTo>
                  <a:lnTo>
                    <a:pt x="206" y="33"/>
                  </a:lnTo>
                  <a:lnTo>
                    <a:pt x="185" y="33"/>
                  </a:lnTo>
                  <a:lnTo>
                    <a:pt x="173" y="33"/>
                  </a:lnTo>
                  <a:lnTo>
                    <a:pt x="158" y="40"/>
                  </a:lnTo>
                  <a:lnTo>
                    <a:pt x="158" y="51"/>
                  </a:lnTo>
                  <a:lnTo>
                    <a:pt x="121" y="58"/>
                  </a:lnTo>
                  <a:lnTo>
                    <a:pt x="98" y="46"/>
                  </a:lnTo>
                  <a:lnTo>
                    <a:pt x="71" y="15"/>
                  </a:lnTo>
                  <a:lnTo>
                    <a:pt x="65" y="10"/>
                  </a:lnTo>
                  <a:lnTo>
                    <a:pt x="33" y="21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8" name="Freeform 345"/>
            <p:cNvSpPr>
              <a:spLocks/>
            </p:cNvSpPr>
            <p:nvPr/>
          </p:nvSpPr>
          <p:spPr bwMode="auto">
            <a:xfrm>
              <a:off x="3309" y="2513"/>
              <a:ext cx="9" cy="15"/>
            </a:xfrm>
            <a:custGeom>
              <a:avLst/>
              <a:gdLst>
                <a:gd name="T0" fmla="*/ 3 w 12"/>
                <a:gd name="T1" fmla="*/ 5 h 18"/>
                <a:gd name="T2" fmla="*/ 2 w 12"/>
                <a:gd name="T3" fmla="*/ 0 h 18"/>
                <a:gd name="T4" fmla="*/ 0 w 12"/>
                <a:gd name="T5" fmla="*/ 0 h 18"/>
                <a:gd name="T6" fmla="*/ 0 w 12"/>
                <a:gd name="T7" fmla="*/ 5 h 18"/>
                <a:gd name="T8" fmla="*/ 3 w 12"/>
                <a:gd name="T9" fmla="*/ 8 h 18"/>
                <a:gd name="T10" fmla="*/ 3 w 12"/>
                <a:gd name="T11" fmla="*/ 5 h 18"/>
                <a:gd name="T12" fmla="*/ 3 w 12"/>
                <a:gd name="T13" fmla="*/ 5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8">
                  <a:moveTo>
                    <a:pt x="12" y="1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2" y="18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9" name="Freeform 346"/>
            <p:cNvSpPr>
              <a:spLocks/>
            </p:cNvSpPr>
            <p:nvPr/>
          </p:nvSpPr>
          <p:spPr bwMode="auto">
            <a:xfrm>
              <a:off x="3309" y="2513"/>
              <a:ext cx="9" cy="15"/>
            </a:xfrm>
            <a:custGeom>
              <a:avLst/>
              <a:gdLst>
                <a:gd name="T0" fmla="*/ 3 w 12"/>
                <a:gd name="T1" fmla="*/ 5 h 18"/>
                <a:gd name="T2" fmla="*/ 2 w 12"/>
                <a:gd name="T3" fmla="*/ 0 h 18"/>
                <a:gd name="T4" fmla="*/ 0 w 12"/>
                <a:gd name="T5" fmla="*/ 0 h 18"/>
                <a:gd name="T6" fmla="*/ 0 w 12"/>
                <a:gd name="T7" fmla="*/ 5 h 18"/>
                <a:gd name="T8" fmla="*/ 3 w 12"/>
                <a:gd name="T9" fmla="*/ 8 h 18"/>
                <a:gd name="T10" fmla="*/ 3 w 12"/>
                <a:gd name="T11" fmla="*/ 5 h 18"/>
                <a:gd name="T12" fmla="*/ 3 w 12"/>
                <a:gd name="T13" fmla="*/ 5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8">
                  <a:moveTo>
                    <a:pt x="12" y="1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12" y="18"/>
                  </a:lnTo>
                  <a:lnTo>
                    <a:pt x="12" y="1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0" name="Freeform 347"/>
            <p:cNvSpPr>
              <a:spLocks/>
            </p:cNvSpPr>
            <p:nvPr/>
          </p:nvSpPr>
          <p:spPr bwMode="auto">
            <a:xfrm>
              <a:off x="3087" y="2439"/>
              <a:ext cx="279" cy="231"/>
            </a:xfrm>
            <a:custGeom>
              <a:avLst/>
              <a:gdLst>
                <a:gd name="T0" fmla="*/ 0 w 323"/>
                <a:gd name="T1" fmla="*/ 18 h 275"/>
                <a:gd name="T2" fmla="*/ 0 w 323"/>
                <a:gd name="T3" fmla="*/ 26 h 275"/>
                <a:gd name="T4" fmla="*/ 7 w 323"/>
                <a:gd name="T5" fmla="*/ 32 h 275"/>
                <a:gd name="T6" fmla="*/ 21 w 323"/>
                <a:gd name="T7" fmla="*/ 46 h 275"/>
                <a:gd name="T8" fmla="*/ 24 w 323"/>
                <a:gd name="T9" fmla="*/ 51 h 275"/>
                <a:gd name="T10" fmla="*/ 30 w 323"/>
                <a:gd name="T11" fmla="*/ 72 h 275"/>
                <a:gd name="T12" fmla="*/ 47 w 323"/>
                <a:gd name="T13" fmla="*/ 92 h 275"/>
                <a:gd name="T14" fmla="*/ 59 w 323"/>
                <a:gd name="T15" fmla="*/ 115 h 275"/>
                <a:gd name="T16" fmla="*/ 64 w 323"/>
                <a:gd name="T17" fmla="*/ 112 h 275"/>
                <a:gd name="T18" fmla="*/ 65 w 323"/>
                <a:gd name="T19" fmla="*/ 106 h 275"/>
                <a:gd name="T20" fmla="*/ 75 w 323"/>
                <a:gd name="T21" fmla="*/ 104 h 275"/>
                <a:gd name="T22" fmla="*/ 83 w 323"/>
                <a:gd name="T23" fmla="*/ 108 h 275"/>
                <a:gd name="T24" fmla="*/ 86 w 323"/>
                <a:gd name="T25" fmla="*/ 109 h 275"/>
                <a:gd name="T26" fmla="*/ 93 w 323"/>
                <a:gd name="T27" fmla="*/ 113 h 275"/>
                <a:gd name="T28" fmla="*/ 96 w 323"/>
                <a:gd name="T29" fmla="*/ 113 h 275"/>
                <a:gd name="T30" fmla="*/ 102 w 323"/>
                <a:gd name="T31" fmla="*/ 99 h 275"/>
                <a:gd name="T32" fmla="*/ 146 w 323"/>
                <a:gd name="T33" fmla="*/ 91 h 275"/>
                <a:gd name="T34" fmla="*/ 152 w 323"/>
                <a:gd name="T35" fmla="*/ 91 h 275"/>
                <a:gd name="T36" fmla="*/ 155 w 323"/>
                <a:gd name="T37" fmla="*/ 76 h 275"/>
                <a:gd name="T38" fmla="*/ 152 w 323"/>
                <a:gd name="T39" fmla="*/ 69 h 275"/>
                <a:gd name="T40" fmla="*/ 124 w 323"/>
                <a:gd name="T41" fmla="*/ 66 h 275"/>
                <a:gd name="T42" fmla="*/ 115 w 323"/>
                <a:gd name="T43" fmla="*/ 51 h 275"/>
                <a:gd name="T44" fmla="*/ 117 w 323"/>
                <a:gd name="T45" fmla="*/ 33 h 275"/>
                <a:gd name="T46" fmla="*/ 108 w 323"/>
                <a:gd name="T47" fmla="*/ 26 h 275"/>
                <a:gd name="T48" fmla="*/ 99 w 323"/>
                <a:gd name="T49" fmla="*/ 26 h 275"/>
                <a:gd name="T50" fmla="*/ 87 w 323"/>
                <a:gd name="T51" fmla="*/ 20 h 275"/>
                <a:gd name="T52" fmla="*/ 73 w 323"/>
                <a:gd name="T53" fmla="*/ 26 h 275"/>
                <a:gd name="T54" fmla="*/ 65 w 323"/>
                <a:gd name="T55" fmla="*/ 15 h 275"/>
                <a:gd name="T56" fmla="*/ 65 w 323"/>
                <a:gd name="T57" fmla="*/ 13 h 275"/>
                <a:gd name="T58" fmla="*/ 50 w 323"/>
                <a:gd name="T59" fmla="*/ 0 h 275"/>
                <a:gd name="T60" fmla="*/ 44 w 323"/>
                <a:gd name="T61" fmla="*/ 0 h 275"/>
                <a:gd name="T62" fmla="*/ 21 w 323"/>
                <a:gd name="T63" fmla="*/ 3 h 275"/>
                <a:gd name="T64" fmla="*/ 21 w 323"/>
                <a:gd name="T65" fmla="*/ 8 h 275"/>
                <a:gd name="T66" fmla="*/ 31 w 323"/>
                <a:gd name="T67" fmla="*/ 11 h 275"/>
                <a:gd name="T68" fmla="*/ 30 w 323"/>
                <a:gd name="T69" fmla="*/ 18 h 275"/>
                <a:gd name="T70" fmla="*/ 19 w 323"/>
                <a:gd name="T71" fmla="*/ 18 h 275"/>
                <a:gd name="T72" fmla="*/ 14 w 323"/>
                <a:gd name="T73" fmla="*/ 20 h 275"/>
                <a:gd name="T74" fmla="*/ 6 w 323"/>
                <a:gd name="T75" fmla="*/ 20 h 275"/>
                <a:gd name="T76" fmla="*/ 0 w 323"/>
                <a:gd name="T77" fmla="*/ 18 h 275"/>
                <a:gd name="T78" fmla="*/ 0 w 323"/>
                <a:gd name="T79" fmla="*/ 18 h 2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23" h="275">
                  <a:moveTo>
                    <a:pt x="0" y="43"/>
                  </a:moveTo>
                  <a:lnTo>
                    <a:pt x="0" y="62"/>
                  </a:lnTo>
                  <a:lnTo>
                    <a:pt x="13" y="75"/>
                  </a:lnTo>
                  <a:lnTo>
                    <a:pt x="43" y="110"/>
                  </a:lnTo>
                  <a:lnTo>
                    <a:pt x="50" y="123"/>
                  </a:lnTo>
                  <a:lnTo>
                    <a:pt x="61" y="172"/>
                  </a:lnTo>
                  <a:lnTo>
                    <a:pt x="98" y="220"/>
                  </a:lnTo>
                  <a:lnTo>
                    <a:pt x="121" y="275"/>
                  </a:lnTo>
                  <a:lnTo>
                    <a:pt x="133" y="267"/>
                  </a:lnTo>
                  <a:lnTo>
                    <a:pt x="135" y="252"/>
                  </a:lnTo>
                  <a:lnTo>
                    <a:pt x="158" y="250"/>
                  </a:lnTo>
                  <a:lnTo>
                    <a:pt x="171" y="257"/>
                  </a:lnTo>
                  <a:lnTo>
                    <a:pt x="180" y="262"/>
                  </a:lnTo>
                  <a:lnTo>
                    <a:pt x="195" y="268"/>
                  </a:lnTo>
                  <a:lnTo>
                    <a:pt x="200" y="268"/>
                  </a:lnTo>
                  <a:lnTo>
                    <a:pt x="213" y="238"/>
                  </a:lnTo>
                  <a:lnTo>
                    <a:pt x="305" y="215"/>
                  </a:lnTo>
                  <a:lnTo>
                    <a:pt x="316" y="215"/>
                  </a:lnTo>
                  <a:lnTo>
                    <a:pt x="323" y="183"/>
                  </a:lnTo>
                  <a:lnTo>
                    <a:pt x="316" y="165"/>
                  </a:lnTo>
                  <a:lnTo>
                    <a:pt x="256" y="158"/>
                  </a:lnTo>
                  <a:lnTo>
                    <a:pt x="238" y="123"/>
                  </a:lnTo>
                  <a:lnTo>
                    <a:pt x="243" y="80"/>
                  </a:lnTo>
                  <a:lnTo>
                    <a:pt x="225" y="62"/>
                  </a:lnTo>
                  <a:lnTo>
                    <a:pt x="206" y="62"/>
                  </a:lnTo>
                  <a:lnTo>
                    <a:pt x="183" y="50"/>
                  </a:lnTo>
                  <a:lnTo>
                    <a:pt x="153" y="62"/>
                  </a:lnTo>
                  <a:lnTo>
                    <a:pt x="135" y="37"/>
                  </a:lnTo>
                  <a:lnTo>
                    <a:pt x="135" y="32"/>
                  </a:lnTo>
                  <a:lnTo>
                    <a:pt x="103" y="0"/>
                  </a:lnTo>
                  <a:lnTo>
                    <a:pt x="91" y="0"/>
                  </a:lnTo>
                  <a:lnTo>
                    <a:pt x="43" y="7"/>
                  </a:lnTo>
                  <a:lnTo>
                    <a:pt x="43" y="20"/>
                  </a:lnTo>
                  <a:lnTo>
                    <a:pt x="66" y="25"/>
                  </a:lnTo>
                  <a:lnTo>
                    <a:pt x="61" y="43"/>
                  </a:lnTo>
                  <a:lnTo>
                    <a:pt x="41" y="43"/>
                  </a:lnTo>
                  <a:lnTo>
                    <a:pt x="30" y="48"/>
                  </a:lnTo>
                  <a:lnTo>
                    <a:pt x="11" y="47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1" name="Freeform 348"/>
            <p:cNvSpPr>
              <a:spLocks/>
            </p:cNvSpPr>
            <p:nvPr/>
          </p:nvSpPr>
          <p:spPr bwMode="auto">
            <a:xfrm>
              <a:off x="3087" y="2439"/>
              <a:ext cx="279" cy="231"/>
            </a:xfrm>
            <a:custGeom>
              <a:avLst/>
              <a:gdLst>
                <a:gd name="T0" fmla="*/ 0 w 323"/>
                <a:gd name="T1" fmla="*/ 18 h 275"/>
                <a:gd name="T2" fmla="*/ 0 w 323"/>
                <a:gd name="T3" fmla="*/ 26 h 275"/>
                <a:gd name="T4" fmla="*/ 7 w 323"/>
                <a:gd name="T5" fmla="*/ 32 h 275"/>
                <a:gd name="T6" fmla="*/ 21 w 323"/>
                <a:gd name="T7" fmla="*/ 46 h 275"/>
                <a:gd name="T8" fmla="*/ 24 w 323"/>
                <a:gd name="T9" fmla="*/ 51 h 275"/>
                <a:gd name="T10" fmla="*/ 30 w 323"/>
                <a:gd name="T11" fmla="*/ 72 h 275"/>
                <a:gd name="T12" fmla="*/ 47 w 323"/>
                <a:gd name="T13" fmla="*/ 92 h 275"/>
                <a:gd name="T14" fmla="*/ 59 w 323"/>
                <a:gd name="T15" fmla="*/ 115 h 275"/>
                <a:gd name="T16" fmla="*/ 64 w 323"/>
                <a:gd name="T17" fmla="*/ 112 h 275"/>
                <a:gd name="T18" fmla="*/ 65 w 323"/>
                <a:gd name="T19" fmla="*/ 106 h 275"/>
                <a:gd name="T20" fmla="*/ 75 w 323"/>
                <a:gd name="T21" fmla="*/ 104 h 275"/>
                <a:gd name="T22" fmla="*/ 83 w 323"/>
                <a:gd name="T23" fmla="*/ 108 h 275"/>
                <a:gd name="T24" fmla="*/ 86 w 323"/>
                <a:gd name="T25" fmla="*/ 109 h 275"/>
                <a:gd name="T26" fmla="*/ 93 w 323"/>
                <a:gd name="T27" fmla="*/ 113 h 275"/>
                <a:gd name="T28" fmla="*/ 96 w 323"/>
                <a:gd name="T29" fmla="*/ 113 h 275"/>
                <a:gd name="T30" fmla="*/ 102 w 323"/>
                <a:gd name="T31" fmla="*/ 99 h 275"/>
                <a:gd name="T32" fmla="*/ 146 w 323"/>
                <a:gd name="T33" fmla="*/ 91 h 275"/>
                <a:gd name="T34" fmla="*/ 152 w 323"/>
                <a:gd name="T35" fmla="*/ 91 h 275"/>
                <a:gd name="T36" fmla="*/ 155 w 323"/>
                <a:gd name="T37" fmla="*/ 76 h 275"/>
                <a:gd name="T38" fmla="*/ 152 w 323"/>
                <a:gd name="T39" fmla="*/ 69 h 275"/>
                <a:gd name="T40" fmla="*/ 124 w 323"/>
                <a:gd name="T41" fmla="*/ 66 h 275"/>
                <a:gd name="T42" fmla="*/ 115 w 323"/>
                <a:gd name="T43" fmla="*/ 51 h 275"/>
                <a:gd name="T44" fmla="*/ 117 w 323"/>
                <a:gd name="T45" fmla="*/ 33 h 275"/>
                <a:gd name="T46" fmla="*/ 108 w 323"/>
                <a:gd name="T47" fmla="*/ 26 h 275"/>
                <a:gd name="T48" fmla="*/ 99 w 323"/>
                <a:gd name="T49" fmla="*/ 26 h 275"/>
                <a:gd name="T50" fmla="*/ 87 w 323"/>
                <a:gd name="T51" fmla="*/ 20 h 275"/>
                <a:gd name="T52" fmla="*/ 73 w 323"/>
                <a:gd name="T53" fmla="*/ 26 h 275"/>
                <a:gd name="T54" fmla="*/ 65 w 323"/>
                <a:gd name="T55" fmla="*/ 15 h 275"/>
                <a:gd name="T56" fmla="*/ 65 w 323"/>
                <a:gd name="T57" fmla="*/ 13 h 275"/>
                <a:gd name="T58" fmla="*/ 50 w 323"/>
                <a:gd name="T59" fmla="*/ 0 h 275"/>
                <a:gd name="T60" fmla="*/ 44 w 323"/>
                <a:gd name="T61" fmla="*/ 0 h 275"/>
                <a:gd name="T62" fmla="*/ 21 w 323"/>
                <a:gd name="T63" fmla="*/ 3 h 275"/>
                <a:gd name="T64" fmla="*/ 21 w 323"/>
                <a:gd name="T65" fmla="*/ 8 h 275"/>
                <a:gd name="T66" fmla="*/ 31 w 323"/>
                <a:gd name="T67" fmla="*/ 11 h 275"/>
                <a:gd name="T68" fmla="*/ 30 w 323"/>
                <a:gd name="T69" fmla="*/ 18 h 275"/>
                <a:gd name="T70" fmla="*/ 19 w 323"/>
                <a:gd name="T71" fmla="*/ 18 h 275"/>
                <a:gd name="T72" fmla="*/ 14 w 323"/>
                <a:gd name="T73" fmla="*/ 20 h 275"/>
                <a:gd name="T74" fmla="*/ 6 w 323"/>
                <a:gd name="T75" fmla="*/ 20 h 275"/>
                <a:gd name="T76" fmla="*/ 0 w 323"/>
                <a:gd name="T77" fmla="*/ 18 h 275"/>
                <a:gd name="T78" fmla="*/ 0 w 323"/>
                <a:gd name="T79" fmla="*/ 18 h 2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23" h="275">
                  <a:moveTo>
                    <a:pt x="0" y="43"/>
                  </a:moveTo>
                  <a:lnTo>
                    <a:pt x="0" y="62"/>
                  </a:lnTo>
                  <a:lnTo>
                    <a:pt x="13" y="75"/>
                  </a:lnTo>
                  <a:lnTo>
                    <a:pt x="43" y="110"/>
                  </a:lnTo>
                  <a:lnTo>
                    <a:pt x="50" y="123"/>
                  </a:lnTo>
                  <a:lnTo>
                    <a:pt x="61" y="172"/>
                  </a:lnTo>
                  <a:lnTo>
                    <a:pt x="98" y="220"/>
                  </a:lnTo>
                  <a:lnTo>
                    <a:pt x="121" y="275"/>
                  </a:lnTo>
                  <a:lnTo>
                    <a:pt x="133" y="267"/>
                  </a:lnTo>
                  <a:lnTo>
                    <a:pt x="135" y="252"/>
                  </a:lnTo>
                  <a:lnTo>
                    <a:pt x="158" y="250"/>
                  </a:lnTo>
                  <a:lnTo>
                    <a:pt x="171" y="257"/>
                  </a:lnTo>
                  <a:lnTo>
                    <a:pt x="180" y="262"/>
                  </a:lnTo>
                  <a:lnTo>
                    <a:pt x="195" y="268"/>
                  </a:lnTo>
                  <a:lnTo>
                    <a:pt x="200" y="268"/>
                  </a:lnTo>
                  <a:lnTo>
                    <a:pt x="213" y="238"/>
                  </a:lnTo>
                  <a:lnTo>
                    <a:pt x="305" y="215"/>
                  </a:lnTo>
                  <a:lnTo>
                    <a:pt x="316" y="215"/>
                  </a:lnTo>
                  <a:lnTo>
                    <a:pt x="323" y="183"/>
                  </a:lnTo>
                  <a:lnTo>
                    <a:pt x="316" y="165"/>
                  </a:lnTo>
                  <a:lnTo>
                    <a:pt x="256" y="158"/>
                  </a:lnTo>
                  <a:lnTo>
                    <a:pt x="238" y="123"/>
                  </a:lnTo>
                  <a:lnTo>
                    <a:pt x="243" y="80"/>
                  </a:lnTo>
                  <a:lnTo>
                    <a:pt x="225" y="62"/>
                  </a:lnTo>
                  <a:lnTo>
                    <a:pt x="206" y="62"/>
                  </a:lnTo>
                  <a:lnTo>
                    <a:pt x="183" y="50"/>
                  </a:lnTo>
                  <a:lnTo>
                    <a:pt x="153" y="62"/>
                  </a:lnTo>
                  <a:lnTo>
                    <a:pt x="135" y="37"/>
                  </a:lnTo>
                  <a:lnTo>
                    <a:pt x="135" y="32"/>
                  </a:lnTo>
                  <a:lnTo>
                    <a:pt x="103" y="0"/>
                  </a:lnTo>
                  <a:lnTo>
                    <a:pt x="91" y="0"/>
                  </a:lnTo>
                  <a:lnTo>
                    <a:pt x="43" y="7"/>
                  </a:lnTo>
                  <a:lnTo>
                    <a:pt x="43" y="20"/>
                  </a:lnTo>
                  <a:lnTo>
                    <a:pt x="66" y="25"/>
                  </a:lnTo>
                  <a:lnTo>
                    <a:pt x="61" y="43"/>
                  </a:lnTo>
                  <a:lnTo>
                    <a:pt x="41" y="43"/>
                  </a:lnTo>
                  <a:lnTo>
                    <a:pt x="30" y="48"/>
                  </a:lnTo>
                  <a:lnTo>
                    <a:pt x="11" y="47"/>
                  </a:lnTo>
                  <a:lnTo>
                    <a:pt x="0" y="4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2" name="Freeform 349"/>
            <p:cNvSpPr>
              <a:spLocks/>
            </p:cNvSpPr>
            <p:nvPr/>
          </p:nvSpPr>
          <p:spPr bwMode="auto">
            <a:xfrm>
              <a:off x="3193" y="2649"/>
              <a:ext cx="67" cy="56"/>
            </a:xfrm>
            <a:custGeom>
              <a:avLst/>
              <a:gdLst>
                <a:gd name="T0" fmla="*/ 0 w 79"/>
                <a:gd name="T1" fmla="*/ 11 h 65"/>
                <a:gd name="T2" fmla="*/ 6 w 79"/>
                <a:gd name="T3" fmla="*/ 25 h 65"/>
                <a:gd name="T4" fmla="*/ 15 w 79"/>
                <a:gd name="T5" fmla="*/ 30 h 65"/>
                <a:gd name="T6" fmla="*/ 19 w 79"/>
                <a:gd name="T7" fmla="*/ 24 h 65"/>
                <a:gd name="T8" fmla="*/ 25 w 79"/>
                <a:gd name="T9" fmla="*/ 22 h 65"/>
                <a:gd name="T10" fmla="*/ 27 w 79"/>
                <a:gd name="T11" fmla="*/ 16 h 65"/>
                <a:gd name="T12" fmla="*/ 35 w 79"/>
                <a:gd name="T13" fmla="*/ 9 h 65"/>
                <a:gd name="T14" fmla="*/ 24 w 79"/>
                <a:gd name="T15" fmla="*/ 3 h 65"/>
                <a:gd name="T16" fmla="*/ 16 w 79"/>
                <a:gd name="T17" fmla="*/ 0 h 65"/>
                <a:gd name="T18" fmla="*/ 6 w 79"/>
                <a:gd name="T19" fmla="*/ 0 h 65"/>
                <a:gd name="T20" fmla="*/ 5 w 79"/>
                <a:gd name="T21" fmla="*/ 7 h 65"/>
                <a:gd name="T22" fmla="*/ 0 w 79"/>
                <a:gd name="T23" fmla="*/ 11 h 65"/>
                <a:gd name="T24" fmla="*/ 0 w 79"/>
                <a:gd name="T25" fmla="*/ 11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9" h="65">
                  <a:moveTo>
                    <a:pt x="0" y="23"/>
                  </a:moveTo>
                  <a:lnTo>
                    <a:pt x="14" y="55"/>
                  </a:lnTo>
                  <a:lnTo>
                    <a:pt x="34" y="65"/>
                  </a:lnTo>
                  <a:lnTo>
                    <a:pt x="44" y="51"/>
                  </a:lnTo>
                  <a:lnTo>
                    <a:pt x="57" y="45"/>
                  </a:lnTo>
                  <a:lnTo>
                    <a:pt x="62" y="35"/>
                  </a:lnTo>
                  <a:lnTo>
                    <a:pt x="79" y="20"/>
                  </a:lnTo>
                  <a:lnTo>
                    <a:pt x="54" y="5"/>
                  </a:lnTo>
                  <a:lnTo>
                    <a:pt x="37" y="0"/>
                  </a:lnTo>
                  <a:lnTo>
                    <a:pt x="14" y="0"/>
                  </a:lnTo>
                  <a:lnTo>
                    <a:pt x="12" y="1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3" name="Freeform 350"/>
            <p:cNvSpPr>
              <a:spLocks/>
            </p:cNvSpPr>
            <p:nvPr/>
          </p:nvSpPr>
          <p:spPr bwMode="auto">
            <a:xfrm>
              <a:off x="3193" y="2649"/>
              <a:ext cx="67" cy="56"/>
            </a:xfrm>
            <a:custGeom>
              <a:avLst/>
              <a:gdLst>
                <a:gd name="T0" fmla="*/ 0 w 79"/>
                <a:gd name="T1" fmla="*/ 11 h 65"/>
                <a:gd name="T2" fmla="*/ 6 w 79"/>
                <a:gd name="T3" fmla="*/ 25 h 65"/>
                <a:gd name="T4" fmla="*/ 15 w 79"/>
                <a:gd name="T5" fmla="*/ 30 h 65"/>
                <a:gd name="T6" fmla="*/ 19 w 79"/>
                <a:gd name="T7" fmla="*/ 24 h 65"/>
                <a:gd name="T8" fmla="*/ 25 w 79"/>
                <a:gd name="T9" fmla="*/ 22 h 65"/>
                <a:gd name="T10" fmla="*/ 27 w 79"/>
                <a:gd name="T11" fmla="*/ 16 h 65"/>
                <a:gd name="T12" fmla="*/ 35 w 79"/>
                <a:gd name="T13" fmla="*/ 9 h 65"/>
                <a:gd name="T14" fmla="*/ 24 w 79"/>
                <a:gd name="T15" fmla="*/ 3 h 65"/>
                <a:gd name="T16" fmla="*/ 16 w 79"/>
                <a:gd name="T17" fmla="*/ 0 h 65"/>
                <a:gd name="T18" fmla="*/ 6 w 79"/>
                <a:gd name="T19" fmla="*/ 0 h 65"/>
                <a:gd name="T20" fmla="*/ 5 w 79"/>
                <a:gd name="T21" fmla="*/ 7 h 65"/>
                <a:gd name="T22" fmla="*/ 0 w 79"/>
                <a:gd name="T23" fmla="*/ 11 h 65"/>
                <a:gd name="T24" fmla="*/ 0 w 79"/>
                <a:gd name="T25" fmla="*/ 11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9" h="65">
                  <a:moveTo>
                    <a:pt x="0" y="23"/>
                  </a:moveTo>
                  <a:lnTo>
                    <a:pt x="14" y="55"/>
                  </a:lnTo>
                  <a:lnTo>
                    <a:pt x="34" y="65"/>
                  </a:lnTo>
                  <a:lnTo>
                    <a:pt x="44" y="51"/>
                  </a:lnTo>
                  <a:lnTo>
                    <a:pt x="57" y="45"/>
                  </a:lnTo>
                  <a:lnTo>
                    <a:pt x="62" y="35"/>
                  </a:lnTo>
                  <a:lnTo>
                    <a:pt x="79" y="20"/>
                  </a:lnTo>
                  <a:lnTo>
                    <a:pt x="54" y="5"/>
                  </a:lnTo>
                  <a:lnTo>
                    <a:pt x="37" y="0"/>
                  </a:lnTo>
                  <a:lnTo>
                    <a:pt x="14" y="0"/>
                  </a:lnTo>
                  <a:lnTo>
                    <a:pt x="12" y="15"/>
                  </a:lnTo>
                  <a:lnTo>
                    <a:pt x="0" y="2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4" name="Freeform 351"/>
            <p:cNvSpPr>
              <a:spLocks/>
            </p:cNvSpPr>
            <p:nvPr/>
          </p:nvSpPr>
          <p:spPr bwMode="auto">
            <a:xfrm>
              <a:off x="3221" y="2623"/>
              <a:ext cx="116" cy="82"/>
            </a:xfrm>
            <a:custGeom>
              <a:avLst/>
              <a:gdLst>
                <a:gd name="T0" fmla="*/ 0 w 135"/>
                <a:gd name="T1" fmla="*/ 41 h 97"/>
                <a:gd name="T2" fmla="*/ 13 w 135"/>
                <a:gd name="T3" fmla="*/ 40 h 97"/>
                <a:gd name="T4" fmla="*/ 24 w 135"/>
                <a:gd name="T5" fmla="*/ 35 h 97"/>
                <a:gd name="T6" fmla="*/ 34 w 135"/>
                <a:gd name="T7" fmla="*/ 31 h 97"/>
                <a:gd name="T8" fmla="*/ 52 w 135"/>
                <a:gd name="T9" fmla="*/ 26 h 97"/>
                <a:gd name="T10" fmla="*/ 64 w 135"/>
                <a:gd name="T11" fmla="*/ 21 h 97"/>
                <a:gd name="T12" fmla="*/ 60 w 135"/>
                <a:gd name="T13" fmla="*/ 14 h 97"/>
                <a:gd name="T14" fmla="*/ 60 w 135"/>
                <a:gd name="T15" fmla="*/ 11 h 97"/>
                <a:gd name="T16" fmla="*/ 58 w 135"/>
                <a:gd name="T17" fmla="*/ 0 h 97"/>
                <a:gd name="T18" fmla="*/ 34 w 135"/>
                <a:gd name="T19" fmla="*/ 5 h 97"/>
                <a:gd name="T20" fmla="*/ 27 w 135"/>
                <a:gd name="T21" fmla="*/ 8 h 97"/>
                <a:gd name="T22" fmla="*/ 21 w 135"/>
                <a:gd name="T23" fmla="*/ 21 h 97"/>
                <a:gd name="T24" fmla="*/ 18 w 135"/>
                <a:gd name="T25" fmla="*/ 24 h 97"/>
                <a:gd name="T26" fmla="*/ 13 w 135"/>
                <a:gd name="T27" fmla="*/ 30 h 97"/>
                <a:gd name="T28" fmla="*/ 11 w 135"/>
                <a:gd name="T29" fmla="*/ 33 h 97"/>
                <a:gd name="T30" fmla="*/ 5 w 135"/>
                <a:gd name="T31" fmla="*/ 37 h 97"/>
                <a:gd name="T32" fmla="*/ 0 w 135"/>
                <a:gd name="T33" fmla="*/ 41 h 97"/>
                <a:gd name="T34" fmla="*/ 0 w 135"/>
                <a:gd name="T35" fmla="*/ 41 h 9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5" h="97">
                  <a:moveTo>
                    <a:pt x="0" y="97"/>
                  </a:moveTo>
                  <a:lnTo>
                    <a:pt x="28" y="92"/>
                  </a:lnTo>
                  <a:lnTo>
                    <a:pt x="51" y="80"/>
                  </a:lnTo>
                  <a:lnTo>
                    <a:pt x="70" y="73"/>
                  </a:lnTo>
                  <a:lnTo>
                    <a:pt x="113" y="62"/>
                  </a:lnTo>
                  <a:lnTo>
                    <a:pt x="135" y="47"/>
                  </a:lnTo>
                  <a:lnTo>
                    <a:pt x="130" y="33"/>
                  </a:lnTo>
                  <a:lnTo>
                    <a:pt x="130" y="25"/>
                  </a:lnTo>
                  <a:lnTo>
                    <a:pt x="125" y="0"/>
                  </a:lnTo>
                  <a:lnTo>
                    <a:pt x="70" y="12"/>
                  </a:lnTo>
                  <a:lnTo>
                    <a:pt x="58" y="18"/>
                  </a:lnTo>
                  <a:lnTo>
                    <a:pt x="46" y="48"/>
                  </a:lnTo>
                  <a:lnTo>
                    <a:pt x="40" y="55"/>
                  </a:lnTo>
                  <a:lnTo>
                    <a:pt x="28" y="67"/>
                  </a:lnTo>
                  <a:lnTo>
                    <a:pt x="25" y="77"/>
                  </a:lnTo>
                  <a:lnTo>
                    <a:pt x="10" y="85"/>
                  </a:lnTo>
                  <a:lnTo>
                    <a:pt x="0" y="9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5" name="Freeform 352"/>
            <p:cNvSpPr>
              <a:spLocks/>
            </p:cNvSpPr>
            <p:nvPr/>
          </p:nvSpPr>
          <p:spPr bwMode="auto">
            <a:xfrm>
              <a:off x="3221" y="2623"/>
              <a:ext cx="116" cy="82"/>
            </a:xfrm>
            <a:custGeom>
              <a:avLst/>
              <a:gdLst>
                <a:gd name="T0" fmla="*/ 0 w 135"/>
                <a:gd name="T1" fmla="*/ 41 h 97"/>
                <a:gd name="T2" fmla="*/ 13 w 135"/>
                <a:gd name="T3" fmla="*/ 40 h 97"/>
                <a:gd name="T4" fmla="*/ 24 w 135"/>
                <a:gd name="T5" fmla="*/ 35 h 97"/>
                <a:gd name="T6" fmla="*/ 34 w 135"/>
                <a:gd name="T7" fmla="*/ 31 h 97"/>
                <a:gd name="T8" fmla="*/ 52 w 135"/>
                <a:gd name="T9" fmla="*/ 26 h 97"/>
                <a:gd name="T10" fmla="*/ 64 w 135"/>
                <a:gd name="T11" fmla="*/ 21 h 97"/>
                <a:gd name="T12" fmla="*/ 60 w 135"/>
                <a:gd name="T13" fmla="*/ 14 h 97"/>
                <a:gd name="T14" fmla="*/ 60 w 135"/>
                <a:gd name="T15" fmla="*/ 11 h 97"/>
                <a:gd name="T16" fmla="*/ 58 w 135"/>
                <a:gd name="T17" fmla="*/ 0 h 97"/>
                <a:gd name="T18" fmla="*/ 34 w 135"/>
                <a:gd name="T19" fmla="*/ 5 h 97"/>
                <a:gd name="T20" fmla="*/ 27 w 135"/>
                <a:gd name="T21" fmla="*/ 8 h 97"/>
                <a:gd name="T22" fmla="*/ 21 w 135"/>
                <a:gd name="T23" fmla="*/ 21 h 97"/>
                <a:gd name="T24" fmla="*/ 18 w 135"/>
                <a:gd name="T25" fmla="*/ 24 h 97"/>
                <a:gd name="T26" fmla="*/ 13 w 135"/>
                <a:gd name="T27" fmla="*/ 30 h 97"/>
                <a:gd name="T28" fmla="*/ 11 w 135"/>
                <a:gd name="T29" fmla="*/ 33 h 97"/>
                <a:gd name="T30" fmla="*/ 5 w 135"/>
                <a:gd name="T31" fmla="*/ 37 h 97"/>
                <a:gd name="T32" fmla="*/ 0 w 135"/>
                <a:gd name="T33" fmla="*/ 41 h 97"/>
                <a:gd name="T34" fmla="*/ 0 w 135"/>
                <a:gd name="T35" fmla="*/ 41 h 9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5" h="97">
                  <a:moveTo>
                    <a:pt x="0" y="97"/>
                  </a:moveTo>
                  <a:lnTo>
                    <a:pt x="28" y="92"/>
                  </a:lnTo>
                  <a:lnTo>
                    <a:pt x="51" y="80"/>
                  </a:lnTo>
                  <a:lnTo>
                    <a:pt x="70" y="73"/>
                  </a:lnTo>
                  <a:lnTo>
                    <a:pt x="113" y="62"/>
                  </a:lnTo>
                  <a:lnTo>
                    <a:pt x="135" y="47"/>
                  </a:lnTo>
                  <a:lnTo>
                    <a:pt x="130" y="33"/>
                  </a:lnTo>
                  <a:lnTo>
                    <a:pt x="130" y="25"/>
                  </a:lnTo>
                  <a:lnTo>
                    <a:pt x="125" y="0"/>
                  </a:lnTo>
                  <a:lnTo>
                    <a:pt x="70" y="12"/>
                  </a:lnTo>
                  <a:lnTo>
                    <a:pt x="58" y="18"/>
                  </a:lnTo>
                  <a:lnTo>
                    <a:pt x="46" y="48"/>
                  </a:lnTo>
                  <a:lnTo>
                    <a:pt x="40" y="55"/>
                  </a:lnTo>
                  <a:lnTo>
                    <a:pt x="28" y="67"/>
                  </a:lnTo>
                  <a:lnTo>
                    <a:pt x="25" y="77"/>
                  </a:lnTo>
                  <a:lnTo>
                    <a:pt x="10" y="85"/>
                  </a:lnTo>
                  <a:lnTo>
                    <a:pt x="0" y="9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6" name="Freeform 353"/>
            <p:cNvSpPr>
              <a:spLocks/>
            </p:cNvSpPr>
            <p:nvPr/>
          </p:nvSpPr>
          <p:spPr bwMode="auto">
            <a:xfrm>
              <a:off x="3325" y="2542"/>
              <a:ext cx="93" cy="121"/>
            </a:xfrm>
            <a:custGeom>
              <a:avLst/>
              <a:gdLst>
                <a:gd name="T0" fmla="*/ 0 w 108"/>
                <a:gd name="T1" fmla="*/ 41 h 144"/>
                <a:gd name="T2" fmla="*/ 16 w 108"/>
                <a:gd name="T3" fmla="*/ 35 h 144"/>
                <a:gd name="T4" fmla="*/ 22 w 108"/>
                <a:gd name="T5" fmla="*/ 30 h 144"/>
                <a:gd name="T6" fmla="*/ 21 w 108"/>
                <a:gd name="T7" fmla="*/ 18 h 144"/>
                <a:gd name="T8" fmla="*/ 25 w 108"/>
                <a:gd name="T9" fmla="*/ 11 h 144"/>
                <a:gd name="T10" fmla="*/ 26 w 108"/>
                <a:gd name="T11" fmla="*/ 5 h 144"/>
                <a:gd name="T12" fmla="*/ 25 w 108"/>
                <a:gd name="T13" fmla="*/ 0 h 144"/>
                <a:gd name="T14" fmla="*/ 33 w 108"/>
                <a:gd name="T15" fmla="*/ 7 h 144"/>
                <a:gd name="T16" fmla="*/ 40 w 108"/>
                <a:gd name="T17" fmla="*/ 13 h 144"/>
                <a:gd name="T18" fmla="*/ 49 w 108"/>
                <a:gd name="T19" fmla="*/ 14 h 144"/>
                <a:gd name="T20" fmla="*/ 49 w 108"/>
                <a:gd name="T21" fmla="*/ 20 h 144"/>
                <a:gd name="T22" fmla="*/ 51 w 108"/>
                <a:gd name="T23" fmla="*/ 24 h 144"/>
                <a:gd name="T24" fmla="*/ 51 w 108"/>
                <a:gd name="T25" fmla="*/ 28 h 144"/>
                <a:gd name="T26" fmla="*/ 43 w 108"/>
                <a:gd name="T27" fmla="*/ 33 h 144"/>
                <a:gd name="T28" fmla="*/ 37 w 108"/>
                <a:gd name="T29" fmla="*/ 43 h 144"/>
                <a:gd name="T30" fmla="*/ 29 w 108"/>
                <a:gd name="T31" fmla="*/ 49 h 144"/>
                <a:gd name="T32" fmla="*/ 14 w 108"/>
                <a:gd name="T33" fmla="*/ 56 h 144"/>
                <a:gd name="T34" fmla="*/ 7 w 108"/>
                <a:gd name="T35" fmla="*/ 61 h 144"/>
                <a:gd name="T36" fmla="*/ 5 w 108"/>
                <a:gd name="T37" fmla="*/ 55 h 144"/>
                <a:gd name="T38" fmla="*/ 3 w 108"/>
                <a:gd name="T39" fmla="*/ 51 h 144"/>
                <a:gd name="T40" fmla="*/ 0 w 108"/>
                <a:gd name="T41" fmla="*/ 41 h 144"/>
                <a:gd name="T42" fmla="*/ 0 w 108"/>
                <a:gd name="T43" fmla="*/ 41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8" h="144">
                  <a:moveTo>
                    <a:pt x="0" y="97"/>
                  </a:moveTo>
                  <a:lnTo>
                    <a:pt x="35" y="85"/>
                  </a:lnTo>
                  <a:lnTo>
                    <a:pt x="45" y="72"/>
                  </a:lnTo>
                  <a:lnTo>
                    <a:pt x="43" y="44"/>
                  </a:lnTo>
                  <a:lnTo>
                    <a:pt x="53" y="25"/>
                  </a:lnTo>
                  <a:lnTo>
                    <a:pt x="56" y="12"/>
                  </a:lnTo>
                  <a:lnTo>
                    <a:pt x="55" y="0"/>
                  </a:lnTo>
                  <a:lnTo>
                    <a:pt x="68" y="17"/>
                  </a:lnTo>
                  <a:lnTo>
                    <a:pt x="86" y="32"/>
                  </a:lnTo>
                  <a:lnTo>
                    <a:pt x="103" y="35"/>
                  </a:lnTo>
                  <a:lnTo>
                    <a:pt x="103" y="47"/>
                  </a:lnTo>
                  <a:lnTo>
                    <a:pt x="108" y="55"/>
                  </a:lnTo>
                  <a:lnTo>
                    <a:pt x="108" y="67"/>
                  </a:lnTo>
                  <a:lnTo>
                    <a:pt x="90" y="79"/>
                  </a:lnTo>
                  <a:lnTo>
                    <a:pt x="78" y="104"/>
                  </a:lnTo>
                  <a:lnTo>
                    <a:pt x="60" y="115"/>
                  </a:lnTo>
                  <a:lnTo>
                    <a:pt x="30" y="134"/>
                  </a:lnTo>
                  <a:lnTo>
                    <a:pt x="15" y="144"/>
                  </a:lnTo>
                  <a:lnTo>
                    <a:pt x="10" y="130"/>
                  </a:lnTo>
                  <a:lnTo>
                    <a:pt x="8" y="122"/>
                  </a:lnTo>
                  <a:lnTo>
                    <a:pt x="0" y="9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7" name="Freeform 354"/>
            <p:cNvSpPr>
              <a:spLocks/>
            </p:cNvSpPr>
            <p:nvPr/>
          </p:nvSpPr>
          <p:spPr bwMode="auto">
            <a:xfrm>
              <a:off x="3325" y="2542"/>
              <a:ext cx="93" cy="121"/>
            </a:xfrm>
            <a:custGeom>
              <a:avLst/>
              <a:gdLst>
                <a:gd name="T0" fmla="*/ 0 w 108"/>
                <a:gd name="T1" fmla="*/ 41 h 144"/>
                <a:gd name="T2" fmla="*/ 16 w 108"/>
                <a:gd name="T3" fmla="*/ 35 h 144"/>
                <a:gd name="T4" fmla="*/ 22 w 108"/>
                <a:gd name="T5" fmla="*/ 30 h 144"/>
                <a:gd name="T6" fmla="*/ 21 w 108"/>
                <a:gd name="T7" fmla="*/ 18 h 144"/>
                <a:gd name="T8" fmla="*/ 25 w 108"/>
                <a:gd name="T9" fmla="*/ 11 h 144"/>
                <a:gd name="T10" fmla="*/ 26 w 108"/>
                <a:gd name="T11" fmla="*/ 5 h 144"/>
                <a:gd name="T12" fmla="*/ 25 w 108"/>
                <a:gd name="T13" fmla="*/ 0 h 144"/>
                <a:gd name="T14" fmla="*/ 33 w 108"/>
                <a:gd name="T15" fmla="*/ 7 h 144"/>
                <a:gd name="T16" fmla="*/ 40 w 108"/>
                <a:gd name="T17" fmla="*/ 13 h 144"/>
                <a:gd name="T18" fmla="*/ 49 w 108"/>
                <a:gd name="T19" fmla="*/ 14 h 144"/>
                <a:gd name="T20" fmla="*/ 49 w 108"/>
                <a:gd name="T21" fmla="*/ 20 h 144"/>
                <a:gd name="T22" fmla="*/ 51 w 108"/>
                <a:gd name="T23" fmla="*/ 24 h 144"/>
                <a:gd name="T24" fmla="*/ 51 w 108"/>
                <a:gd name="T25" fmla="*/ 28 h 144"/>
                <a:gd name="T26" fmla="*/ 43 w 108"/>
                <a:gd name="T27" fmla="*/ 33 h 144"/>
                <a:gd name="T28" fmla="*/ 37 w 108"/>
                <a:gd name="T29" fmla="*/ 43 h 144"/>
                <a:gd name="T30" fmla="*/ 29 w 108"/>
                <a:gd name="T31" fmla="*/ 49 h 144"/>
                <a:gd name="T32" fmla="*/ 14 w 108"/>
                <a:gd name="T33" fmla="*/ 56 h 144"/>
                <a:gd name="T34" fmla="*/ 7 w 108"/>
                <a:gd name="T35" fmla="*/ 61 h 144"/>
                <a:gd name="T36" fmla="*/ 5 w 108"/>
                <a:gd name="T37" fmla="*/ 55 h 144"/>
                <a:gd name="T38" fmla="*/ 3 w 108"/>
                <a:gd name="T39" fmla="*/ 51 h 144"/>
                <a:gd name="T40" fmla="*/ 0 w 108"/>
                <a:gd name="T41" fmla="*/ 41 h 144"/>
                <a:gd name="T42" fmla="*/ 0 w 108"/>
                <a:gd name="T43" fmla="*/ 41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8" h="144">
                  <a:moveTo>
                    <a:pt x="0" y="97"/>
                  </a:moveTo>
                  <a:lnTo>
                    <a:pt x="35" y="85"/>
                  </a:lnTo>
                  <a:lnTo>
                    <a:pt x="45" y="72"/>
                  </a:lnTo>
                  <a:lnTo>
                    <a:pt x="43" y="44"/>
                  </a:lnTo>
                  <a:lnTo>
                    <a:pt x="53" y="25"/>
                  </a:lnTo>
                  <a:lnTo>
                    <a:pt x="56" y="12"/>
                  </a:lnTo>
                  <a:lnTo>
                    <a:pt x="55" y="0"/>
                  </a:lnTo>
                  <a:lnTo>
                    <a:pt x="68" y="17"/>
                  </a:lnTo>
                  <a:lnTo>
                    <a:pt x="86" y="32"/>
                  </a:lnTo>
                  <a:lnTo>
                    <a:pt x="103" y="35"/>
                  </a:lnTo>
                  <a:lnTo>
                    <a:pt x="103" y="47"/>
                  </a:lnTo>
                  <a:lnTo>
                    <a:pt x="108" y="55"/>
                  </a:lnTo>
                  <a:lnTo>
                    <a:pt x="108" y="67"/>
                  </a:lnTo>
                  <a:lnTo>
                    <a:pt x="90" y="79"/>
                  </a:lnTo>
                  <a:lnTo>
                    <a:pt x="78" y="104"/>
                  </a:lnTo>
                  <a:lnTo>
                    <a:pt x="60" y="115"/>
                  </a:lnTo>
                  <a:lnTo>
                    <a:pt x="30" y="134"/>
                  </a:lnTo>
                  <a:lnTo>
                    <a:pt x="15" y="144"/>
                  </a:lnTo>
                  <a:lnTo>
                    <a:pt x="10" y="130"/>
                  </a:lnTo>
                  <a:lnTo>
                    <a:pt x="8" y="122"/>
                  </a:lnTo>
                  <a:lnTo>
                    <a:pt x="0" y="9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8" name="Freeform 355"/>
            <p:cNvSpPr>
              <a:spLocks/>
            </p:cNvSpPr>
            <p:nvPr/>
          </p:nvSpPr>
          <p:spPr bwMode="auto">
            <a:xfrm>
              <a:off x="3292" y="2513"/>
              <a:ext cx="81" cy="65"/>
            </a:xfrm>
            <a:custGeom>
              <a:avLst/>
              <a:gdLst>
                <a:gd name="T0" fmla="*/ 3 w 95"/>
                <a:gd name="T1" fmla="*/ 0 h 78"/>
                <a:gd name="T2" fmla="*/ 0 w 95"/>
                <a:gd name="T3" fmla="*/ 11 h 78"/>
                <a:gd name="T4" fmla="*/ 0 w 95"/>
                <a:gd name="T5" fmla="*/ 14 h 78"/>
                <a:gd name="T6" fmla="*/ 6 w 95"/>
                <a:gd name="T7" fmla="*/ 26 h 78"/>
                <a:gd name="T8" fmla="*/ 8 w 95"/>
                <a:gd name="T9" fmla="*/ 28 h 78"/>
                <a:gd name="T10" fmla="*/ 31 w 95"/>
                <a:gd name="T11" fmla="*/ 32 h 78"/>
                <a:gd name="T12" fmla="*/ 36 w 95"/>
                <a:gd name="T13" fmla="*/ 32 h 78"/>
                <a:gd name="T14" fmla="*/ 43 w 95"/>
                <a:gd name="T15" fmla="*/ 19 h 78"/>
                <a:gd name="T16" fmla="*/ 41 w 95"/>
                <a:gd name="T17" fmla="*/ 13 h 78"/>
                <a:gd name="T18" fmla="*/ 38 w 95"/>
                <a:gd name="T19" fmla="*/ 13 h 78"/>
                <a:gd name="T20" fmla="*/ 31 w 95"/>
                <a:gd name="T21" fmla="*/ 16 h 78"/>
                <a:gd name="T22" fmla="*/ 31 w 95"/>
                <a:gd name="T23" fmla="*/ 19 h 78"/>
                <a:gd name="T24" fmla="*/ 14 w 95"/>
                <a:gd name="T25" fmla="*/ 18 h 78"/>
                <a:gd name="T26" fmla="*/ 14 w 95"/>
                <a:gd name="T27" fmla="*/ 15 h 78"/>
                <a:gd name="T28" fmla="*/ 14 w 95"/>
                <a:gd name="T29" fmla="*/ 13 h 78"/>
                <a:gd name="T30" fmla="*/ 8 w 95"/>
                <a:gd name="T31" fmla="*/ 15 h 78"/>
                <a:gd name="T32" fmla="*/ 3 w 95"/>
                <a:gd name="T33" fmla="*/ 3 h 78"/>
                <a:gd name="T34" fmla="*/ 3 w 95"/>
                <a:gd name="T35" fmla="*/ 0 h 78"/>
                <a:gd name="T36" fmla="*/ 3 w 95"/>
                <a:gd name="T37" fmla="*/ 0 h 7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78">
                  <a:moveTo>
                    <a:pt x="5" y="0"/>
                  </a:moveTo>
                  <a:lnTo>
                    <a:pt x="0" y="28"/>
                  </a:lnTo>
                  <a:lnTo>
                    <a:pt x="0" y="35"/>
                  </a:lnTo>
                  <a:lnTo>
                    <a:pt x="13" y="63"/>
                  </a:lnTo>
                  <a:lnTo>
                    <a:pt x="18" y="71"/>
                  </a:lnTo>
                  <a:lnTo>
                    <a:pt x="67" y="78"/>
                  </a:lnTo>
                  <a:lnTo>
                    <a:pt x="78" y="78"/>
                  </a:lnTo>
                  <a:lnTo>
                    <a:pt x="95" y="48"/>
                  </a:lnTo>
                  <a:lnTo>
                    <a:pt x="90" y="30"/>
                  </a:lnTo>
                  <a:lnTo>
                    <a:pt x="85" y="30"/>
                  </a:lnTo>
                  <a:lnTo>
                    <a:pt x="67" y="41"/>
                  </a:lnTo>
                  <a:lnTo>
                    <a:pt x="67" y="48"/>
                  </a:lnTo>
                  <a:lnTo>
                    <a:pt x="33" y="43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5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9" name="Freeform 356"/>
            <p:cNvSpPr>
              <a:spLocks/>
            </p:cNvSpPr>
            <p:nvPr/>
          </p:nvSpPr>
          <p:spPr bwMode="auto">
            <a:xfrm>
              <a:off x="3292" y="2513"/>
              <a:ext cx="81" cy="65"/>
            </a:xfrm>
            <a:custGeom>
              <a:avLst/>
              <a:gdLst>
                <a:gd name="T0" fmla="*/ 3 w 95"/>
                <a:gd name="T1" fmla="*/ 0 h 78"/>
                <a:gd name="T2" fmla="*/ 0 w 95"/>
                <a:gd name="T3" fmla="*/ 11 h 78"/>
                <a:gd name="T4" fmla="*/ 0 w 95"/>
                <a:gd name="T5" fmla="*/ 14 h 78"/>
                <a:gd name="T6" fmla="*/ 6 w 95"/>
                <a:gd name="T7" fmla="*/ 26 h 78"/>
                <a:gd name="T8" fmla="*/ 8 w 95"/>
                <a:gd name="T9" fmla="*/ 28 h 78"/>
                <a:gd name="T10" fmla="*/ 31 w 95"/>
                <a:gd name="T11" fmla="*/ 32 h 78"/>
                <a:gd name="T12" fmla="*/ 36 w 95"/>
                <a:gd name="T13" fmla="*/ 32 h 78"/>
                <a:gd name="T14" fmla="*/ 43 w 95"/>
                <a:gd name="T15" fmla="*/ 19 h 78"/>
                <a:gd name="T16" fmla="*/ 41 w 95"/>
                <a:gd name="T17" fmla="*/ 13 h 78"/>
                <a:gd name="T18" fmla="*/ 38 w 95"/>
                <a:gd name="T19" fmla="*/ 13 h 78"/>
                <a:gd name="T20" fmla="*/ 31 w 95"/>
                <a:gd name="T21" fmla="*/ 16 h 78"/>
                <a:gd name="T22" fmla="*/ 31 w 95"/>
                <a:gd name="T23" fmla="*/ 19 h 78"/>
                <a:gd name="T24" fmla="*/ 14 w 95"/>
                <a:gd name="T25" fmla="*/ 18 h 78"/>
                <a:gd name="T26" fmla="*/ 14 w 95"/>
                <a:gd name="T27" fmla="*/ 15 h 78"/>
                <a:gd name="T28" fmla="*/ 14 w 95"/>
                <a:gd name="T29" fmla="*/ 13 h 78"/>
                <a:gd name="T30" fmla="*/ 8 w 95"/>
                <a:gd name="T31" fmla="*/ 15 h 78"/>
                <a:gd name="T32" fmla="*/ 3 w 95"/>
                <a:gd name="T33" fmla="*/ 3 h 78"/>
                <a:gd name="T34" fmla="*/ 3 w 95"/>
                <a:gd name="T35" fmla="*/ 0 h 78"/>
                <a:gd name="T36" fmla="*/ 3 w 95"/>
                <a:gd name="T37" fmla="*/ 0 h 7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78">
                  <a:moveTo>
                    <a:pt x="5" y="0"/>
                  </a:moveTo>
                  <a:lnTo>
                    <a:pt x="0" y="28"/>
                  </a:lnTo>
                  <a:lnTo>
                    <a:pt x="0" y="35"/>
                  </a:lnTo>
                  <a:lnTo>
                    <a:pt x="13" y="63"/>
                  </a:lnTo>
                  <a:lnTo>
                    <a:pt x="18" y="71"/>
                  </a:lnTo>
                  <a:lnTo>
                    <a:pt x="67" y="78"/>
                  </a:lnTo>
                  <a:lnTo>
                    <a:pt x="78" y="78"/>
                  </a:lnTo>
                  <a:lnTo>
                    <a:pt x="95" y="48"/>
                  </a:lnTo>
                  <a:lnTo>
                    <a:pt x="90" y="30"/>
                  </a:lnTo>
                  <a:lnTo>
                    <a:pt x="85" y="30"/>
                  </a:lnTo>
                  <a:lnTo>
                    <a:pt x="67" y="41"/>
                  </a:lnTo>
                  <a:lnTo>
                    <a:pt x="67" y="48"/>
                  </a:lnTo>
                  <a:lnTo>
                    <a:pt x="33" y="43"/>
                  </a:lnTo>
                  <a:lnTo>
                    <a:pt x="30" y="36"/>
                  </a:lnTo>
                  <a:lnTo>
                    <a:pt x="30" y="30"/>
                  </a:lnTo>
                  <a:lnTo>
                    <a:pt x="18" y="36"/>
                  </a:lnTo>
                  <a:lnTo>
                    <a:pt x="5" y="5"/>
                  </a:lnTo>
                  <a:lnTo>
                    <a:pt x="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0" name="Freeform 357"/>
            <p:cNvSpPr>
              <a:spLocks/>
            </p:cNvSpPr>
            <p:nvPr/>
          </p:nvSpPr>
          <p:spPr bwMode="auto">
            <a:xfrm>
              <a:off x="3248" y="2471"/>
              <a:ext cx="30" cy="21"/>
            </a:xfrm>
            <a:custGeom>
              <a:avLst/>
              <a:gdLst>
                <a:gd name="T0" fmla="*/ 23 w 32"/>
                <a:gd name="T1" fmla="*/ 11 h 25"/>
                <a:gd name="T2" fmla="*/ 19 w 32"/>
                <a:gd name="T3" fmla="*/ 0 h 25"/>
                <a:gd name="T4" fmla="*/ 8 w 32"/>
                <a:gd name="T5" fmla="*/ 1 h 25"/>
                <a:gd name="T6" fmla="*/ 0 w 32"/>
                <a:gd name="T7" fmla="*/ 6 h 25"/>
                <a:gd name="T8" fmla="*/ 13 w 32"/>
                <a:gd name="T9" fmla="*/ 11 h 25"/>
                <a:gd name="T10" fmla="*/ 23 w 32"/>
                <a:gd name="T11" fmla="*/ 11 h 25"/>
                <a:gd name="T12" fmla="*/ 23 w 32"/>
                <a:gd name="T13" fmla="*/ 11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25">
                  <a:moveTo>
                    <a:pt x="32" y="25"/>
                  </a:moveTo>
                  <a:lnTo>
                    <a:pt x="25" y="0"/>
                  </a:lnTo>
                  <a:lnTo>
                    <a:pt x="8" y="1"/>
                  </a:lnTo>
                  <a:lnTo>
                    <a:pt x="0" y="13"/>
                  </a:lnTo>
                  <a:lnTo>
                    <a:pt x="18" y="25"/>
                  </a:lnTo>
                  <a:lnTo>
                    <a:pt x="32" y="2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1" name="Freeform 358"/>
            <p:cNvSpPr>
              <a:spLocks/>
            </p:cNvSpPr>
            <p:nvPr/>
          </p:nvSpPr>
          <p:spPr bwMode="auto">
            <a:xfrm>
              <a:off x="3248" y="2471"/>
              <a:ext cx="30" cy="21"/>
            </a:xfrm>
            <a:custGeom>
              <a:avLst/>
              <a:gdLst>
                <a:gd name="T0" fmla="*/ 23 w 32"/>
                <a:gd name="T1" fmla="*/ 11 h 25"/>
                <a:gd name="T2" fmla="*/ 19 w 32"/>
                <a:gd name="T3" fmla="*/ 0 h 25"/>
                <a:gd name="T4" fmla="*/ 8 w 32"/>
                <a:gd name="T5" fmla="*/ 1 h 25"/>
                <a:gd name="T6" fmla="*/ 0 w 32"/>
                <a:gd name="T7" fmla="*/ 6 h 25"/>
                <a:gd name="T8" fmla="*/ 13 w 32"/>
                <a:gd name="T9" fmla="*/ 11 h 25"/>
                <a:gd name="T10" fmla="*/ 23 w 32"/>
                <a:gd name="T11" fmla="*/ 11 h 25"/>
                <a:gd name="T12" fmla="*/ 23 w 32"/>
                <a:gd name="T13" fmla="*/ 11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2" h="25">
                  <a:moveTo>
                    <a:pt x="32" y="25"/>
                  </a:moveTo>
                  <a:lnTo>
                    <a:pt x="25" y="0"/>
                  </a:lnTo>
                  <a:lnTo>
                    <a:pt x="8" y="1"/>
                  </a:lnTo>
                  <a:lnTo>
                    <a:pt x="0" y="13"/>
                  </a:lnTo>
                  <a:lnTo>
                    <a:pt x="18" y="25"/>
                  </a:lnTo>
                  <a:lnTo>
                    <a:pt x="32" y="2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2" name="Freeform 359"/>
            <p:cNvSpPr>
              <a:spLocks/>
            </p:cNvSpPr>
            <p:nvPr/>
          </p:nvSpPr>
          <p:spPr bwMode="auto">
            <a:xfrm>
              <a:off x="3145" y="2355"/>
              <a:ext cx="133" cy="137"/>
            </a:xfrm>
            <a:custGeom>
              <a:avLst/>
              <a:gdLst>
                <a:gd name="T0" fmla="*/ 74 w 152"/>
                <a:gd name="T1" fmla="*/ 57 h 164"/>
                <a:gd name="T2" fmla="*/ 78 w 152"/>
                <a:gd name="T3" fmla="*/ 52 h 164"/>
                <a:gd name="T4" fmla="*/ 71 w 152"/>
                <a:gd name="T5" fmla="*/ 41 h 164"/>
                <a:gd name="T6" fmla="*/ 68 w 152"/>
                <a:gd name="T7" fmla="*/ 32 h 164"/>
                <a:gd name="T8" fmla="*/ 56 w 152"/>
                <a:gd name="T9" fmla="*/ 29 h 164"/>
                <a:gd name="T10" fmla="*/ 53 w 152"/>
                <a:gd name="T11" fmla="*/ 23 h 164"/>
                <a:gd name="T12" fmla="*/ 59 w 152"/>
                <a:gd name="T13" fmla="*/ 13 h 164"/>
                <a:gd name="T14" fmla="*/ 50 w 152"/>
                <a:gd name="T15" fmla="*/ 10 h 164"/>
                <a:gd name="T16" fmla="*/ 46 w 152"/>
                <a:gd name="T17" fmla="*/ 7 h 164"/>
                <a:gd name="T18" fmla="*/ 40 w 152"/>
                <a:gd name="T19" fmla="*/ 0 h 164"/>
                <a:gd name="T20" fmla="*/ 32 w 152"/>
                <a:gd name="T21" fmla="*/ 0 h 164"/>
                <a:gd name="T22" fmla="*/ 17 w 152"/>
                <a:gd name="T23" fmla="*/ 4 h 164"/>
                <a:gd name="T24" fmla="*/ 19 w 152"/>
                <a:gd name="T25" fmla="*/ 10 h 164"/>
                <a:gd name="T26" fmla="*/ 14 w 152"/>
                <a:gd name="T27" fmla="*/ 20 h 164"/>
                <a:gd name="T28" fmla="*/ 4 w 152"/>
                <a:gd name="T29" fmla="*/ 28 h 164"/>
                <a:gd name="T30" fmla="*/ 0 w 152"/>
                <a:gd name="T31" fmla="*/ 33 h 164"/>
                <a:gd name="T32" fmla="*/ 4 w 152"/>
                <a:gd name="T33" fmla="*/ 43 h 164"/>
                <a:gd name="T34" fmla="*/ 18 w 152"/>
                <a:gd name="T35" fmla="*/ 41 h 164"/>
                <a:gd name="T36" fmla="*/ 35 w 152"/>
                <a:gd name="T37" fmla="*/ 55 h 164"/>
                <a:gd name="T38" fmla="*/ 34 w 152"/>
                <a:gd name="T39" fmla="*/ 58 h 164"/>
                <a:gd name="T40" fmla="*/ 44 w 152"/>
                <a:gd name="T41" fmla="*/ 66 h 164"/>
                <a:gd name="T42" fmla="*/ 59 w 152"/>
                <a:gd name="T43" fmla="*/ 62 h 164"/>
                <a:gd name="T44" fmla="*/ 63 w 152"/>
                <a:gd name="T45" fmla="*/ 62 h 164"/>
                <a:gd name="T46" fmla="*/ 65 w 152"/>
                <a:gd name="T47" fmla="*/ 58 h 164"/>
                <a:gd name="T48" fmla="*/ 71 w 152"/>
                <a:gd name="T49" fmla="*/ 57 h 164"/>
                <a:gd name="T50" fmla="*/ 74 w 152"/>
                <a:gd name="T51" fmla="*/ 57 h 164"/>
                <a:gd name="T52" fmla="*/ 74 w 152"/>
                <a:gd name="T53" fmla="*/ 57 h 16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2" h="164">
                  <a:moveTo>
                    <a:pt x="145" y="139"/>
                  </a:moveTo>
                  <a:lnTo>
                    <a:pt x="152" y="127"/>
                  </a:lnTo>
                  <a:lnTo>
                    <a:pt x="138" y="102"/>
                  </a:lnTo>
                  <a:lnTo>
                    <a:pt x="133" y="79"/>
                  </a:lnTo>
                  <a:lnTo>
                    <a:pt x="108" y="72"/>
                  </a:lnTo>
                  <a:lnTo>
                    <a:pt x="103" y="55"/>
                  </a:lnTo>
                  <a:lnTo>
                    <a:pt x="115" y="30"/>
                  </a:lnTo>
                  <a:lnTo>
                    <a:pt x="97" y="24"/>
                  </a:lnTo>
                  <a:lnTo>
                    <a:pt x="87" y="17"/>
                  </a:lnTo>
                  <a:lnTo>
                    <a:pt x="77" y="0"/>
                  </a:lnTo>
                  <a:lnTo>
                    <a:pt x="62" y="0"/>
                  </a:lnTo>
                  <a:lnTo>
                    <a:pt x="33" y="10"/>
                  </a:lnTo>
                  <a:lnTo>
                    <a:pt x="37" y="24"/>
                  </a:lnTo>
                  <a:lnTo>
                    <a:pt x="27" y="50"/>
                  </a:lnTo>
                  <a:lnTo>
                    <a:pt x="5" y="67"/>
                  </a:lnTo>
                  <a:lnTo>
                    <a:pt x="0" y="84"/>
                  </a:lnTo>
                  <a:lnTo>
                    <a:pt x="7" y="104"/>
                  </a:lnTo>
                  <a:lnTo>
                    <a:pt x="35" y="102"/>
                  </a:lnTo>
                  <a:lnTo>
                    <a:pt x="67" y="134"/>
                  </a:lnTo>
                  <a:lnTo>
                    <a:pt x="65" y="140"/>
                  </a:lnTo>
                  <a:lnTo>
                    <a:pt x="85" y="164"/>
                  </a:lnTo>
                  <a:lnTo>
                    <a:pt x="113" y="152"/>
                  </a:lnTo>
                  <a:lnTo>
                    <a:pt x="122" y="152"/>
                  </a:lnTo>
                  <a:lnTo>
                    <a:pt x="127" y="140"/>
                  </a:lnTo>
                  <a:lnTo>
                    <a:pt x="138" y="139"/>
                  </a:lnTo>
                  <a:lnTo>
                    <a:pt x="145" y="139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3" name="Freeform 360"/>
            <p:cNvSpPr>
              <a:spLocks/>
            </p:cNvSpPr>
            <p:nvPr/>
          </p:nvSpPr>
          <p:spPr bwMode="auto">
            <a:xfrm>
              <a:off x="3145" y="2355"/>
              <a:ext cx="133" cy="137"/>
            </a:xfrm>
            <a:custGeom>
              <a:avLst/>
              <a:gdLst>
                <a:gd name="T0" fmla="*/ 74 w 152"/>
                <a:gd name="T1" fmla="*/ 57 h 164"/>
                <a:gd name="T2" fmla="*/ 78 w 152"/>
                <a:gd name="T3" fmla="*/ 52 h 164"/>
                <a:gd name="T4" fmla="*/ 71 w 152"/>
                <a:gd name="T5" fmla="*/ 41 h 164"/>
                <a:gd name="T6" fmla="*/ 68 w 152"/>
                <a:gd name="T7" fmla="*/ 32 h 164"/>
                <a:gd name="T8" fmla="*/ 56 w 152"/>
                <a:gd name="T9" fmla="*/ 29 h 164"/>
                <a:gd name="T10" fmla="*/ 53 w 152"/>
                <a:gd name="T11" fmla="*/ 23 h 164"/>
                <a:gd name="T12" fmla="*/ 59 w 152"/>
                <a:gd name="T13" fmla="*/ 13 h 164"/>
                <a:gd name="T14" fmla="*/ 50 w 152"/>
                <a:gd name="T15" fmla="*/ 10 h 164"/>
                <a:gd name="T16" fmla="*/ 46 w 152"/>
                <a:gd name="T17" fmla="*/ 7 h 164"/>
                <a:gd name="T18" fmla="*/ 40 w 152"/>
                <a:gd name="T19" fmla="*/ 0 h 164"/>
                <a:gd name="T20" fmla="*/ 32 w 152"/>
                <a:gd name="T21" fmla="*/ 0 h 164"/>
                <a:gd name="T22" fmla="*/ 17 w 152"/>
                <a:gd name="T23" fmla="*/ 4 h 164"/>
                <a:gd name="T24" fmla="*/ 19 w 152"/>
                <a:gd name="T25" fmla="*/ 10 h 164"/>
                <a:gd name="T26" fmla="*/ 14 w 152"/>
                <a:gd name="T27" fmla="*/ 20 h 164"/>
                <a:gd name="T28" fmla="*/ 4 w 152"/>
                <a:gd name="T29" fmla="*/ 28 h 164"/>
                <a:gd name="T30" fmla="*/ 0 w 152"/>
                <a:gd name="T31" fmla="*/ 33 h 164"/>
                <a:gd name="T32" fmla="*/ 4 w 152"/>
                <a:gd name="T33" fmla="*/ 43 h 164"/>
                <a:gd name="T34" fmla="*/ 18 w 152"/>
                <a:gd name="T35" fmla="*/ 41 h 164"/>
                <a:gd name="T36" fmla="*/ 35 w 152"/>
                <a:gd name="T37" fmla="*/ 55 h 164"/>
                <a:gd name="T38" fmla="*/ 34 w 152"/>
                <a:gd name="T39" fmla="*/ 58 h 164"/>
                <a:gd name="T40" fmla="*/ 44 w 152"/>
                <a:gd name="T41" fmla="*/ 66 h 164"/>
                <a:gd name="T42" fmla="*/ 59 w 152"/>
                <a:gd name="T43" fmla="*/ 62 h 164"/>
                <a:gd name="T44" fmla="*/ 63 w 152"/>
                <a:gd name="T45" fmla="*/ 62 h 164"/>
                <a:gd name="T46" fmla="*/ 65 w 152"/>
                <a:gd name="T47" fmla="*/ 58 h 164"/>
                <a:gd name="T48" fmla="*/ 71 w 152"/>
                <a:gd name="T49" fmla="*/ 57 h 164"/>
                <a:gd name="T50" fmla="*/ 74 w 152"/>
                <a:gd name="T51" fmla="*/ 57 h 164"/>
                <a:gd name="T52" fmla="*/ 74 w 152"/>
                <a:gd name="T53" fmla="*/ 57 h 16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52" h="164">
                  <a:moveTo>
                    <a:pt x="145" y="139"/>
                  </a:moveTo>
                  <a:lnTo>
                    <a:pt x="152" y="127"/>
                  </a:lnTo>
                  <a:lnTo>
                    <a:pt x="138" y="102"/>
                  </a:lnTo>
                  <a:lnTo>
                    <a:pt x="133" y="79"/>
                  </a:lnTo>
                  <a:lnTo>
                    <a:pt x="108" y="72"/>
                  </a:lnTo>
                  <a:lnTo>
                    <a:pt x="103" y="55"/>
                  </a:lnTo>
                  <a:lnTo>
                    <a:pt x="115" y="30"/>
                  </a:lnTo>
                  <a:lnTo>
                    <a:pt x="97" y="24"/>
                  </a:lnTo>
                  <a:lnTo>
                    <a:pt x="87" y="17"/>
                  </a:lnTo>
                  <a:lnTo>
                    <a:pt x="77" y="0"/>
                  </a:lnTo>
                  <a:lnTo>
                    <a:pt x="62" y="0"/>
                  </a:lnTo>
                  <a:lnTo>
                    <a:pt x="33" y="10"/>
                  </a:lnTo>
                  <a:lnTo>
                    <a:pt x="37" y="24"/>
                  </a:lnTo>
                  <a:lnTo>
                    <a:pt x="27" y="50"/>
                  </a:lnTo>
                  <a:lnTo>
                    <a:pt x="5" y="67"/>
                  </a:lnTo>
                  <a:lnTo>
                    <a:pt x="0" y="84"/>
                  </a:lnTo>
                  <a:lnTo>
                    <a:pt x="7" y="104"/>
                  </a:lnTo>
                  <a:lnTo>
                    <a:pt x="35" y="102"/>
                  </a:lnTo>
                  <a:lnTo>
                    <a:pt x="67" y="134"/>
                  </a:lnTo>
                  <a:lnTo>
                    <a:pt x="65" y="140"/>
                  </a:lnTo>
                  <a:lnTo>
                    <a:pt x="85" y="164"/>
                  </a:lnTo>
                  <a:lnTo>
                    <a:pt x="113" y="152"/>
                  </a:lnTo>
                  <a:lnTo>
                    <a:pt x="122" y="152"/>
                  </a:lnTo>
                  <a:lnTo>
                    <a:pt x="127" y="140"/>
                  </a:lnTo>
                  <a:lnTo>
                    <a:pt x="138" y="139"/>
                  </a:lnTo>
                  <a:lnTo>
                    <a:pt x="145" y="139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4" name="Freeform 361"/>
            <p:cNvSpPr>
              <a:spLocks/>
            </p:cNvSpPr>
            <p:nvPr/>
          </p:nvSpPr>
          <p:spPr bwMode="auto">
            <a:xfrm>
              <a:off x="3081" y="2423"/>
              <a:ext cx="71" cy="59"/>
            </a:xfrm>
            <a:custGeom>
              <a:avLst/>
              <a:gdLst>
                <a:gd name="T0" fmla="*/ 36 w 81"/>
                <a:gd name="T1" fmla="*/ 3 h 70"/>
                <a:gd name="T2" fmla="*/ 30 w 81"/>
                <a:gd name="T3" fmla="*/ 3 h 70"/>
                <a:gd name="T4" fmla="*/ 26 w 81"/>
                <a:gd name="T5" fmla="*/ 3 h 70"/>
                <a:gd name="T6" fmla="*/ 16 w 81"/>
                <a:gd name="T7" fmla="*/ 3 h 70"/>
                <a:gd name="T8" fmla="*/ 5 w 81"/>
                <a:gd name="T9" fmla="*/ 0 h 70"/>
                <a:gd name="T10" fmla="*/ 4 w 81"/>
                <a:gd name="T11" fmla="*/ 7 h 70"/>
                <a:gd name="T12" fmla="*/ 6 w 81"/>
                <a:gd name="T13" fmla="*/ 16 h 70"/>
                <a:gd name="T14" fmla="*/ 4 w 81"/>
                <a:gd name="T15" fmla="*/ 19 h 70"/>
                <a:gd name="T16" fmla="*/ 0 w 81"/>
                <a:gd name="T17" fmla="*/ 22 h 70"/>
                <a:gd name="T18" fmla="*/ 4 w 81"/>
                <a:gd name="T19" fmla="*/ 27 h 70"/>
                <a:gd name="T20" fmla="*/ 11 w 81"/>
                <a:gd name="T21" fmla="*/ 29 h 70"/>
                <a:gd name="T22" fmla="*/ 18 w 81"/>
                <a:gd name="T23" fmla="*/ 30 h 70"/>
                <a:gd name="T24" fmla="*/ 24 w 81"/>
                <a:gd name="T25" fmla="*/ 27 h 70"/>
                <a:gd name="T26" fmla="*/ 34 w 81"/>
                <a:gd name="T27" fmla="*/ 27 h 70"/>
                <a:gd name="T28" fmla="*/ 36 w 81"/>
                <a:gd name="T29" fmla="*/ 19 h 70"/>
                <a:gd name="T30" fmla="*/ 25 w 81"/>
                <a:gd name="T31" fmla="*/ 17 h 70"/>
                <a:gd name="T32" fmla="*/ 25 w 81"/>
                <a:gd name="T33" fmla="*/ 11 h 70"/>
                <a:gd name="T34" fmla="*/ 35 w 81"/>
                <a:gd name="T35" fmla="*/ 11 h 70"/>
                <a:gd name="T36" fmla="*/ 41 w 81"/>
                <a:gd name="T37" fmla="*/ 9 h 70"/>
                <a:gd name="T38" fmla="*/ 36 w 81"/>
                <a:gd name="T39" fmla="*/ 3 h 70"/>
                <a:gd name="T40" fmla="*/ 36 w 81"/>
                <a:gd name="T41" fmla="*/ 3 h 7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1" h="70">
                  <a:moveTo>
                    <a:pt x="71" y="3"/>
                  </a:moveTo>
                  <a:lnTo>
                    <a:pt x="58" y="3"/>
                  </a:lnTo>
                  <a:lnTo>
                    <a:pt x="50" y="8"/>
                  </a:lnTo>
                  <a:lnTo>
                    <a:pt x="30" y="8"/>
                  </a:lnTo>
                  <a:lnTo>
                    <a:pt x="10" y="0"/>
                  </a:lnTo>
                  <a:lnTo>
                    <a:pt x="6" y="15"/>
                  </a:lnTo>
                  <a:lnTo>
                    <a:pt x="11" y="38"/>
                  </a:lnTo>
                  <a:lnTo>
                    <a:pt x="5" y="45"/>
                  </a:lnTo>
                  <a:lnTo>
                    <a:pt x="0" y="52"/>
                  </a:lnTo>
                  <a:lnTo>
                    <a:pt x="5" y="63"/>
                  </a:lnTo>
                  <a:lnTo>
                    <a:pt x="20" y="68"/>
                  </a:lnTo>
                  <a:lnTo>
                    <a:pt x="35" y="70"/>
                  </a:lnTo>
                  <a:lnTo>
                    <a:pt x="46" y="63"/>
                  </a:lnTo>
                  <a:lnTo>
                    <a:pt x="66" y="63"/>
                  </a:lnTo>
                  <a:lnTo>
                    <a:pt x="71" y="45"/>
                  </a:lnTo>
                  <a:lnTo>
                    <a:pt x="48" y="40"/>
                  </a:lnTo>
                  <a:lnTo>
                    <a:pt x="48" y="27"/>
                  </a:lnTo>
                  <a:lnTo>
                    <a:pt x="68" y="25"/>
                  </a:lnTo>
                  <a:lnTo>
                    <a:pt x="81" y="22"/>
                  </a:lnTo>
                  <a:lnTo>
                    <a:pt x="71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5" name="Freeform 362"/>
            <p:cNvSpPr>
              <a:spLocks/>
            </p:cNvSpPr>
            <p:nvPr/>
          </p:nvSpPr>
          <p:spPr bwMode="auto">
            <a:xfrm>
              <a:off x="3081" y="2423"/>
              <a:ext cx="71" cy="59"/>
            </a:xfrm>
            <a:custGeom>
              <a:avLst/>
              <a:gdLst>
                <a:gd name="T0" fmla="*/ 36 w 81"/>
                <a:gd name="T1" fmla="*/ 3 h 70"/>
                <a:gd name="T2" fmla="*/ 30 w 81"/>
                <a:gd name="T3" fmla="*/ 3 h 70"/>
                <a:gd name="T4" fmla="*/ 26 w 81"/>
                <a:gd name="T5" fmla="*/ 3 h 70"/>
                <a:gd name="T6" fmla="*/ 16 w 81"/>
                <a:gd name="T7" fmla="*/ 3 h 70"/>
                <a:gd name="T8" fmla="*/ 5 w 81"/>
                <a:gd name="T9" fmla="*/ 0 h 70"/>
                <a:gd name="T10" fmla="*/ 4 w 81"/>
                <a:gd name="T11" fmla="*/ 7 h 70"/>
                <a:gd name="T12" fmla="*/ 6 w 81"/>
                <a:gd name="T13" fmla="*/ 16 h 70"/>
                <a:gd name="T14" fmla="*/ 4 w 81"/>
                <a:gd name="T15" fmla="*/ 19 h 70"/>
                <a:gd name="T16" fmla="*/ 0 w 81"/>
                <a:gd name="T17" fmla="*/ 22 h 70"/>
                <a:gd name="T18" fmla="*/ 4 w 81"/>
                <a:gd name="T19" fmla="*/ 27 h 70"/>
                <a:gd name="T20" fmla="*/ 11 w 81"/>
                <a:gd name="T21" fmla="*/ 29 h 70"/>
                <a:gd name="T22" fmla="*/ 18 w 81"/>
                <a:gd name="T23" fmla="*/ 30 h 70"/>
                <a:gd name="T24" fmla="*/ 24 w 81"/>
                <a:gd name="T25" fmla="*/ 27 h 70"/>
                <a:gd name="T26" fmla="*/ 34 w 81"/>
                <a:gd name="T27" fmla="*/ 27 h 70"/>
                <a:gd name="T28" fmla="*/ 36 w 81"/>
                <a:gd name="T29" fmla="*/ 19 h 70"/>
                <a:gd name="T30" fmla="*/ 25 w 81"/>
                <a:gd name="T31" fmla="*/ 17 h 70"/>
                <a:gd name="T32" fmla="*/ 25 w 81"/>
                <a:gd name="T33" fmla="*/ 11 h 70"/>
                <a:gd name="T34" fmla="*/ 35 w 81"/>
                <a:gd name="T35" fmla="*/ 11 h 70"/>
                <a:gd name="T36" fmla="*/ 41 w 81"/>
                <a:gd name="T37" fmla="*/ 9 h 70"/>
                <a:gd name="T38" fmla="*/ 36 w 81"/>
                <a:gd name="T39" fmla="*/ 3 h 70"/>
                <a:gd name="T40" fmla="*/ 36 w 81"/>
                <a:gd name="T41" fmla="*/ 3 h 7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1" h="70">
                  <a:moveTo>
                    <a:pt x="71" y="3"/>
                  </a:moveTo>
                  <a:lnTo>
                    <a:pt x="58" y="3"/>
                  </a:lnTo>
                  <a:lnTo>
                    <a:pt x="50" y="8"/>
                  </a:lnTo>
                  <a:lnTo>
                    <a:pt x="30" y="8"/>
                  </a:lnTo>
                  <a:lnTo>
                    <a:pt x="10" y="0"/>
                  </a:lnTo>
                  <a:lnTo>
                    <a:pt x="6" y="15"/>
                  </a:lnTo>
                  <a:lnTo>
                    <a:pt x="11" y="38"/>
                  </a:lnTo>
                  <a:lnTo>
                    <a:pt x="5" y="45"/>
                  </a:lnTo>
                  <a:lnTo>
                    <a:pt x="0" y="52"/>
                  </a:lnTo>
                  <a:lnTo>
                    <a:pt x="5" y="63"/>
                  </a:lnTo>
                  <a:lnTo>
                    <a:pt x="20" y="68"/>
                  </a:lnTo>
                  <a:lnTo>
                    <a:pt x="35" y="70"/>
                  </a:lnTo>
                  <a:lnTo>
                    <a:pt x="46" y="63"/>
                  </a:lnTo>
                  <a:lnTo>
                    <a:pt x="66" y="63"/>
                  </a:lnTo>
                  <a:lnTo>
                    <a:pt x="71" y="45"/>
                  </a:lnTo>
                  <a:lnTo>
                    <a:pt x="48" y="40"/>
                  </a:lnTo>
                  <a:lnTo>
                    <a:pt x="48" y="27"/>
                  </a:lnTo>
                  <a:lnTo>
                    <a:pt x="68" y="25"/>
                  </a:lnTo>
                  <a:lnTo>
                    <a:pt x="81" y="22"/>
                  </a:lnTo>
                  <a:lnTo>
                    <a:pt x="71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6" name="Freeform 363"/>
            <p:cNvSpPr>
              <a:spLocks/>
            </p:cNvSpPr>
            <p:nvPr/>
          </p:nvSpPr>
          <p:spPr bwMode="auto">
            <a:xfrm>
              <a:off x="3075" y="2419"/>
              <a:ext cx="22" cy="47"/>
            </a:xfrm>
            <a:custGeom>
              <a:avLst/>
              <a:gdLst>
                <a:gd name="T0" fmla="*/ 22 w 22"/>
                <a:gd name="T1" fmla="*/ 2 h 57"/>
                <a:gd name="T2" fmla="*/ 12 w 22"/>
                <a:gd name="T3" fmla="*/ 0 h 57"/>
                <a:gd name="T4" fmla="*/ 3 w 22"/>
                <a:gd name="T5" fmla="*/ 10 h 57"/>
                <a:gd name="T6" fmla="*/ 5 w 22"/>
                <a:gd name="T7" fmla="*/ 14 h 57"/>
                <a:gd name="T8" fmla="*/ 0 w 22"/>
                <a:gd name="T9" fmla="*/ 17 h 57"/>
                <a:gd name="T10" fmla="*/ 7 w 22"/>
                <a:gd name="T11" fmla="*/ 21 h 57"/>
                <a:gd name="T12" fmla="*/ 18 w 22"/>
                <a:gd name="T13" fmla="*/ 17 h 57"/>
                <a:gd name="T14" fmla="*/ 18 w 22"/>
                <a:gd name="T15" fmla="*/ 14 h 57"/>
                <a:gd name="T16" fmla="*/ 15 w 22"/>
                <a:gd name="T17" fmla="*/ 7 h 57"/>
                <a:gd name="T18" fmla="*/ 18 w 22"/>
                <a:gd name="T19" fmla="*/ 4 h 57"/>
                <a:gd name="T20" fmla="*/ 22 w 22"/>
                <a:gd name="T21" fmla="*/ 2 h 57"/>
                <a:gd name="T22" fmla="*/ 22 w 22"/>
                <a:gd name="T23" fmla="*/ 2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" h="57">
                  <a:moveTo>
                    <a:pt x="22" y="7"/>
                  </a:moveTo>
                  <a:lnTo>
                    <a:pt x="12" y="0"/>
                  </a:lnTo>
                  <a:lnTo>
                    <a:pt x="3" y="27"/>
                  </a:lnTo>
                  <a:lnTo>
                    <a:pt x="5" y="38"/>
                  </a:lnTo>
                  <a:lnTo>
                    <a:pt x="0" y="47"/>
                  </a:lnTo>
                  <a:lnTo>
                    <a:pt x="7" y="57"/>
                  </a:lnTo>
                  <a:lnTo>
                    <a:pt x="18" y="45"/>
                  </a:lnTo>
                  <a:lnTo>
                    <a:pt x="18" y="38"/>
                  </a:lnTo>
                  <a:lnTo>
                    <a:pt x="15" y="20"/>
                  </a:lnTo>
                  <a:lnTo>
                    <a:pt x="18" y="10"/>
                  </a:lnTo>
                  <a:lnTo>
                    <a:pt x="22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7" name="Freeform 364"/>
            <p:cNvSpPr>
              <a:spLocks/>
            </p:cNvSpPr>
            <p:nvPr/>
          </p:nvSpPr>
          <p:spPr bwMode="auto">
            <a:xfrm>
              <a:off x="3075" y="2419"/>
              <a:ext cx="22" cy="47"/>
            </a:xfrm>
            <a:custGeom>
              <a:avLst/>
              <a:gdLst>
                <a:gd name="T0" fmla="*/ 22 w 22"/>
                <a:gd name="T1" fmla="*/ 2 h 57"/>
                <a:gd name="T2" fmla="*/ 12 w 22"/>
                <a:gd name="T3" fmla="*/ 0 h 57"/>
                <a:gd name="T4" fmla="*/ 3 w 22"/>
                <a:gd name="T5" fmla="*/ 10 h 57"/>
                <a:gd name="T6" fmla="*/ 5 w 22"/>
                <a:gd name="T7" fmla="*/ 14 h 57"/>
                <a:gd name="T8" fmla="*/ 0 w 22"/>
                <a:gd name="T9" fmla="*/ 17 h 57"/>
                <a:gd name="T10" fmla="*/ 7 w 22"/>
                <a:gd name="T11" fmla="*/ 21 h 57"/>
                <a:gd name="T12" fmla="*/ 18 w 22"/>
                <a:gd name="T13" fmla="*/ 17 h 57"/>
                <a:gd name="T14" fmla="*/ 18 w 22"/>
                <a:gd name="T15" fmla="*/ 14 h 57"/>
                <a:gd name="T16" fmla="*/ 15 w 22"/>
                <a:gd name="T17" fmla="*/ 7 h 57"/>
                <a:gd name="T18" fmla="*/ 18 w 22"/>
                <a:gd name="T19" fmla="*/ 4 h 57"/>
                <a:gd name="T20" fmla="*/ 22 w 22"/>
                <a:gd name="T21" fmla="*/ 2 h 57"/>
                <a:gd name="T22" fmla="*/ 22 w 22"/>
                <a:gd name="T23" fmla="*/ 2 h 5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2" h="57">
                  <a:moveTo>
                    <a:pt x="22" y="7"/>
                  </a:moveTo>
                  <a:lnTo>
                    <a:pt x="12" y="0"/>
                  </a:lnTo>
                  <a:lnTo>
                    <a:pt x="3" y="27"/>
                  </a:lnTo>
                  <a:lnTo>
                    <a:pt x="5" y="38"/>
                  </a:lnTo>
                  <a:lnTo>
                    <a:pt x="0" y="47"/>
                  </a:lnTo>
                  <a:lnTo>
                    <a:pt x="7" y="57"/>
                  </a:lnTo>
                  <a:lnTo>
                    <a:pt x="18" y="45"/>
                  </a:lnTo>
                  <a:lnTo>
                    <a:pt x="18" y="38"/>
                  </a:lnTo>
                  <a:lnTo>
                    <a:pt x="15" y="20"/>
                  </a:lnTo>
                  <a:lnTo>
                    <a:pt x="18" y="10"/>
                  </a:lnTo>
                  <a:lnTo>
                    <a:pt x="22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8" name="Freeform 365"/>
            <p:cNvSpPr>
              <a:spLocks/>
            </p:cNvSpPr>
            <p:nvPr/>
          </p:nvSpPr>
          <p:spPr bwMode="auto">
            <a:xfrm>
              <a:off x="3087" y="2393"/>
              <a:ext cx="23" cy="32"/>
            </a:xfrm>
            <a:custGeom>
              <a:avLst/>
              <a:gdLst>
                <a:gd name="T0" fmla="*/ 0 w 25"/>
                <a:gd name="T1" fmla="*/ 13 h 38"/>
                <a:gd name="T2" fmla="*/ 6 w 25"/>
                <a:gd name="T3" fmla="*/ 8 h 38"/>
                <a:gd name="T4" fmla="*/ 8 w 25"/>
                <a:gd name="T5" fmla="*/ 0 h 38"/>
                <a:gd name="T6" fmla="*/ 16 w 25"/>
                <a:gd name="T7" fmla="*/ 3 h 38"/>
                <a:gd name="T8" fmla="*/ 13 w 25"/>
                <a:gd name="T9" fmla="*/ 8 h 38"/>
                <a:gd name="T10" fmla="*/ 8 w 25"/>
                <a:gd name="T11" fmla="*/ 16 h 38"/>
                <a:gd name="T12" fmla="*/ 0 w 25"/>
                <a:gd name="T13" fmla="*/ 13 h 38"/>
                <a:gd name="T14" fmla="*/ 0 w 25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5" h="38">
                  <a:moveTo>
                    <a:pt x="0" y="32"/>
                  </a:moveTo>
                  <a:lnTo>
                    <a:pt x="6" y="18"/>
                  </a:lnTo>
                  <a:lnTo>
                    <a:pt x="13" y="0"/>
                  </a:lnTo>
                  <a:lnTo>
                    <a:pt x="25" y="7"/>
                  </a:lnTo>
                  <a:lnTo>
                    <a:pt x="18" y="18"/>
                  </a:lnTo>
                  <a:lnTo>
                    <a:pt x="13" y="38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9" name="Freeform 366"/>
            <p:cNvSpPr>
              <a:spLocks/>
            </p:cNvSpPr>
            <p:nvPr/>
          </p:nvSpPr>
          <p:spPr bwMode="auto">
            <a:xfrm>
              <a:off x="3087" y="2393"/>
              <a:ext cx="23" cy="32"/>
            </a:xfrm>
            <a:custGeom>
              <a:avLst/>
              <a:gdLst>
                <a:gd name="T0" fmla="*/ 0 w 25"/>
                <a:gd name="T1" fmla="*/ 13 h 38"/>
                <a:gd name="T2" fmla="*/ 6 w 25"/>
                <a:gd name="T3" fmla="*/ 8 h 38"/>
                <a:gd name="T4" fmla="*/ 8 w 25"/>
                <a:gd name="T5" fmla="*/ 0 h 38"/>
                <a:gd name="T6" fmla="*/ 16 w 25"/>
                <a:gd name="T7" fmla="*/ 3 h 38"/>
                <a:gd name="T8" fmla="*/ 13 w 25"/>
                <a:gd name="T9" fmla="*/ 8 h 38"/>
                <a:gd name="T10" fmla="*/ 8 w 25"/>
                <a:gd name="T11" fmla="*/ 16 h 38"/>
                <a:gd name="T12" fmla="*/ 0 w 25"/>
                <a:gd name="T13" fmla="*/ 13 h 38"/>
                <a:gd name="T14" fmla="*/ 0 w 25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5" h="38">
                  <a:moveTo>
                    <a:pt x="0" y="32"/>
                  </a:moveTo>
                  <a:lnTo>
                    <a:pt x="6" y="18"/>
                  </a:lnTo>
                  <a:lnTo>
                    <a:pt x="13" y="0"/>
                  </a:lnTo>
                  <a:lnTo>
                    <a:pt x="25" y="7"/>
                  </a:lnTo>
                  <a:lnTo>
                    <a:pt x="18" y="18"/>
                  </a:lnTo>
                  <a:lnTo>
                    <a:pt x="13" y="38"/>
                  </a:lnTo>
                  <a:lnTo>
                    <a:pt x="0" y="3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0" name="Freeform 367"/>
            <p:cNvSpPr>
              <a:spLocks/>
            </p:cNvSpPr>
            <p:nvPr/>
          </p:nvSpPr>
          <p:spPr bwMode="auto">
            <a:xfrm>
              <a:off x="3094" y="2359"/>
              <a:ext cx="82" cy="71"/>
            </a:xfrm>
            <a:custGeom>
              <a:avLst/>
              <a:gdLst>
                <a:gd name="T0" fmla="*/ 0 w 95"/>
                <a:gd name="T1" fmla="*/ 32 h 85"/>
                <a:gd name="T2" fmla="*/ 8 w 95"/>
                <a:gd name="T3" fmla="*/ 34 h 85"/>
                <a:gd name="T4" fmla="*/ 16 w 95"/>
                <a:gd name="T5" fmla="*/ 34 h 85"/>
                <a:gd name="T6" fmla="*/ 21 w 95"/>
                <a:gd name="T7" fmla="*/ 33 h 85"/>
                <a:gd name="T8" fmla="*/ 28 w 95"/>
                <a:gd name="T9" fmla="*/ 33 h 85"/>
                <a:gd name="T10" fmla="*/ 30 w 95"/>
                <a:gd name="T11" fmla="*/ 24 h 85"/>
                <a:gd name="T12" fmla="*/ 43 w 95"/>
                <a:gd name="T13" fmla="*/ 17 h 85"/>
                <a:gd name="T14" fmla="*/ 46 w 95"/>
                <a:gd name="T15" fmla="*/ 8 h 85"/>
                <a:gd name="T16" fmla="*/ 46 w 95"/>
                <a:gd name="T17" fmla="*/ 3 h 85"/>
                <a:gd name="T18" fmla="*/ 43 w 95"/>
                <a:gd name="T19" fmla="*/ 3 h 85"/>
                <a:gd name="T20" fmla="*/ 36 w 95"/>
                <a:gd name="T21" fmla="*/ 2 h 85"/>
                <a:gd name="T22" fmla="*/ 33 w 95"/>
                <a:gd name="T23" fmla="*/ 3 h 85"/>
                <a:gd name="T24" fmla="*/ 26 w 95"/>
                <a:gd name="T25" fmla="*/ 3 h 85"/>
                <a:gd name="T26" fmla="*/ 22 w 95"/>
                <a:gd name="T27" fmla="*/ 0 h 85"/>
                <a:gd name="T28" fmla="*/ 16 w 95"/>
                <a:gd name="T29" fmla="*/ 2 h 85"/>
                <a:gd name="T30" fmla="*/ 10 w 95"/>
                <a:gd name="T31" fmla="*/ 3 h 85"/>
                <a:gd name="T32" fmla="*/ 5 w 95"/>
                <a:gd name="T33" fmla="*/ 8 h 85"/>
                <a:gd name="T34" fmla="*/ 3 w 95"/>
                <a:gd name="T35" fmla="*/ 17 h 85"/>
                <a:gd name="T36" fmla="*/ 6 w 95"/>
                <a:gd name="T37" fmla="*/ 19 h 85"/>
                <a:gd name="T38" fmla="*/ 8 w 95"/>
                <a:gd name="T39" fmla="*/ 20 h 85"/>
                <a:gd name="T40" fmla="*/ 5 w 95"/>
                <a:gd name="T41" fmla="*/ 24 h 85"/>
                <a:gd name="T42" fmla="*/ 0 w 95"/>
                <a:gd name="T43" fmla="*/ 32 h 85"/>
                <a:gd name="T44" fmla="*/ 0 w 95"/>
                <a:gd name="T45" fmla="*/ 32 h 8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95" h="85">
                  <a:moveTo>
                    <a:pt x="0" y="79"/>
                  </a:moveTo>
                  <a:lnTo>
                    <a:pt x="17" y="85"/>
                  </a:lnTo>
                  <a:lnTo>
                    <a:pt x="35" y="85"/>
                  </a:lnTo>
                  <a:lnTo>
                    <a:pt x="43" y="82"/>
                  </a:lnTo>
                  <a:lnTo>
                    <a:pt x="58" y="80"/>
                  </a:lnTo>
                  <a:lnTo>
                    <a:pt x="65" y="60"/>
                  </a:lnTo>
                  <a:lnTo>
                    <a:pt x="90" y="42"/>
                  </a:lnTo>
                  <a:lnTo>
                    <a:pt x="95" y="19"/>
                  </a:lnTo>
                  <a:lnTo>
                    <a:pt x="95" y="7"/>
                  </a:lnTo>
                  <a:lnTo>
                    <a:pt x="90" y="5"/>
                  </a:lnTo>
                  <a:lnTo>
                    <a:pt x="77" y="2"/>
                  </a:lnTo>
                  <a:lnTo>
                    <a:pt x="68" y="7"/>
                  </a:lnTo>
                  <a:lnTo>
                    <a:pt x="53" y="5"/>
                  </a:lnTo>
                  <a:lnTo>
                    <a:pt x="47" y="0"/>
                  </a:lnTo>
                  <a:lnTo>
                    <a:pt x="35" y="2"/>
                  </a:lnTo>
                  <a:lnTo>
                    <a:pt x="22" y="7"/>
                  </a:lnTo>
                  <a:lnTo>
                    <a:pt x="10" y="19"/>
                  </a:lnTo>
                  <a:lnTo>
                    <a:pt x="3" y="42"/>
                  </a:lnTo>
                  <a:lnTo>
                    <a:pt x="12" y="45"/>
                  </a:lnTo>
                  <a:lnTo>
                    <a:pt x="17" y="50"/>
                  </a:lnTo>
                  <a:lnTo>
                    <a:pt x="10" y="6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1" name="Freeform 368"/>
            <p:cNvSpPr>
              <a:spLocks/>
            </p:cNvSpPr>
            <p:nvPr/>
          </p:nvSpPr>
          <p:spPr bwMode="auto">
            <a:xfrm>
              <a:off x="3094" y="2359"/>
              <a:ext cx="82" cy="71"/>
            </a:xfrm>
            <a:custGeom>
              <a:avLst/>
              <a:gdLst>
                <a:gd name="T0" fmla="*/ 0 w 95"/>
                <a:gd name="T1" fmla="*/ 32 h 85"/>
                <a:gd name="T2" fmla="*/ 8 w 95"/>
                <a:gd name="T3" fmla="*/ 34 h 85"/>
                <a:gd name="T4" fmla="*/ 16 w 95"/>
                <a:gd name="T5" fmla="*/ 34 h 85"/>
                <a:gd name="T6" fmla="*/ 21 w 95"/>
                <a:gd name="T7" fmla="*/ 33 h 85"/>
                <a:gd name="T8" fmla="*/ 28 w 95"/>
                <a:gd name="T9" fmla="*/ 33 h 85"/>
                <a:gd name="T10" fmla="*/ 30 w 95"/>
                <a:gd name="T11" fmla="*/ 24 h 85"/>
                <a:gd name="T12" fmla="*/ 43 w 95"/>
                <a:gd name="T13" fmla="*/ 17 h 85"/>
                <a:gd name="T14" fmla="*/ 46 w 95"/>
                <a:gd name="T15" fmla="*/ 8 h 85"/>
                <a:gd name="T16" fmla="*/ 46 w 95"/>
                <a:gd name="T17" fmla="*/ 3 h 85"/>
                <a:gd name="T18" fmla="*/ 43 w 95"/>
                <a:gd name="T19" fmla="*/ 3 h 85"/>
                <a:gd name="T20" fmla="*/ 36 w 95"/>
                <a:gd name="T21" fmla="*/ 2 h 85"/>
                <a:gd name="T22" fmla="*/ 33 w 95"/>
                <a:gd name="T23" fmla="*/ 3 h 85"/>
                <a:gd name="T24" fmla="*/ 26 w 95"/>
                <a:gd name="T25" fmla="*/ 3 h 85"/>
                <a:gd name="T26" fmla="*/ 22 w 95"/>
                <a:gd name="T27" fmla="*/ 0 h 85"/>
                <a:gd name="T28" fmla="*/ 16 w 95"/>
                <a:gd name="T29" fmla="*/ 2 h 85"/>
                <a:gd name="T30" fmla="*/ 10 w 95"/>
                <a:gd name="T31" fmla="*/ 3 h 85"/>
                <a:gd name="T32" fmla="*/ 5 w 95"/>
                <a:gd name="T33" fmla="*/ 8 h 85"/>
                <a:gd name="T34" fmla="*/ 3 w 95"/>
                <a:gd name="T35" fmla="*/ 17 h 85"/>
                <a:gd name="T36" fmla="*/ 6 w 95"/>
                <a:gd name="T37" fmla="*/ 19 h 85"/>
                <a:gd name="T38" fmla="*/ 8 w 95"/>
                <a:gd name="T39" fmla="*/ 20 h 85"/>
                <a:gd name="T40" fmla="*/ 5 w 95"/>
                <a:gd name="T41" fmla="*/ 24 h 85"/>
                <a:gd name="T42" fmla="*/ 0 w 95"/>
                <a:gd name="T43" fmla="*/ 32 h 85"/>
                <a:gd name="T44" fmla="*/ 0 w 95"/>
                <a:gd name="T45" fmla="*/ 32 h 8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95" h="85">
                  <a:moveTo>
                    <a:pt x="0" y="79"/>
                  </a:moveTo>
                  <a:lnTo>
                    <a:pt x="17" y="85"/>
                  </a:lnTo>
                  <a:lnTo>
                    <a:pt x="35" y="85"/>
                  </a:lnTo>
                  <a:lnTo>
                    <a:pt x="43" y="82"/>
                  </a:lnTo>
                  <a:lnTo>
                    <a:pt x="58" y="80"/>
                  </a:lnTo>
                  <a:lnTo>
                    <a:pt x="65" y="60"/>
                  </a:lnTo>
                  <a:lnTo>
                    <a:pt x="90" y="42"/>
                  </a:lnTo>
                  <a:lnTo>
                    <a:pt x="95" y="19"/>
                  </a:lnTo>
                  <a:lnTo>
                    <a:pt x="95" y="7"/>
                  </a:lnTo>
                  <a:lnTo>
                    <a:pt x="90" y="5"/>
                  </a:lnTo>
                  <a:lnTo>
                    <a:pt x="77" y="2"/>
                  </a:lnTo>
                  <a:lnTo>
                    <a:pt x="68" y="7"/>
                  </a:lnTo>
                  <a:lnTo>
                    <a:pt x="53" y="5"/>
                  </a:lnTo>
                  <a:lnTo>
                    <a:pt x="47" y="0"/>
                  </a:lnTo>
                  <a:lnTo>
                    <a:pt x="35" y="2"/>
                  </a:lnTo>
                  <a:lnTo>
                    <a:pt x="22" y="7"/>
                  </a:lnTo>
                  <a:lnTo>
                    <a:pt x="10" y="19"/>
                  </a:lnTo>
                  <a:lnTo>
                    <a:pt x="3" y="42"/>
                  </a:lnTo>
                  <a:lnTo>
                    <a:pt x="12" y="45"/>
                  </a:lnTo>
                  <a:lnTo>
                    <a:pt x="17" y="50"/>
                  </a:lnTo>
                  <a:lnTo>
                    <a:pt x="10" y="60"/>
                  </a:lnTo>
                  <a:lnTo>
                    <a:pt x="0" y="79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2" name="Freeform 369"/>
            <p:cNvSpPr>
              <a:spLocks/>
            </p:cNvSpPr>
            <p:nvPr/>
          </p:nvSpPr>
          <p:spPr bwMode="auto">
            <a:xfrm>
              <a:off x="2971" y="2272"/>
              <a:ext cx="242" cy="102"/>
            </a:xfrm>
            <a:custGeom>
              <a:avLst/>
              <a:gdLst>
                <a:gd name="T0" fmla="*/ 3 w 280"/>
                <a:gd name="T1" fmla="*/ 13 h 122"/>
                <a:gd name="T2" fmla="*/ 3 w 280"/>
                <a:gd name="T3" fmla="*/ 19 h 122"/>
                <a:gd name="T4" fmla="*/ 0 w 280"/>
                <a:gd name="T5" fmla="*/ 30 h 122"/>
                <a:gd name="T6" fmla="*/ 6 w 280"/>
                <a:gd name="T7" fmla="*/ 32 h 122"/>
                <a:gd name="T8" fmla="*/ 11 w 280"/>
                <a:gd name="T9" fmla="*/ 38 h 122"/>
                <a:gd name="T10" fmla="*/ 18 w 280"/>
                <a:gd name="T11" fmla="*/ 42 h 122"/>
                <a:gd name="T12" fmla="*/ 26 w 280"/>
                <a:gd name="T13" fmla="*/ 45 h 122"/>
                <a:gd name="T14" fmla="*/ 41 w 280"/>
                <a:gd name="T15" fmla="*/ 42 h 122"/>
                <a:gd name="T16" fmla="*/ 48 w 280"/>
                <a:gd name="T17" fmla="*/ 47 h 122"/>
                <a:gd name="T18" fmla="*/ 50 w 280"/>
                <a:gd name="T19" fmla="*/ 47 h 122"/>
                <a:gd name="T20" fmla="*/ 62 w 280"/>
                <a:gd name="T21" fmla="*/ 45 h 122"/>
                <a:gd name="T22" fmla="*/ 68 w 280"/>
                <a:gd name="T23" fmla="*/ 45 h 122"/>
                <a:gd name="T24" fmla="*/ 71 w 280"/>
                <a:gd name="T25" fmla="*/ 45 h 122"/>
                <a:gd name="T26" fmla="*/ 73 w 280"/>
                <a:gd name="T27" fmla="*/ 49 h 122"/>
                <a:gd name="T28" fmla="*/ 80 w 280"/>
                <a:gd name="T29" fmla="*/ 45 h 122"/>
                <a:gd name="T30" fmla="*/ 88 w 280"/>
                <a:gd name="T31" fmla="*/ 42 h 122"/>
                <a:gd name="T32" fmla="*/ 91 w 280"/>
                <a:gd name="T33" fmla="*/ 42 h 122"/>
                <a:gd name="T34" fmla="*/ 94 w 280"/>
                <a:gd name="T35" fmla="*/ 45 h 122"/>
                <a:gd name="T36" fmla="*/ 100 w 280"/>
                <a:gd name="T37" fmla="*/ 45 h 122"/>
                <a:gd name="T38" fmla="*/ 105 w 280"/>
                <a:gd name="T39" fmla="*/ 42 h 122"/>
                <a:gd name="T40" fmla="*/ 112 w 280"/>
                <a:gd name="T41" fmla="*/ 45 h 122"/>
                <a:gd name="T42" fmla="*/ 118 w 280"/>
                <a:gd name="T43" fmla="*/ 42 h 122"/>
                <a:gd name="T44" fmla="*/ 126 w 280"/>
                <a:gd name="T45" fmla="*/ 40 h 122"/>
                <a:gd name="T46" fmla="*/ 132 w 280"/>
                <a:gd name="T47" fmla="*/ 40 h 122"/>
                <a:gd name="T48" fmla="*/ 132 w 280"/>
                <a:gd name="T49" fmla="*/ 32 h 122"/>
                <a:gd name="T50" fmla="*/ 135 w 280"/>
                <a:gd name="T51" fmla="*/ 23 h 122"/>
                <a:gd name="T52" fmla="*/ 132 w 280"/>
                <a:gd name="T53" fmla="*/ 18 h 122"/>
                <a:gd name="T54" fmla="*/ 126 w 280"/>
                <a:gd name="T55" fmla="*/ 6 h 122"/>
                <a:gd name="T56" fmla="*/ 120 w 280"/>
                <a:gd name="T57" fmla="*/ 3 h 122"/>
                <a:gd name="T58" fmla="*/ 112 w 280"/>
                <a:gd name="T59" fmla="*/ 3 h 122"/>
                <a:gd name="T60" fmla="*/ 100 w 280"/>
                <a:gd name="T61" fmla="*/ 6 h 122"/>
                <a:gd name="T62" fmla="*/ 94 w 280"/>
                <a:gd name="T63" fmla="*/ 11 h 122"/>
                <a:gd name="T64" fmla="*/ 86 w 280"/>
                <a:gd name="T65" fmla="*/ 8 h 122"/>
                <a:gd name="T66" fmla="*/ 59 w 280"/>
                <a:gd name="T67" fmla="*/ 0 h 122"/>
                <a:gd name="T68" fmla="*/ 45 w 280"/>
                <a:gd name="T69" fmla="*/ 0 h 122"/>
                <a:gd name="T70" fmla="*/ 30 w 280"/>
                <a:gd name="T71" fmla="*/ 6 h 122"/>
                <a:gd name="T72" fmla="*/ 18 w 280"/>
                <a:gd name="T73" fmla="*/ 8 h 122"/>
                <a:gd name="T74" fmla="*/ 16 w 280"/>
                <a:gd name="T75" fmla="*/ 9 h 122"/>
                <a:gd name="T76" fmla="*/ 16 w 280"/>
                <a:gd name="T77" fmla="*/ 13 h 122"/>
                <a:gd name="T78" fmla="*/ 8 w 280"/>
                <a:gd name="T79" fmla="*/ 11 h 122"/>
                <a:gd name="T80" fmla="*/ 3 w 280"/>
                <a:gd name="T81" fmla="*/ 13 h 122"/>
                <a:gd name="T82" fmla="*/ 3 w 280"/>
                <a:gd name="T83" fmla="*/ 13 h 12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0" h="122">
                  <a:moveTo>
                    <a:pt x="7" y="32"/>
                  </a:moveTo>
                  <a:lnTo>
                    <a:pt x="7" y="48"/>
                  </a:lnTo>
                  <a:lnTo>
                    <a:pt x="0" y="73"/>
                  </a:lnTo>
                  <a:lnTo>
                    <a:pt x="12" y="78"/>
                  </a:lnTo>
                  <a:lnTo>
                    <a:pt x="23" y="92"/>
                  </a:lnTo>
                  <a:lnTo>
                    <a:pt x="37" y="103"/>
                  </a:lnTo>
                  <a:lnTo>
                    <a:pt x="55" y="110"/>
                  </a:lnTo>
                  <a:lnTo>
                    <a:pt x="85" y="103"/>
                  </a:lnTo>
                  <a:lnTo>
                    <a:pt x="99" y="115"/>
                  </a:lnTo>
                  <a:lnTo>
                    <a:pt x="104" y="115"/>
                  </a:lnTo>
                  <a:lnTo>
                    <a:pt x="129" y="110"/>
                  </a:lnTo>
                  <a:lnTo>
                    <a:pt x="140" y="110"/>
                  </a:lnTo>
                  <a:lnTo>
                    <a:pt x="147" y="110"/>
                  </a:lnTo>
                  <a:lnTo>
                    <a:pt x="152" y="122"/>
                  </a:lnTo>
                  <a:lnTo>
                    <a:pt x="164" y="110"/>
                  </a:lnTo>
                  <a:lnTo>
                    <a:pt x="184" y="103"/>
                  </a:lnTo>
                  <a:lnTo>
                    <a:pt x="189" y="103"/>
                  </a:lnTo>
                  <a:lnTo>
                    <a:pt x="195" y="110"/>
                  </a:lnTo>
                  <a:lnTo>
                    <a:pt x="207" y="110"/>
                  </a:lnTo>
                  <a:lnTo>
                    <a:pt x="219" y="103"/>
                  </a:lnTo>
                  <a:lnTo>
                    <a:pt x="232" y="110"/>
                  </a:lnTo>
                  <a:lnTo>
                    <a:pt x="244" y="103"/>
                  </a:lnTo>
                  <a:lnTo>
                    <a:pt x="262" y="98"/>
                  </a:lnTo>
                  <a:lnTo>
                    <a:pt x="274" y="98"/>
                  </a:lnTo>
                  <a:lnTo>
                    <a:pt x="274" y="78"/>
                  </a:lnTo>
                  <a:lnTo>
                    <a:pt x="280" y="55"/>
                  </a:lnTo>
                  <a:lnTo>
                    <a:pt x="274" y="43"/>
                  </a:lnTo>
                  <a:lnTo>
                    <a:pt x="262" y="13"/>
                  </a:lnTo>
                  <a:lnTo>
                    <a:pt x="249" y="7"/>
                  </a:lnTo>
                  <a:lnTo>
                    <a:pt x="232" y="7"/>
                  </a:lnTo>
                  <a:lnTo>
                    <a:pt x="207" y="13"/>
                  </a:lnTo>
                  <a:lnTo>
                    <a:pt x="195" y="25"/>
                  </a:lnTo>
                  <a:lnTo>
                    <a:pt x="177" y="18"/>
                  </a:lnTo>
                  <a:lnTo>
                    <a:pt x="122" y="0"/>
                  </a:lnTo>
                  <a:lnTo>
                    <a:pt x="92" y="0"/>
                  </a:lnTo>
                  <a:lnTo>
                    <a:pt x="62" y="13"/>
                  </a:lnTo>
                  <a:lnTo>
                    <a:pt x="37" y="18"/>
                  </a:lnTo>
                  <a:lnTo>
                    <a:pt x="34" y="23"/>
                  </a:lnTo>
                  <a:lnTo>
                    <a:pt x="34" y="32"/>
                  </a:lnTo>
                  <a:lnTo>
                    <a:pt x="15" y="28"/>
                  </a:lnTo>
                  <a:lnTo>
                    <a:pt x="7" y="3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3" name="Freeform 370"/>
            <p:cNvSpPr>
              <a:spLocks/>
            </p:cNvSpPr>
            <p:nvPr/>
          </p:nvSpPr>
          <p:spPr bwMode="auto">
            <a:xfrm>
              <a:off x="2971" y="2272"/>
              <a:ext cx="242" cy="102"/>
            </a:xfrm>
            <a:custGeom>
              <a:avLst/>
              <a:gdLst>
                <a:gd name="T0" fmla="*/ 3 w 280"/>
                <a:gd name="T1" fmla="*/ 13 h 122"/>
                <a:gd name="T2" fmla="*/ 3 w 280"/>
                <a:gd name="T3" fmla="*/ 19 h 122"/>
                <a:gd name="T4" fmla="*/ 0 w 280"/>
                <a:gd name="T5" fmla="*/ 30 h 122"/>
                <a:gd name="T6" fmla="*/ 6 w 280"/>
                <a:gd name="T7" fmla="*/ 32 h 122"/>
                <a:gd name="T8" fmla="*/ 11 w 280"/>
                <a:gd name="T9" fmla="*/ 38 h 122"/>
                <a:gd name="T10" fmla="*/ 18 w 280"/>
                <a:gd name="T11" fmla="*/ 42 h 122"/>
                <a:gd name="T12" fmla="*/ 26 w 280"/>
                <a:gd name="T13" fmla="*/ 45 h 122"/>
                <a:gd name="T14" fmla="*/ 41 w 280"/>
                <a:gd name="T15" fmla="*/ 42 h 122"/>
                <a:gd name="T16" fmla="*/ 48 w 280"/>
                <a:gd name="T17" fmla="*/ 47 h 122"/>
                <a:gd name="T18" fmla="*/ 50 w 280"/>
                <a:gd name="T19" fmla="*/ 47 h 122"/>
                <a:gd name="T20" fmla="*/ 62 w 280"/>
                <a:gd name="T21" fmla="*/ 45 h 122"/>
                <a:gd name="T22" fmla="*/ 68 w 280"/>
                <a:gd name="T23" fmla="*/ 45 h 122"/>
                <a:gd name="T24" fmla="*/ 71 w 280"/>
                <a:gd name="T25" fmla="*/ 45 h 122"/>
                <a:gd name="T26" fmla="*/ 73 w 280"/>
                <a:gd name="T27" fmla="*/ 49 h 122"/>
                <a:gd name="T28" fmla="*/ 80 w 280"/>
                <a:gd name="T29" fmla="*/ 45 h 122"/>
                <a:gd name="T30" fmla="*/ 88 w 280"/>
                <a:gd name="T31" fmla="*/ 42 h 122"/>
                <a:gd name="T32" fmla="*/ 91 w 280"/>
                <a:gd name="T33" fmla="*/ 42 h 122"/>
                <a:gd name="T34" fmla="*/ 94 w 280"/>
                <a:gd name="T35" fmla="*/ 45 h 122"/>
                <a:gd name="T36" fmla="*/ 100 w 280"/>
                <a:gd name="T37" fmla="*/ 45 h 122"/>
                <a:gd name="T38" fmla="*/ 105 w 280"/>
                <a:gd name="T39" fmla="*/ 42 h 122"/>
                <a:gd name="T40" fmla="*/ 112 w 280"/>
                <a:gd name="T41" fmla="*/ 45 h 122"/>
                <a:gd name="T42" fmla="*/ 118 w 280"/>
                <a:gd name="T43" fmla="*/ 42 h 122"/>
                <a:gd name="T44" fmla="*/ 126 w 280"/>
                <a:gd name="T45" fmla="*/ 40 h 122"/>
                <a:gd name="T46" fmla="*/ 132 w 280"/>
                <a:gd name="T47" fmla="*/ 40 h 122"/>
                <a:gd name="T48" fmla="*/ 132 w 280"/>
                <a:gd name="T49" fmla="*/ 32 h 122"/>
                <a:gd name="T50" fmla="*/ 135 w 280"/>
                <a:gd name="T51" fmla="*/ 23 h 122"/>
                <a:gd name="T52" fmla="*/ 132 w 280"/>
                <a:gd name="T53" fmla="*/ 18 h 122"/>
                <a:gd name="T54" fmla="*/ 126 w 280"/>
                <a:gd name="T55" fmla="*/ 6 h 122"/>
                <a:gd name="T56" fmla="*/ 120 w 280"/>
                <a:gd name="T57" fmla="*/ 3 h 122"/>
                <a:gd name="T58" fmla="*/ 112 w 280"/>
                <a:gd name="T59" fmla="*/ 3 h 122"/>
                <a:gd name="T60" fmla="*/ 100 w 280"/>
                <a:gd name="T61" fmla="*/ 6 h 122"/>
                <a:gd name="T62" fmla="*/ 94 w 280"/>
                <a:gd name="T63" fmla="*/ 11 h 122"/>
                <a:gd name="T64" fmla="*/ 86 w 280"/>
                <a:gd name="T65" fmla="*/ 8 h 122"/>
                <a:gd name="T66" fmla="*/ 59 w 280"/>
                <a:gd name="T67" fmla="*/ 0 h 122"/>
                <a:gd name="T68" fmla="*/ 45 w 280"/>
                <a:gd name="T69" fmla="*/ 0 h 122"/>
                <a:gd name="T70" fmla="*/ 30 w 280"/>
                <a:gd name="T71" fmla="*/ 6 h 122"/>
                <a:gd name="T72" fmla="*/ 18 w 280"/>
                <a:gd name="T73" fmla="*/ 8 h 122"/>
                <a:gd name="T74" fmla="*/ 16 w 280"/>
                <a:gd name="T75" fmla="*/ 9 h 122"/>
                <a:gd name="T76" fmla="*/ 16 w 280"/>
                <a:gd name="T77" fmla="*/ 13 h 122"/>
                <a:gd name="T78" fmla="*/ 8 w 280"/>
                <a:gd name="T79" fmla="*/ 11 h 122"/>
                <a:gd name="T80" fmla="*/ 3 w 280"/>
                <a:gd name="T81" fmla="*/ 13 h 122"/>
                <a:gd name="T82" fmla="*/ 3 w 280"/>
                <a:gd name="T83" fmla="*/ 13 h 12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80" h="122">
                  <a:moveTo>
                    <a:pt x="7" y="32"/>
                  </a:moveTo>
                  <a:lnTo>
                    <a:pt x="7" y="48"/>
                  </a:lnTo>
                  <a:lnTo>
                    <a:pt x="0" y="73"/>
                  </a:lnTo>
                  <a:lnTo>
                    <a:pt x="12" y="78"/>
                  </a:lnTo>
                  <a:lnTo>
                    <a:pt x="23" y="92"/>
                  </a:lnTo>
                  <a:lnTo>
                    <a:pt x="37" y="103"/>
                  </a:lnTo>
                  <a:lnTo>
                    <a:pt x="55" y="110"/>
                  </a:lnTo>
                  <a:lnTo>
                    <a:pt x="85" y="103"/>
                  </a:lnTo>
                  <a:lnTo>
                    <a:pt x="99" y="115"/>
                  </a:lnTo>
                  <a:lnTo>
                    <a:pt x="104" y="115"/>
                  </a:lnTo>
                  <a:lnTo>
                    <a:pt x="129" y="110"/>
                  </a:lnTo>
                  <a:lnTo>
                    <a:pt x="140" y="110"/>
                  </a:lnTo>
                  <a:lnTo>
                    <a:pt x="147" y="110"/>
                  </a:lnTo>
                  <a:lnTo>
                    <a:pt x="152" y="122"/>
                  </a:lnTo>
                  <a:lnTo>
                    <a:pt x="164" y="110"/>
                  </a:lnTo>
                  <a:lnTo>
                    <a:pt x="184" y="103"/>
                  </a:lnTo>
                  <a:lnTo>
                    <a:pt x="189" y="103"/>
                  </a:lnTo>
                  <a:lnTo>
                    <a:pt x="195" y="110"/>
                  </a:lnTo>
                  <a:lnTo>
                    <a:pt x="207" y="110"/>
                  </a:lnTo>
                  <a:lnTo>
                    <a:pt x="219" y="103"/>
                  </a:lnTo>
                  <a:lnTo>
                    <a:pt x="232" y="110"/>
                  </a:lnTo>
                  <a:lnTo>
                    <a:pt x="244" y="103"/>
                  </a:lnTo>
                  <a:lnTo>
                    <a:pt x="262" y="98"/>
                  </a:lnTo>
                  <a:lnTo>
                    <a:pt x="274" y="98"/>
                  </a:lnTo>
                  <a:lnTo>
                    <a:pt x="274" y="78"/>
                  </a:lnTo>
                  <a:lnTo>
                    <a:pt x="280" y="55"/>
                  </a:lnTo>
                  <a:lnTo>
                    <a:pt x="274" y="43"/>
                  </a:lnTo>
                  <a:lnTo>
                    <a:pt x="262" y="13"/>
                  </a:lnTo>
                  <a:lnTo>
                    <a:pt x="249" y="7"/>
                  </a:lnTo>
                  <a:lnTo>
                    <a:pt x="232" y="7"/>
                  </a:lnTo>
                  <a:lnTo>
                    <a:pt x="207" y="13"/>
                  </a:lnTo>
                  <a:lnTo>
                    <a:pt x="195" y="25"/>
                  </a:lnTo>
                  <a:lnTo>
                    <a:pt x="177" y="18"/>
                  </a:lnTo>
                  <a:lnTo>
                    <a:pt x="122" y="0"/>
                  </a:lnTo>
                  <a:lnTo>
                    <a:pt x="92" y="0"/>
                  </a:lnTo>
                  <a:lnTo>
                    <a:pt x="62" y="13"/>
                  </a:lnTo>
                  <a:lnTo>
                    <a:pt x="37" y="18"/>
                  </a:lnTo>
                  <a:lnTo>
                    <a:pt x="34" y="23"/>
                  </a:lnTo>
                  <a:lnTo>
                    <a:pt x="34" y="32"/>
                  </a:lnTo>
                  <a:lnTo>
                    <a:pt x="15" y="28"/>
                  </a:lnTo>
                  <a:lnTo>
                    <a:pt x="7" y="3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4" name="Freeform 371"/>
            <p:cNvSpPr>
              <a:spLocks/>
            </p:cNvSpPr>
            <p:nvPr/>
          </p:nvSpPr>
          <p:spPr bwMode="auto">
            <a:xfrm>
              <a:off x="3051" y="2385"/>
              <a:ext cx="21" cy="15"/>
            </a:xfrm>
            <a:custGeom>
              <a:avLst/>
              <a:gdLst>
                <a:gd name="T0" fmla="*/ 15 w 23"/>
                <a:gd name="T1" fmla="*/ 0 h 19"/>
                <a:gd name="T2" fmla="*/ 7 w 23"/>
                <a:gd name="T3" fmla="*/ 0 h 19"/>
                <a:gd name="T4" fmla="*/ 0 w 23"/>
                <a:gd name="T5" fmla="*/ 2 h 19"/>
                <a:gd name="T6" fmla="*/ 0 w 23"/>
                <a:gd name="T7" fmla="*/ 6 h 19"/>
                <a:gd name="T8" fmla="*/ 5 w 23"/>
                <a:gd name="T9" fmla="*/ 6 h 19"/>
                <a:gd name="T10" fmla="*/ 7 w 23"/>
                <a:gd name="T11" fmla="*/ 4 h 19"/>
                <a:gd name="T12" fmla="*/ 12 w 23"/>
                <a:gd name="T13" fmla="*/ 4 h 19"/>
                <a:gd name="T14" fmla="*/ 15 w 23"/>
                <a:gd name="T15" fmla="*/ 2 h 19"/>
                <a:gd name="T16" fmla="*/ 15 w 23"/>
                <a:gd name="T17" fmla="*/ 0 h 19"/>
                <a:gd name="T18" fmla="*/ 15 w 23"/>
                <a:gd name="T19" fmla="*/ 0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3" h="19">
                  <a:moveTo>
                    <a:pt x="23" y="0"/>
                  </a:moveTo>
                  <a:lnTo>
                    <a:pt x="12" y="0"/>
                  </a:lnTo>
                  <a:lnTo>
                    <a:pt x="0" y="7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7" y="12"/>
                  </a:lnTo>
                  <a:lnTo>
                    <a:pt x="23" y="7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5" name="Freeform 372"/>
            <p:cNvSpPr>
              <a:spLocks/>
            </p:cNvSpPr>
            <p:nvPr/>
          </p:nvSpPr>
          <p:spPr bwMode="auto">
            <a:xfrm>
              <a:off x="3051" y="2385"/>
              <a:ext cx="21" cy="15"/>
            </a:xfrm>
            <a:custGeom>
              <a:avLst/>
              <a:gdLst>
                <a:gd name="T0" fmla="*/ 15 w 23"/>
                <a:gd name="T1" fmla="*/ 0 h 19"/>
                <a:gd name="T2" fmla="*/ 7 w 23"/>
                <a:gd name="T3" fmla="*/ 0 h 19"/>
                <a:gd name="T4" fmla="*/ 0 w 23"/>
                <a:gd name="T5" fmla="*/ 2 h 19"/>
                <a:gd name="T6" fmla="*/ 0 w 23"/>
                <a:gd name="T7" fmla="*/ 6 h 19"/>
                <a:gd name="T8" fmla="*/ 5 w 23"/>
                <a:gd name="T9" fmla="*/ 6 h 19"/>
                <a:gd name="T10" fmla="*/ 7 w 23"/>
                <a:gd name="T11" fmla="*/ 4 h 19"/>
                <a:gd name="T12" fmla="*/ 12 w 23"/>
                <a:gd name="T13" fmla="*/ 4 h 19"/>
                <a:gd name="T14" fmla="*/ 15 w 23"/>
                <a:gd name="T15" fmla="*/ 2 h 19"/>
                <a:gd name="T16" fmla="*/ 15 w 23"/>
                <a:gd name="T17" fmla="*/ 0 h 19"/>
                <a:gd name="T18" fmla="*/ 15 w 23"/>
                <a:gd name="T19" fmla="*/ 0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3" h="19">
                  <a:moveTo>
                    <a:pt x="23" y="0"/>
                  </a:moveTo>
                  <a:lnTo>
                    <a:pt x="12" y="0"/>
                  </a:lnTo>
                  <a:lnTo>
                    <a:pt x="0" y="7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7" y="12"/>
                  </a:lnTo>
                  <a:lnTo>
                    <a:pt x="23" y="7"/>
                  </a:lnTo>
                  <a:lnTo>
                    <a:pt x="2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6" name="Freeform 373"/>
            <p:cNvSpPr>
              <a:spLocks/>
            </p:cNvSpPr>
            <p:nvPr/>
          </p:nvSpPr>
          <p:spPr bwMode="auto">
            <a:xfrm>
              <a:off x="2913" y="2094"/>
              <a:ext cx="217" cy="127"/>
            </a:xfrm>
            <a:custGeom>
              <a:avLst/>
              <a:gdLst>
                <a:gd name="T0" fmla="*/ 114 w 251"/>
                <a:gd name="T1" fmla="*/ 40 h 151"/>
                <a:gd name="T2" fmla="*/ 109 w 251"/>
                <a:gd name="T3" fmla="*/ 43 h 151"/>
                <a:gd name="T4" fmla="*/ 103 w 251"/>
                <a:gd name="T5" fmla="*/ 49 h 151"/>
                <a:gd name="T6" fmla="*/ 91 w 251"/>
                <a:gd name="T7" fmla="*/ 51 h 151"/>
                <a:gd name="T8" fmla="*/ 85 w 251"/>
                <a:gd name="T9" fmla="*/ 51 h 151"/>
                <a:gd name="T10" fmla="*/ 85 w 251"/>
                <a:gd name="T11" fmla="*/ 56 h 151"/>
                <a:gd name="T12" fmla="*/ 91 w 251"/>
                <a:gd name="T13" fmla="*/ 59 h 151"/>
                <a:gd name="T14" fmla="*/ 85 w 251"/>
                <a:gd name="T15" fmla="*/ 61 h 151"/>
                <a:gd name="T16" fmla="*/ 83 w 251"/>
                <a:gd name="T17" fmla="*/ 61 h 151"/>
                <a:gd name="T18" fmla="*/ 76 w 251"/>
                <a:gd name="T19" fmla="*/ 55 h 151"/>
                <a:gd name="T20" fmla="*/ 73 w 251"/>
                <a:gd name="T21" fmla="*/ 51 h 151"/>
                <a:gd name="T22" fmla="*/ 68 w 251"/>
                <a:gd name="T23" fmla="*/ 51 h 151"/>
                <a:gd name="T24" fmla="*/ 63 w 251"/>
                <a:gd name="T25" fmla="*/ 51 h 151"/>
                <a:gd name="T26" fmla="*/ 59 w 251"/>
                <a:gd name="T27" fmla="*/ 59 h 151"/>
                <a:gd name="T28" fmla="*/ 53 w 251"/>
                <a:gd name="T29" fmla="*/ 61 h 151"/>
                <a:gd name="T30" fmla="*/ 50 w 251"/>
                <a:gd name="T31" fmla="*/ 61 h 151"/>
                <a:gd name="T32" fmla="*/ 47 w 251"/>
                <a:gd name="T33" fmla="*/ 64 h 151"/>
                <a:gd name="T34" fmla="*/ 48 w 251"/>
                <a:gd name="T35" fmla="*/ 50 h 151"/>
                <a:gd name="T36" fmla="*/ 54 w 251"/>
                <a:gd name="T37" fmla="*/ 45 h 151"/>
                <a:gd name="T38" fmla="*/ 59 w 251"/>
                <a:gd name="T39" fmla="*/ 43 h 151"/>
                <a:gd name="T40" fmla="*/ 55 w 251"/>
                <a:gd name="T41" fmla="*/ 38 h 151"/>
                <a:gd name="T42" fmla="*/ 50 w 251"/>
                <a:gd name="T43" fmla="*/ 30 h 151"/>
                <a:gd name="T44" fmla="*/ 43 w 251"/>
                <a:gd name="T45" fmla="*/ 30 h 151"/>
                <a:gd name="T46" fmla="*/ 35 w 251"/>
                <a:gd name="T47" fmla="*/ 34 h 151"/>
                <a:gd name="T48" fmla="*/ 30 w 251"/>
                <a:gd name="T49" fmla="*/ 39 h 151"/>
                <a:gd name="T50" fmla="*/ 20 w 251"/>
                <a:gd name="T51" fmla="*/ 39 h 151"/>
                <a:gd name="T52" fmla="*/ 8 w 251"/>
                <a:gd name="T53" fmla="*/ 39 h 151"/>
                <a:gd name="T54" fmla="*/ 3 w 251"/>
                <a:gd name="T55" fmla="*/ 35 h 151"/>
                <a:gd name="T56" fmla="*/ 0 w 251"/>
                <a:gd name="T57" fmla="*/ 29 h 151"/>
                <a:gd name="T58" fmla="*/ 12 w 251"/>
                <a:gd name="T59" fmla="*/ 13 h 151"/>
                <a:gd name="T60" fmla="*/ 9 w 251"/>
                <a:gd name="T61" fmla="*/ 8 h 151"/>
                <a:gd name="T62" fmla="*/ 14 w 251"/>
                <a:gd name="T63" fmla="*/ 5 h 151"/>
                <a:gd name="T64" fmla="*/ 20 w 251"/>
                <a:gd name="T65" fmla="*/ 5 h 151"/>
                <a:gd name="T66" fmla="*/ 23 w 251"/>
                <a:gd name="T67" fmla="*/ 5 h 151"/>
                <a:gd name="T68" fmla="*/ 32 w 251"/>
                <a:gd name="T69" fmla="*/ 11 h 151"/>
                <a:gd name="T70" fmla="*/ 47 w 251"/>
                <a:gd name="T71" fmla="*/ 5 h 151"/>
                <a:gd name="T72" fmla="*/ 50 w 251"/>
                <a:gd name="T73" fmla="*/ 8 h 151"/>
                <a:gd name="T74" fmla="*/ 53 w 251"/>
                <a:gd name="T75" fmla="*/ 5 h 151"/>
                <a:gd name="T76" fmla="*/ 59 w 251"/>
                <a:gd name="T77" fmla="*/ 3 h 151"/>
                <a:gd name="T78" fmla="*/ 64 w 251"/>
                <a:gd name="T79" fmla="*/ 3 h 151"/>
                <a:gd name="T80" fmla="*/ 76 w 251"/>
                <a:gd name="T81" fmla="*/ 0 h 151"/>
                <a:gd name="T82" fmla="*/ 91 w 251"/>
                <a:gd name="T83" fmla="*/ 0 h 151"/>
                <a:gd name="T84" fmla="*/ 97 w 251"/>
                <a:gd name="T85" fmla="*/ 8 h 151"/>
                <a:gd name="T86" fmla="*/ 103 w 251"/>
                <a:gd name="T87" fmla="*/ 13 h 151"/>
                <a:gd name="T88" fmla="*/ 112 w 251"/>
                <a:gd name="T89" fmla="*/ 13 h 151"/>
                <a:gd name="T90" fmla="*/ 118 w 251"/>
                <a:gd name="T91" fmla="*/ 25 h 151"/>
                <a:gd name="T92" fmla="*/ 118 w 251"/>
                <a:gd name="T93" fmla="*/ 29 h 151"/>
                <a:gd name="T94" fmla="*/ 122 w 251"/>
                <a:gd name="T95" fmla="*/ 35 h 151"/>
                <a:gd name="T96" fmla="*/ 112 w 251"/>
                <a:gd name="T97" fmla="*/ 39 h 151"/>
                <a:gd name="T98" fmla="*/ 114 w 251"/>
                <a:gd name="T99" fmla="*/ 40 h 151"/>
                <a:gd name="T100" fmla="*/ 114 w 251"/>
                <a:gd name="T101" fmla="*/ 40 h 15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51" h="151">
                  <a:moveTo>
                    <a:pt x="237" y="96"/>
                  </a:moveTo>
                  <a:lnTo>
                    <a:pt x="226" y="103"/>
                  </a:lnTo>
                  <a:lnTo>
                    <a:pt x="214" y="115"/>
                  </a:lnTo>
                  <a:lnTo>
                    <a:pt x="189" y="121"/>
                  </a:lnTo>
                  <a:lnTo>
                    <a:pt x="176" y="121"/>
                  </a:lnTo>
                  <a:lnTo>
                    <a:pt x="176" y="133"/>
                  </a:lnTo>
                  <a:lnTo>
                    <a:pt x="189" y="140"/>
                  </a:lnTo>
                  <a:lnTo>
                    <a:pt x="176" y="146"/>
                  </a:lnTo>
                  <a:lnTo>
                    <a:pt x="171" y="146"/>
                  </a:lnTo>
                  <a:lnTo>
                    <a:pt x="159" y="128"/>
                  </a:lnTo>
                  <a:lnTo>
                    <a:pt x="152" y="121"/>
                  </a:lnTo>
                  <a:lnTo>
                    <a:pt x="141" y="121"/>
                  </a:lnTo>
                  <a:lnTo>
                    <a:pt x="129" y="121"/>
                  </a:lnTo>
                  <a:lnTo>
                    <a:pt x="122" y="140"/>
                  </a:lnTo>
                  <a:lnTo>
                    <a:pt x="109" y="146"/>
                  </a:lnTo>
                  <a:lnTo>
                    <a:pt x="104" y="146"/>
                  </a:lnTo>
                  <a:lnTo>
                    <a:pt x="97" y="151"/>
                  </a:lnTo>
                  <a:lnTo>
                    <a:pt x="99" y="120"/>
                  </a:lnTo>
                  <a:lnTo>
                    <a:pt x="112" y="106"/>
                  </a:lnTo>
                  <a:lnTo>
                    <a:pt x="122" y="103"/>
                  </a:lnTo>
                  <a:lnTo>
                    <a:pt x="116" y="90"/>
                  </a:lnTo>
                  <a:lnTo>
                    <a:pt x="104" y="73"/>
                  </a:lnTo>
                  <a:lnTo>
                    <a:pt x="90" y="73"/>
                  </a:lnTo>
                  <a:lnTo>
                    <a:pt x="74" y="80"/>
                  </a:lnTo>
                  <a:lnTo>
                    <a:pt x="65" y="91"/>
                  </a:lnTo>
                  <a:lnTo>
                    <a:pt x="42" y="91"/>
                  </a:lnTo>
                  <a:lnTo>
                    <a:pt x="15" y="91"/>
                  </a:lnTo>
                  <a:lnTo>
                    <a:pt x="5" y="83"/>
                  </a:lnTo>
                  <a:lnTo>
                    <a:pt x="0" y="66"/>
                  </a:lnTo>
                  <a:lnTo>
                    <a:pt x="24" y="30"/>
                  </a:lnTo>
                  <a:lnTo>
                    <a:pt x="19" y="18"/>
                  </a:lnTo>
                  <a:lnTo>
                    <a:pt x="30" y="11"/>
                  </a:lnTo>
                  <a:lnTo>
                    <a:pt x="42" y="11"/>
                  </a:lnTo>
                  <a:lnTo>
                    <a:pt x="49" y="11"/>
                  </a:lnTo>
                  <a:lnTo>
                    <a:pt x="67" y="25"/>
                  </a:lnTo>
                  <a:lnTo>
                    <a:pt x="97" y="11"/>
                  </a:lnTo>
                  <a:lnTo>
                    <a:pt x="104" y="18"/>
                  </a:lnTo>
                  <a:lnTo>
                    <a:pt x="109" y="11"/>
                  </a:lnTo>
                  <a:lnTo>
                    <a:pt x="122" y="6"/>
                  </a:lnTo>
                  <a:lnTo>
                    <a:pt x="134" y="6"/>
                  </a:lnTo>
                  <a:lnTo>
                    <a:pt x="159" y="0"/>
                  </a:lnTo>
                  <a:lnTo>
                    <a:pt x="189" y="0"/>
                  </a:lnTo>
                  <a:lnTo>
                    <a:pt x="201" y="18"/>
                  </a:lnTo>
                  <a:lnTo>
                    <a:pt x="214" y="30"/>
                  </a:lnTo>
                  <a:lnTo>
                    <a:pt x="231" y="30"/>
                  </a:lnTo>
                  <a:lnTo>
                    <a:pt x="244" y="61"/>
                  </a:lnTo>
                  <a:lnTo>
                    <a:pt x="244" y="66"/>
                  </a:lnTo>
                  <a:lnTo>
                    <a:pt x="251" y="85"/>
                  </a:lnTo>
                  <a:lnTo>
                    <a:pt x="231" y="91"/>
                  </a:lnTo>
                  <a:lnTo>
                    <a:pt x="237" y="9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7" name="Freeform 374"/>
            <p:cNvSpPr>
              <a:spLocks/>
            </p:cNvSpPr>
            <p:nvPr/>
          </p:nvSpPr>
          <p:spPr bwMode="auto">
            <a:xfrm>
              <a:off x="2913" y="2094"/>
              <a:ext cx="217" cy="127"/>
            </a:xfrm>
            <a:custGeom>
              <a:avLst/>
              <a:gdLst>
                <a:gd name="T0" fmla="*/ 114 w 251"/>
                <a:gd name="T1" fmla="*/ 40 h 151"/>
                <a:gd name="T2" fmla="*/ 109 w 251"/>
                <a:gd name="T3" fmla="*/ 43 h 151"/>
                <a:gd name="T4" fmla="*/ 103 w 251"/>
                <a:gd name="T5" fmla="*/ 49 h 151"/>
                <a:gd name="T6" fmla="*/ 91 w 251"/>
                <a:gd name="T7" fmla="*/ 51 h 151"/>
                <a:gd name="T8" fmla="*/ 85 w 251"/>
                <a:gd name="T9" fmla="*/ 51 h 151"/>
                <a:gd name="T10" fmla="*/ 85 w 251"/>
                <a:gd name="T11" fmla="*/ 56 h 151"/>
                <a:gd name="T12" fmla="*/ 91 w 251"/>
                <a:gd name="T13" fmla="*/ 59 h 151"/>
                <a:gd name="T14" fmla="*/ 85 w 251"/>
                <a:gd name="T15" fmla="*/ 61 h 151"/>
                <a:gd name="T16" fmla="*/ 83 w 251"/>
                <a:gd name="T17" fmla="*/ 61 h 151"/>
                <a:gd name="T18" fmla="*/ 76 w 251"/>
                <a:gd name="T19" fmla="*/ 55 h 151"/>
                <a:gd name="T20" fmla="*/ 73 w 251"/>
                <a:gd name="T21" fmla="*/ 51 h 151"/>
                <a:gd name="T22" fmla="*/ 68 w 251"/>
                <a:gd name="T23" fmla="*/ 51 h 151"/>
                <a:gd name="T24" fmla="*/ 63 w 251"/>
                <a:gd name="T25" fmla="*/ 51 h 151"/>
                <a:gd name="T26" fmla="*/ 59 w 251"/>
                <a:gd name="T27" fmla="*/ 59 h 151"/>
                <a:gd name="T28" fmla="*/ 53 w 251"/>
                <a:gd name="T29" fmla="*/ 61 h 151"/>
                <a:gd name="T30" fmla="*/ 50 w 251"/>
                <a:gd name="T31" fmla="*/ 61 h 151"/>
                <a:gd name="T32" fmla="*/ 47 w 251"/>
                <a:gd name="T33" fmla="*/ 64 h 151"/>
                <a:gd name="T34" fmla="*/ 48 w 251"/>
                <a:gd name="T35" fmla="*/ 50 h 151"/>
                <a:gd name="T36" fmla="*/ 54 w 251"/>
                <a:gd name="T37" fmla="*/ 45 h 151"/>
                <a:gd name="T38" fmla="*/ 59 w 251"/>
                <a:gd name="T39" fmla="*/ 43 h 151"/>
                <a:gd name="T40" fmla="*/ 55 w 251"/>
                <a:gd name="T41" fmla="*/ 38 h 151"/>
                <a:gd name="T42" fmla="*/ 50 w 251"/>
                <a:gd name="T43" fmla="*/ 30 h 151"/>
                <a:gd name="T44" fmla="*/ 43 w 251"/>
                <a:gd name="T45" fmla="*/ 30 h 151"/>
                <a:gd name="T46" fmla="*/ 35 w 251"/>
                <a:gd name="T47" fmla="*/ 34 h 151"/>
                <a:gd name="T48" fmla="*/ 30 w 251"/>
                <a:gd name="T49" fmla="*/ 39 h 151"/>
                <a:gd name="T50" fmla="*/ 20 w 251"/>
                <a:gd name="T51" fmla="*/ 39 h 151"/>
                <a:gd name="T52" fmla="*/ 8 w 251"/>
                <a:gd name="T53" fmla="*/ 39 h 151"/>
                <a:gd name="T54" fmla="*/ 3 w 251"/>
                <a:gd name="T55" fmla="*/ 35 h 151"/>
                <a:gd name="T56" fmla="*/ 0 w 251"/>
                <a:gd name="T57" fmla="*/ 29 h 151"/>
                <a:gd name="T58" fmla="*/ 12 w 251"/>
                <a:gd name="T59" fmla="*/ 13 h 151"/>
                <a:gd name="T60" fmla="*/ 9 w 251"/>
                <a:gd name="T61" fmla="*/ 8 h 151"/>
                <a:gd name="T62" fmla="*/ 14 w 251"/>
                <a:gd name="T63" fmla="*/ 5 h 151"/>
                <a:gd name="T64" fmla="*/ 20 w 251"/>
                <a:gd name="T65" fmla="*/ 5 h 151"/>
                <a:gd name="T66" fmla="*/ 23 w 251"/>
                <a:gd name="T67" fmla="*/ 5 h 151"/>
                <a:gd name="T68" fmla="*/ 32 w 251"/>
                <a:gd name="T69" fmla="*/ 11 h 151"/>
                <a:gd name="T70" fmla="*/ 47 w 251"/>
                <a:gd name="T71" fmla="*/ 5 h 151"/>
                <a:gd name="T72" fmla="*/ 50 w 251"/>
                <a:gd name="T73" fmla="*/ 8 h 151"/>
                <a:gd name="T74" fmla="*/ 53 w 251"/>
                <a:gd name="T75" fmla="*/ 5 h 151"/>
                <a:gd name="T76" fmla="*/ 59 w 251"/>
                <a:gd name="T77" fmla="*/ 3 h 151"/>
                <a:gd name="T78" fmla="*/ 64 w 251"/>
                <a:gd name="T79" fmla="*/ 3 h 151"/>
                <a:gd name="T80" fmla="*/ 76 w 251"/>
                <a:gd name="T81" fmla="*/ 0 h 151"/>
                <a:gd name="T82" fmla="*/ 91 w 251"/>
                <a:gd name="T83" fmla="*/ 0 h 151"/>
                <a:gd name="T84" fmla="*/ 97 w 251"/>
                <a:gd name="T85" fmla="*/ 8 h 151"/>
                <a:gd name="T86" fmla="*/ 103 w 251"/>
                <a:gd name="T87" fmla="*/ 13 h 151"/>
                <a:gd name="T88" fmla="*/ 112 w 251"/>
                <a:gd name="T89" fmla="*/ 13 h 151"/>
                <a:gd name="T90" fmla="*/ 118 w 251"/>
                <a:gd name="T91" fmla="*/ 25 h 151"/>
                <a:gd name="T92" fmla="*/ 118 w 251"/>
                <a:gd name="T93" fmla="*/ 29 h 151"/>
                <a:gd name="T94" fmla="*/ 122 w 251"/>
                <a:gd name="T95" fmla="*/ 35 h 151"/>
                <a:gd name="T96" fmla="*/ 112 w 251"/>
                <a:gd name="T97" fmla="*/ 39 h 151"/>
                <a:gd name="T98" fmla="*/ 114 w 251"/>
                <a:gd name="T99" fmla="*/ 40 h 151"/>
                <a:gd name="T100" fmla="*/ 114 w 251"/>
                <a:gd name="T101" fmla="*/ 40 h 15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51" h="151">
                  <a:moveTo>
                    <a:pt x="237" y="96"/>
                  </a:moveTo>
                  <a:lnTo>
                    <a:pt x="226" y="103"/>
                  </a:lnTo>
                  <a:lnTo>
                    <a:pt x="214" y="115"/>
                  </a:lnTo>
                  <a:lnTo>
                    <a:pt x="189" y="121"/>
                  </a:lnTo>
                  <a:lnTo>
                    <a:pt x="176" y="121"/>
                  </a:lnTo>
                  <a:lnTo>
                    <a:pt x="176" y="133"/>
                  </a:lnTo>
                  <a:lnTo>
                    <a:pt x="189" y="140"/>
                  </a:lnTo>
                  <a:lnTo>
                    <a:pt x="176" y="146"/>
                  </a:lnTo>
                  <a:lnTo>
                    <a:pt x="171" y="146"/>
                  </a:lnTo>
                  <a:lnTo>
                    <a:pt x="159" y="128"/>
                  </a:lnTo>
                  <a:lnTo>
                    <a:pt x="152" y="121"/>
                  </a:lnTo>
                  <a:lnTo>
                    <a:pt x="141" y="121"/>
                  </a:lnTo>
                  <a:lnTo>
                    <a:pt x="129" y="121"/>
                  </a:lnTo>
                  <a:lnTo>
                    <a:pt x="122" y="140"/>
                  </a:lnTo>
                  <a:lnTo>
                    <a:pt x="109" y="146"/>
                  </a:lnTo>
                  <a:lnTo>
                    <a:pt x="104" y="146"/>
                  </a:lnTo>
                  <a:lnTo>
                    <a:pt x="97" y="151"/>
                  </a:lnTo>
                  <a:lnTo>
                    <a:pt x="99" y="120"/>
                  </a:lnTo>
                  <a:lnTo>
                    <a:pt x="112" y="106"/>
                  </a:lnTo>
                  <a:lnTo>
                    <a:pt x="122" y="103"/>
                  </a:lnTo>
                  <a:lnTo>
                    <a:pt x="116" y="90"/>
                  </a:lnTo>
                  <a:lnTo>
                    <a:pt x="104" y="73"/>
                  </a:lnTo>
                  <a:lnTo>
                    <a:pt x="90" y="73"/>
                  </a:lnTo>
                  <a:lnTo>
                    <a:pt x="74" y="80"/>
                  </a:lnTo>
                  <a:lnTo>
                    <a:pt x="65" y="91"/>
                  </a:lnTo>
                  <a:lnTo>
                    <a:pt x="42" y="91"/>
                  </a:lnTo>
                  <a:lnTo>
                    <a:pt x="15" y="91"/>
                  </a:lnTo>
                  <a:lnTo>
                    <a:pt x="5" y="83"/>
                  </a:lnTo>
                  <a:lnTo>
                    <a:pt x="0" y="66"/>
                  </a:lnTo>
                  <a:lnTo>
                    <a:pt x="24" y="30"/>
                  </a:lnTo>
                  <a:lnTo>
                    <a:pt x="19" y="18"/>
                  </a:lnTo>
                  <a:lnTo>
                    <a:pt x="30" y="11"/>
                  </a:lnTo>
                  <a:lnTo>
                    <a:pt x="42" y="11"/>
                  </a:lnTo>
                  <a:lnTo>
                    <a:pt x="49" y="11"/>
                  </a:lnTo>
                  <a:lnTo>
                    <a:pt x="67" y="25"/>
                  </a:lnTo>
                  <a:lnTo>
                    <a:pt x="97" y="11"/>
                  </a:lnTo>
                  <a:lnTo>
                    <a:pt x="104" y="18"/>
                  </a:lnTo>
                  <a:lnTo>
                    <a:pt x="109" y="11"/>
                  </a:lnTo>
                  <a:lnTo>
                    <a:pt x="122" y="6"/>
                  </a:lnTo>
                  <a:lnTo>
                    <a:pt x="134" y="6"/>
                  </a:lnTo>
                  <a:lnTo>
                    <a:pt x="159" y="0"/>
                  </a:lnTo>
                  <a:lnTo>
                    <a:pt x="189" y="0"/>
                  </a:lnTo>
                  <a:lnTo>
                    <a:pt x="201" y="18"/>
                  </a:lnTo>
                  <a:lnTo>
                    <a:pt x="214" y="30"/>
                  </a:lnTo>
                  <a:lnTo>
                    <a:pt x="231" y="30"/>
                  </a:lnTo>
                  <a:lnTo>
                    <a:pt x="244" y="61"/>
                  </a:lnTo>
                  <a:lnTo>
                    <a:pt x="244" y="66"/>
                  </a:lnTo>
                  <a:lnTo>
                    <a:pt x="251" y="85"/>
                  </a:lnTo>
                  <a:lnTo>
                    <a:pt x="231" y="91"/>
                  </a:lnTo>
                  <a:lnTo>
                    <a:pt x="237" y="9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8" name="Freeform 375"/>
            <p:cNvSpPr>
              <a:spLocks/>
            </p:cNvSpPr>
            <p:nvPr/>
          </p:nvSpPr>
          <p:spPr bwMode="auto">
            <a:xfrm>
              <a:off x="2980" y="2156"/>
              <a:ext cx="40" cy="39"/>
            </a:xfrm>
            <a:custGeom>
              <a:avLst/>
              <a:gdLst>
                <a:gd name="T0" fmla="*/ 0 w 49"/>
                <a:gd name="T1" fmla="*/ 2 h 47"/>
                <a:gd name="T2" fmla="*/ 7 w 49"/>
                <a:gd name="T3" fmla="*/ 15 h 47"/>
                <a:gd name="T4" fmla="*/ 8 w 49"/>
                <a:gd name="T5" fmla="*/ 18 h 47"/>
                <a:gd name="T6" fmla="*/ 13 w 49"/>
                <a:gd name="T7" fmla="*/ 12 h 47"/>
                <a:gd name="T8" fmla="*/ 18 w 49"/>
                <a:gd name="T9" fmla="*/ 12 h 47"/>
                <a:gd name="T10" fmla="*/ 13 w 49"/>
                <a:gd name="T11" fmla="*/ 4 h 47"/>
                <a:gd name="T12" fmla="*/ 10 w 49"/>
                <a:gd name="T13" fmla="*/ 0 h 47"/>
                <a:gd name="T14" fmla="*/ 7 w 49"/>
                <a:gd name="T15" fmla="*/ 0 h 47"/>
                <a:gd name="T16" fmla="*/ 2 w 49"/>
                <a:gd name="T17" fmla="*/ 2 h 47"/>
                <a:gd name="T18" fmla="*/ 0 w 49"/>
                <a:gd name="T19" fmla="*/ 2 h 47"/>
                <a:gd name="T20" fmla="*/ 0 w 49"/>
                <a:gd name="T21" fmla="*/ 2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9" h="47">
                  <a:moveTo>
                    <a:pt x="0" y="5"/>
                  </a:moveTo>
                  <a:lnTo>
                    <a:pt x="21" y="37"/>
                  </a:lnTo>
                  <a:lnTo>
                    <a:pt x="22" y="47"/>
                  </a:lnTo>
                  <a:lnTo>
                    <a:pt x="37" y="33"/>
                  </a:lnTo>
                  <a:lnTo>
                    <a:pt x="49" y="30"/>
                  </a:lnTo>
                  <a:lnTo>
                    <a:pt x="36" y="1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5" y="3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9" name="Freeform 376"/>
            <p:cNvSpPr>
              <a:spLocks/>
            </p:cNvSpPr>
            <p:nvPr/>
          </p:nvSpPr>
          <p:spPr bwMode="auto">
            <a:xfrm>
              <a:off x="2980" y="2156"/>
              <a:ext cx="40" cy="39"/>
            </a:xfrm>
            <a:custGeom>
              <a:avLst/>
              <a:gdLst>
                <a:gd name="T0" fmla="*/ 0 w 49"/>
                <a:gd name="T1" fmla="*/ 2 h 47"/>
                <a:gd name="T2" fmla="*/ 7 w 49"/>
                <a:gd name="T3" fmla="*/ 15 h 47"/>
                <a:gd name="T4" fmla="*/ 8 w 49"/>
                <a:gd name="T5" fmla="*/ 18 h 47"/>
                <a:gd name="T6" fmla="*/ 13 w 49"/>
                <a:gd name="T7" fmla="*/ 12 h 47"/>
                <a:gd name="T8" fmla="*/ 18 w 49"/>
                <a:gd name="T9" fmla="*/ 12 h 47"/>
                <a:gd name="T10" fmla="*/ 13 w 49"/>
                <a:gd name="T11" fmla="*/ 4 h 47"/>
                <a:gd name="T12" fmla="*/ 10 w 49"/>
                <a:gd name="T13" fmla="*/ 0 h 47"/>
                <a:gd name="T14" fmla="*/ 7 w 49"/>
                <a:gd name="T15" fmla="*/ 0 h 47"/>
                <a:gd name="T16" fmla="*/ 2 w 49"/>
                <a:gd name="T17" fmla="*/ 2 h 47"/>
                <a:gd name="T18" fmla="*/ 0 w 49"/>
                <a:gd name="T19" fmla="*/ 2 h 47"/>
                <a:gd name="T20" fmla="*/ 0 w 49"/>
                <a:gd name="T21" fmla="*/ 2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9" h="47">
                  <a:moveTo>
                    <a:pt x="0" y="5"/>
                  </a:moveTo>
                  <a:lnTo>
                    <a:pt x="21" y="37"/>
                  </a:lnTo>
                  <a:lnTo>
                    <a:pt x="22" y="47"/>
                  </a:lnTo>
                  <a:lnTo>
                    <a:pt x="37" y="33"/>
                  </a:lnTo>
                  <a:lnTo>
                    <a:pt x="49" y="30"/>
                  </a:lnTo>
                  <a:lnTo>
                    <a:pt x="36" y="1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5" y="3"/>
                  </a:lnTo>
                  <a:lnTo>
                    <a:pt x="0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0" name="Freeform 377"/>
            <p:cNvSpPr>
              <a:spLocks/>
            </p:cNvSpPr>
            <p:nvPr/>
          </p:nvSpPr>
          <p:spPr bwMode="auto">
            <a:xfrm>
              <a:off x="2924" y="2017"/>
              <a:ext cx="129" cy="98"/>
            </a:xfrm>
            <a:custGeom>
              <a:avLst/>
              <a:gdLst>
                <a:gd name="T0" fmla="*/ 5 w 150"/>
                <a:gd name="T1" fmla="*/ 48 h 115"/>
                <a:gd name="T2" fmla="*/ 0 w 150"/>
                <a:gd name="T3" fmla="*/ 41 h 115"/>
                <a:gd name="T4" fmla="*/ 3 w 150"/>
                <a:gd name="T5" fmla="*/ 36 h 115"/>
                <a:gd name="T6" fmla="*/ 3 w 150"/>
                <a:gd name="T7" fmla="*/ 28 h 115"/>
                <a:gd name="T8" fmla="*/ 11 w 150"/>
                <a:gd name="T9" fmla="*/ 26 h 115"/>
                <a:gd name="T10" fmla="*/ 18 w 150"/>
                <a:gd name="T11" fmla="*/ 20 h 115"/>
                <a:gd name="T12" fmla="*/ 21 w 150"/>
                <a:gd name="T13" fmla="*/ 11 h 115"/>
                <a:gd name="T14" fmla="*/ 34 w 150"/>
                <a:gd name="T15" fmla="*/ 0 h 115"/>
                <a:gd name="T16" fmla="*/ 48 w 150"/>
                <a:gd name="T17" fmla="*/ 6 h 115"/>
                <a:gd name="T18" fmla="*/ 59 w 150"/>
                <a:gd name="T19" fmla="*/ 8 h 115"/>
                <a:gd name="T20" fmla="*/ 61 w 150"/>
                <a:gd name="T21" fmla="*/ 14 h 115"/>
                <a:gd name="T22" fmla="*/ 69 w 150"/>
                <a:gd name="T23" fmla="*/ 17 h 115"/>
                <a:gd name="T24" fmla="*/ 71 w 150"/>
                <a:gd name="T25" fmla="*/ 23 h 115"/>
                <a:gd name="T26" fmla="*/ 66 w 150"/>
                <a:gd name="T27" fmla="*/ 35 h 115"/>
                <a:gd name="T28" fmla="*/ 68 w 150"/>
                <a:gd name="T29" fmla="*/ 42 h 115"/>
                <a:gd name="T30" fmla="*/ 60 w 150"/>
                <a:gd name="T31" fmla="*/ 44 h 115"/>
                <a:gd name="T32" fmla="*/ 52 w 150"/>
                <a:gd name="T33" fmla="*/ 44 h 115"/>
                <a:gd name="T34" fmla="*/ 43 w 150"/>
                <a:gd name="T35" fmla="*/ 49 h 115"/>
                <a:gd name="T36" fmla="*/ 40 w 150"/>
                <a:gd name="T37" fmla="*/ 47 h 115"/>
                <a:gd name="T38" fmla="*/ 34 w 150"/>
                <a:gd name="T39" fmla="*/ 48 h 115"/>
                <a:gd name="T40" fmla="*/ 25 w 150"/>
                <a:gd name="T41" fmla="*/ 52 h 115"/>
                <a:gd name="T42" fmla="*/ 18 w 150"/>
                <a:gd name="T43" fmla="*/ 47 h 115"/>
                <a:gd name="T44" fmla="*/ 8 w 150"/>
                <a:gd name="T45" fmla="*/ 47 h 115"/>
                <a:gd name="T46" fmla="*/ 5 w 150"/>
                <a:gd name="T47" fmla="*/ 48 h 115"/>
                <a:gd name="T48" fmla="*/ 5 w 150"/>
                <a:gd name="T49" fmla="*/ 48 h 11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0" h="115">
                  <a:moveTo>
                    <a:pt x="10" y="108"/>
                  </a:moveTo>
                  <a:lnTo>
                    <a:pt x="0" y="92"/>
                  </a:lnTo>
                  <a:lnTo>
                    <a:pt x="7" y="80"/>
                  </a:lnTo>
                  <a:lnTo>
                    <a:pt x="7" y="63"/>
                  </a:lnTo>
                  <a:lnTo>
                    <a:pt x="23" y="58"/>
                  </a:lnTo>
                  <a:lnTo>
                    <a:pt x="37" y="43"/>
                  </a:lnTo>
                  <a:lnTo>
                    <a:pt x="43" y="25"/>
                  </a:lnTo>
                  <a:lnTo>
                    <a:pt x="73" y="0"/>
                  </a:lnTo>
                  <a:lnTo>
                    <a:pt x="102" y="13"/>
                  </a:lnTo>
                  <a:lnTo>
                    <a:pt x="125" y="17"/>
                  </a:lnTo>
                  <a:lnTo>
                    <a:pt x="130" y="30"/>
                  </a:lnTo>
                  <a:lnTo>
                    <a:pt x="145" y="38"/>
                  </a:lnTo>
                  <a:lnTo>
                    <a:pt x="150" y="53"/>
                  </a:lnTo>
                  <a:lnTo>
                    <a:pt x="142" y="78"/>
                  </a:lnTo>
                  <a:lnTo>
                    <a:pt x="144" y="93"/>
                  </a:lnTo>
                  <a:lnTo>
                    <a:pt x="127" y="98"/>
                  </a:lnTo>
                  <a:lnTo>
                    <a:pt x="110" y="98"/>
                  </a:lnTo>
                  <a:lnTo>
                    <a:pt x="92" y="110"/>
                  </a:lnTo>
                  <a:lnTo>
                    <a:pt x="85" y="103"/>
                  </a:lnTo>
                  <a:lnTo>
                    <a:pt x="73" y="108"/>
                  </a:lnTo>
                  <a:lnTo>
                    <a:pt x="53" y="115"/>
                  </a:lnTo>
                  <a:lnTo>
                    <a:pt x="37" y="103"/>
                  </a:lnTo>
                  <a:lnTo>
                    <a:pt x="18" y="103"/>
                  </a:lnTo>
                  <a:lnTo>
                    <a:pt x="10" y="10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1" name="Freeform 378"/>
            <p:cNvSpPr>
              <a:spLocks/>
            </p:cNvSpPr>
            <p:nvPr/>
          </p:nvSpPr>
          <p:spPr bwMode="auto">
            <a:xfrm>
              <a:off x="2924" y="2017"/>
              <a:ext cx="129" cy="98"/>
            </a:xfrm>
            <a:custGeom>
              <a:avLst/>
              <a:gdLst>
                <a:gd name="T0" fmla="*/ 5 w 150"/>
                <a:gd name="T1" fmla="*/ 48 h 115"/>
                <a:gd name="T2" fmla="*/ 0 w 150"/>
                <a:gd name="T3" fmla="*/ 41 h 115"/>
                <a:gd name="T4" fmla="*/ 3 w 150"/>
                <a:gd name="T5" fmla="*/ 36 h 115"/>
                <a:gd name="T6" fmla="*/ 3 w 150"/>
                <a:gd name="T7" fmla="*/ 28 h 115"/>
                <a:gd name="T8" fmla="*/ 11 w 150"/>
                <a:gd name="T9" fmla="*/ 26 h 115"/>
                <a:gd name="T10" fmla="*/ 18 w 150"/>
                <a:gd name="T11" fmla="*/ 20 h 115"/>
                <a:gd name="T12" fmla="*/ 21 w 150"/>
                <a:gd name="T13" fmla="*/ 11 h 115"/>
                <a:gd name="T14" fmla="*/ 34 w 150"/>
                <a:gd name="T15" fmla="*/ 0 h 115"/>
                <a:gd name="T16" fmla="*/ 48 w 150"/>
                <a:gd name="T17" fmla="*/ 6 h 115"/>
                <a:gd name="T18" fmla="*/ 59 w 150"/>
                <a:gd name="T19" fmla="*/ 8 h 115"/>
                <a:gd name="T20" fmla="*/ 61 w 150"/>
                <a:gd name="T21" fmla="*/ 14 h 115"/>
                <a:gd name="T22" fmla="*/ 69 w 150"/>
                <a:gd name="T23" fmla="*/ 17 h 115"/>
                <a:gd name="T24" fmla="*/ 71 w 150"/>
                <a:gd name="T25" fmla="*/ 23 h 115"/>
                <a:gd name="T26" fmla="*/ 66 w 150"/>
                <a:gd name="T27" fmla="*/ 35 h 115"/>
                <a:gd name="T28" fmla="*/ 68 w 150"/>
                <a:gd name="T29" fmla="*/ 42 h 115"/>
                <a:gd name="T30" fmla="*/ 60 w 150"/>
                <a:gd name="T31" fmla="*/ 44 h 115"/>
                <a:gd name="T32" fmla="*/ 52 w 150"/>
                <a:gd name="T33" fmla="*/ 44 h 115"/>
                <a:gd name="T34" fmla="*/ 43 w 150"/>
                <a:gd name="T35" fmla="*/ 49 h 115"/>
                <a:gd name="T36" fmla="*/ 40 w 150"/>
                <a:gd name="T37" fmla="*/ 47 h 115"/>
                <a:gd name="T38" fmla="*/ 34 w 150"/>
                <a:gd name="T39" fmla="*/ 48 h 115"/>
                <a:gd name="T40" fmla="*/ 25 w 150"/>
                <a:gd name="T41" fmla="*/ 52 h 115"/>
                <a:gd name="T42" fmla="*/ 18 w 150"/>
                <a:gd name="T43" fmla="*/ 47 h 115"/>
                <a:gd name="T44" fmla="*/ 8 w 150"/>
                <a:gd name="T45" fmla="*/ 47 h 115"/>
                <a:gd name="T46" fmla="*/ 5 w 150"/>
                <a:gd name="T47" fmla="*/ 48 h 115"/>
                <a:gd name="T48" fmla="*/ 5 w 150"/>
                <a:gd name="T49" fmla="*/ 48 h 11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50" h="115">
                  <a:moveTo>
                    <a:pt x="10" y="108"/>
                  </a:moveTo>
                  <a:lnTo>
                    <a:pt x="0" y="92"/>
                  </a:lnTo>
                  <a:lnTo>
                    <a:pt x="7" y="80"/>
                  </a:lnTo>
                  <a:lnTo>
                    <a:pt x="7" y="63"/>
                  </a:lnTo>
                  <a:lnTo>
                    <a:pt x="23" y="58"/>
                  </a:lnTo>
                  <a:lnTo>
                    <a:pt x="37" y="43"/>
                  </a:lnTo>
                  <a:lnTo>
                    <a:pt x="43" y="25"/>
                  </a:lnTo>
                  <a:lnTo>
                    <a:pt x="73" y="0"/>
                  </a:lnTo>
                  <a:lnTo>
                    <a:pt x="102" y="13"/>
                  </a:lnTo>
                  <a:lnTo>
                    <a:pt x="125" y="17"/>
                  </a:lnTo>
                  <a:lnTo>
                    <a:pt x="130" y="30"/>
                  </a:lnTo>
                  <a:lnTo>
                    <a:pt x="145" y="38"/>
                  </a:lnTo>
                  <a:lnTo>
                    <a:pt x="150" y="53"/>
                  </a:lnTo>
                  <a:lnTo>
                    <a:pt x="142" y="78"/>
                  </a:lnTo>
                  <a:lnTo>
                    <a:pt x="144" y="93"/>
                  </a:lnTo>
                  <a:lnTo>
                    <a:pt x="127" y="98"/>
                  </a:lnTo>
                  <a:lnTo>
                    <a:pt x="110" y="98"/>
                  </a:lnTo>
                  <a:lnTo>
                    <a:pt x="92" y="110"/>
                  </a:lnTo>
                  <a:lnTo>
                    <a:pt x="85" y="103"/>
                  </a:lnTo>
                  <a:lnTo>
                    <a:pt x="73" y="108"/>
                  </a:lnTo>
                  <a:lnTo>
                    <a:pt x="53" y="115"/>
                  </a:lnTo>
                  <a:lnTo>
                    <a:pt x="37" y="103"/>
                  </a:lnTo>
                  <a:lnTo>
                    <a:pt x="18" y="103"/>
                  </a:lnTo>
                  <a:lnTo>
                    <a:pt x="10" y="10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2" name="Freeform 379"/>
            <p:cNvSpPr>
              <a:spLocks/>
            </p:cNvSpPr>
            <p:nvPr/>
          </p:nvSpPr>
          <p:spPr bwMode="auto">
            <a:xfrm>
              <a:off x="2893" y="2160"/>
              <a:ext cx="107" cy="81"/>
            </a:xfrm>
            <a:custGeom>
              <a:avLst/>
              <a:gdLst>
                <a:gd name="T0" fmla="*/ 16 w 122"/>
                <a:gd name="T1" fmla="*/ 2 h 98"/>
                <a:gd name="T2" fmla="*/ 10 w 122"/>
                <a:gd name="T3" fmla="*/ 12 h 98"/>
                <a:gd name="T4" fmla="*/ 0 w 122"/>
                <a:gd name="T5" fmla="*/ 19 h 98"/>
                <a:gd name="T6" fmla="*/ 0 w 122"/>
                <a:gd name="T7" fmla="*/ 24 h 98"/>
                <a:gd name="T8" fmla="*/ 7 w 122"/>
                <a:gd name="T9" fmla="*/ 28 h 98"/>
                <a:gd name="T10" fmla="*/ 16 w 122"/>
                <a:gd name="T11" fmla="*/ 31 h 98"/>
                <a:gd name="T12" fmla="*/ 19 w 122"/>
                <a:gd name="T13" fmla="*/ 33 h 98"/>
                <a:gd name="T14" fmla="*/ 32 w 122"/>
                <a:gd name="T15" fmla="*/ 37 h 98"/>
                <a:gd name="T16" fmla="*/ 45 w 122"/>
                <a:gd name="T17" fmla="*/ 31 h 98"/>
                <a:gd name="T18" fmla="*/ 52 w 122"/>
                <a:gd name="T19" fmla="*/ 36 h 98"/>
                <a:gd name="T20" fmla="*/ 61 w 122"/>
                <a:gd name="T21" fmla="*/ 33 h 98"/>
                <a:gd name="T22" fmla="*/ 63 w 122"/>
                <a:gd name="T23" fmla="*/ 31 h 98"/>
                <a:gd name="T24" fmla="*/ 63 w 122"/>
                <a:gd name="T25" fmla="*/ 28 h 98"/>
                <a:gd name="T26" fmla="*/ 63 w 122"/>
                <a:gd name="T27" fmla="*/ 21 h 98"/>
                <a:gd name="T28" fmla="*/ 63 w 122"/>
                <a:gd name="T29" fmla="*/ 12 h 98"/>
                <a:gd name="T30" fmla="*/ 57 w 122"/>
                <a:gd name="T31" fmla="*/ 5 h 98"/>
                <a:gd name="T32" fmla="*/ 52 w 122"/>
                <a:gd name="T33" fmla="*/ 0 h 98"/>
                <a:gd name="T34" fmla="*/ 47 w 122"/>
                <a:gd name="T35" fmla="*/ 5 h 98"/>
                <a:gd name="T36" fmla="*/ 23 w 122"/>
                <a:gd name="T37" fmla="*/ 5 h 98"/>
                <a:gd name="T38" fmla="*/ 16 w 122"/>
                <a:gd name="T39" fmla="*/ 2 h 98"/>
                <a:gd name="T40" fmla="*/ 16 w 122"/>
                <a:gd name="T41" fmla="*/ 2 h 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2" h="98">
                  <a:moveTo>
                    <a:pt x="30" y="7"/>
                  </a:moveTo>
                  <a:lnTo>
                    <a:pt x="19" y="32"/>
                  </a:lnTo>
                  <a:lnTo>
                    <a:pt x="0" y="50"/>
                  </a:lnTo>
                  <a:lnTo>
                    <a:pt x="0" y="62"/>
                  </a:lnTo>
                  <a:lnTo>
                    <a:pt x="12" y="73"/>
                  </a:lnTo>
                  <a:lnTo>
                    <a:pt x="30" y="80"/>
                  </a:lnTo>
                  <a:lnTo>
                    <a:pt x="37" y="85"/>
                  </a:lnTo>
                  <a:lnTo>
                    <a:pt x="62" y="98"/>
                  </a:lnTo>
                  <a:lnTo>
                    <a:pt x="85" y="80"/>
                  </a:lnTo>
                  <a:lnTo>
                    <a:pt x="99" y="92"/>
                  </a:lnTo>
                  <a:lnTo>
                    <a:pt x="117" y="85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2" y="55"/>
                  </a:lnTo>
                  <a:lnTo>
                    <a:pt x="122" y="32"/>
                  </a:lnTo>
                  <a:lnTo>
                    <a:pt x="110" y="13"/>
                  </a:lnTo>
                  <a:lnTo>
                    <a:pt x="99" y="0"/>
                  </a:lnTo>
                  <a:lnTo>
                    <a:pt x="92" y="13"/>
                  </a:lnTo>
                  <a:lnTo>
                    <a:pt x="44" y="13"/>
                  </a:lnTo>
                  <a:lnTo>
                    <a:pt x="30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3" name="Freeform 380"/>
            <p:cNvSpPr>
              <a:spLocks/>
            </p:cNvSpPr>
            <p:nvPr/>
          </p:nvSpPr>
          <p:spPr bwMode="auto">
            <a:xfrm>
              <a:off x="2893" y="2160"/>
              <a:ext cx="107" cy="81"/>
            </a:xfrm>
            <a:custGeom>
              <a:avLst/>
              <a:gdLst>
                <a:gd name="T0" fmla="*/ 16 w 122"/>
                <a:gd name="T1" fmla="*/ 2 h 98"/>
                <a:gd name="T2" fmla="*/ 10 w 122"/>
                <a:gd name="T3" fmla="*/ 12 h 98"/>
                <a:gd name="T4" fmla="*/ 0 w 122"/>
                <a:gd name="T5" fmla="*/ 19 h 98"/>
                <a:gd name="T6" fmla="*/ 0 w 122"/>
                <a:gd name="T7" fmla="*/ 24 h 98"/>
                <a:gd name="T8" fmla="*/ 7 w 122"/>
                <a:gd name="T9" fmla="*/ 28 h 98"/>
                <a:gd name="T10" fmla="*/ 16 w 122"/>
                <a:gd name="T11" fmla="*/ 31 h 98"/>
                <a:gd name="T12" fmla="*/ 19 w 122"/>
                <a:gd name="T13" fmla="*/ 33 h 98"/>
                <a:gd name="T14" fmla="*/ 32 w 122"/>
                <a:gd name="T15" fmla="*/ 37 h 98"/>
                <a:gd name="T16" fmla="*/ 45 w 122"/>
                <a:gd name="T17" fmla="*/ 31 h 98"/>
                <a:gd name="T18" fmla="*/ 52 w 122"/>
                <a:gd name="T19" fmla="*/ 36 h 98"/>
                <a:gd name="T20" fmla="*/ 61 w 122"/>
                <a:gd name="T21" fmla="*/ 33 h 98"/>
                <a:gd name="T22" fmla="*/ 63 w 122"/>
                <a:gd name="T23" fmla="*/ 31 h 98"/>
                <a:gd name="T24" fmla="*/ 63 w 122"/>
                <a:gd name="T25" fmla="*/ 28 h 98"/>
                <a:gd name="T26" fmla="*/ 63 w 122"/>
                <a:gd name="T27" fmla="*/ 21 h 98"/>
                <a:gd name="T28" fmla="*/ 63 w 122"/>
                <a:gd name="T29" fmla="*/ 12 h 98"/>
                <a:gd name="T30" fmla="*/ 57 w 122"/>
                <a:gd name="T31" fmla="*/ 5 h 98"/>
                <a:gd name="T32" fmla="*/ 52 w 122"/>
                <a:gd name="T33" fmla="*/ 0 h 98"/>
                <a:gd name="T34" fmla="*/ 47 w 122"/>
                <a:gd name="T35" fmla="*/ 5 h 98"/>
                <a:gd name="T36" fmla="*/ 23 w 122"/>
                <a:gd name="T37" fmla="*/ 5 h 98"/>
                <a:gd name="T38" fmla="*/ 16 w 122"/>
                <a:gd name="T39" fmla="*/ 2 h 98"/>
                <a:gd name="T40" fmla="*/ 16 w 122"/>
                <a:gd name="T41" fmla="*/ 2 h 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2" h="98">
                  <a:moveTo>
                    <a:pt x="30" y="7"/>
                  </a:moveTo>
                  <a:lnTo>
                    <a:pt x="19" y="32"/>
                  </a:lnTo>
                  <a:lnTo>
                    <a:pt x="0" y="50"/>
                  </a:lnTo>
                  <a:lnTo>
                    <a:pt x="0" y="62"/>
                  </a:lnTo>
                  <a:lnTo>
                    <a:pt x="12" y="73"/>
                  </a:lnTo>
                  <a:lnTo>
                    <a:pt x="30" y="80"/>
                  </a:lnTo>
                  <a:lnTo>
                    <a:pt x="37" y="85"/>
                  </a:lnTo>
                  <a:lnTo>
                    <a:pt x="62" y="98"/>
                  </a:lnTo>
                  <a:lnTo>
                    <a:pt x="85" y="80"/>
                  </a:lnTo>
                  <a:lnTo>
                    <a:pt x="99" y="92"/>
                  </a:lnTo>
                  <a:lnTo>
                    <a:pt x="117" y="85"/>
                  </a:lnTo>
                  <a:lnTo>
                    <a:pt x="121" y="80"/>
                  </a:lnTo>
                  <a:lnTo>
                    <a:pt x="121" y="73"/>
                  </a:lnTo>
                  <a:lnTo>
                    <a:pt x="122" y="55"/>
                  </a:lnTo>
                  <a:lnTo>
                    <a:pt x="122" y="32"/>
                  </a:lnTo>
                  <a:lnTo>
                    <a:pt x="110" y="13"/>
                  </a:lnTo>
                  <a:lnTo>
                    <a:pt x="99" y="0"/>
                  </a:lnTo>
                  <a:lnTo>
                    <a:pt x="92" y="13"/>
                  </a:lnTo>
                  <a:lnTo>
                    <a:pt x="44" y="13"/>
                  </a:lnTo>
                  <a:lnTo>
                    <a:pt x="30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4" name="Freeform 381"/>
            <p:cNvSpPr>
              <a:spLocks/>
            </p:cNvSpPr>
            <p:nvPr/>
          </p:nvSpPr>
          <p:spPr bwMode="auto">
            <a:xfrm>
              <a:off x="2795" y="2116"/>
              <a:ext cx="122" cy="55"/>
            </a:xfrm>
            <a:custGeom>
              <a:avLst/>
              <a:gdLst>
                <a:gd name="T0" fmla="*/ 61 w 144"/>
                <a:gd name="T1" fmla="*/ 19 h 66"/>
                <a:gd name="T2" fmla="*/ 53 w 144"/>
                <a:gd name="T3" fmla="*/ 15 h 66"/>
                <a:gd name="T4" fmla="*/ 46 w 144"/>
                <a:gd name="T5" fmla="*/ 15 h 66"/>
                <a:gd name="T6" fmla="*/ 40 w 144"/>
                <a:gd name="T7" fmla="*/ 15 h 66"/>
                <a:gd name="T8" fmla="*/ 32 w 144"/>
                <a:gd name="T9" fmla="*/ 7 h 66"/>
                <a:gd name="T10" fmla="*/ 13 w 144"/>
                <a:gd name="T11" fmla="*/ 0 h 66"/>
                <a:gd name="T12" fmla="*/ 0 w 144"/>
                <a:gd name="T13" fmla="*/ 11 h 66"/>
                <a:gd name="T14" fmla="*/ 5 w 144"/>
                <a:gd name="T15" fmla="*/ 15 h 66"/>
                <a:gd name="T16" fmla="*/ 5 w 144"/>
                <a:gd name="T17" fmla="*/ 19 h 66"/>
                <a:gd name="T18" fmla="*/ 13 w 144"/>
                <a:gd name="T19" fmla="*/ 19 h 66"/>
                <a:gd name="T20" fmla="*/ 19 w 144"/>
                <a:gd name="T21" fmla="*/ 16 h 66"/>
                <a:gd name="T22" fmla="*/ 22 w 144"/>
                <a:gd name="T23" fmla="*/ 19 h 66"/>
                <a:gd name="T24" fmla="*/ 26 w 144"/>
                <a:gd name="T25" fmla="*/ 19 h 66"/>
                <a:gd name="T26" fmla="*/ 30 w 144"/>
                <a:gd name="T27" fmla="*/ 27 h 66"/>
                <a:gd name="T28" fmla="*/ 43 w 144"/>
                <a:gd name="T29" fmla="*/ 27 h 66"/>
                <a:gd name="T30" fmla="*/ 48 w 144"/>
                <a:gd name="T31" fmla="*/ 24 h 66"/>
                <a:gd name="T32" fmla="*/ 56 w 144"/>
                <a:gd name="T33" fmla="*/ 24 h 66"/>
                <a:gd name="T34" fmla="*/ 63 w 144"/>
                <a:gd name="T35" fmla="*/ 23 h 66"/>
                <a:gd name="T36" fmla="*/ 61 w 144"/>
                <a:gd name="T37" fmla="*/ 19 h 66"/>
                <a:gd name="T38" fmla="*/ 61 w 144"/>
                <a:gd name="T39" fmla="*/ 19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4" h="66">
                  <a:moveTo>
                    <a:pt x="139" y="45"/>
                  </a:moveTo>
                  <a:lnTo>
                    <a:pt x="122" y="36"/>
                  </a:lnTo>
                  <a:lnTo>
                    <a:pt x="104" y="36"/>
                  </a:lnTo>
                  <a:lnTo>
                    <a:pt x="92" y="36"/>
                  </a:lnTo>
                  <a:lnTo>
                    <a:pt x="74" y="16"/>
                  </a:lnTo>
                  <a:lnTo>
                    <a:pt x="30" y="0"/>
                  </a:lnTo>
                  <a:lnTo>
                    <a:pt x="0" y="25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30" y="48"/>
                  </a:lnTo>
                  <a:lnTo>
                    <a:pt x="42" y="41"/>
                  </a:lnTo>
                  <a:lnTo>
                    <a:pt x="49" y="48"/>
                  </a:lnTo>
                  <a:lnTo>
                    <a:pt x="60" y="48"/>
                  </a:lnTo>
                  <a:lnTo>
                    <a:pt x="67" y="66"/>
                  </a:lnTo>
                  <a:lnTo>
                    <a:pt x="99" y="66"/>
                  </a:lnTo>
                  <a:lnTo>
                    <a:pt x="110" y="60"/>
                  </a:lnTo>
                  <a:lnTo>
                    <a:pt x="129" y="60"/>
                  </a:lnTo>
                  <a:lnTo>
                    <a:pt x="144" y="58"/>
                  </a:lnTo>
                  <a:lnTo>
                    <a:pt x="139" y="4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5" name="Freeform 382"/>
            <p:cNvSpPr>
              <a:spLocks/>
            </p:cNvSpPr>
            <p:nvPr/>
          </p:nvSpPr>
          <p:spPr bwMode="auto">
            <a:xfrm>
              <a:off x="2795" y="2116"/>
              <a:ext cx="122" cy="55"/>
            </a:xfrm>
            <a:custGeom>
              <a:avLst/>
              <a:gdLst>
                <a:gd name="T0" fmla="*/ 61 w 144"/>
                <a:gd name="T1" fmla="*/ 19 h 66"/>
                <a:gd name="T2" fmla="*/ 53 w 144"/>
                <a:gd name="T3" fmla="*/ 15 h 66"/>
                <a:gd name="T4" fmla="*/ 46 w 144"/>
                <a:gd name="T5" fmla="*/ 15 h 66"/>
                <a:gd name="T6" fmla="*/ 40 w 144"/>
                <a:gd name="T7" fmla="*/ 15 h 66"/>
                <a:gd name="T8" fmla="*/ 32 w 144"/>
                <a:gd name="T9" fmla="*/ 7 h 66"/>
                <a:gd name="T10" fmla="*/ 13 w 144"/>
                <a:gd name="T11" fmla="*/ 0 h 66"/>
                <a:gd name="T12" fmla="*/ 0 w 144"/>
                <a:gd name="T13" fmla="*/ 11 h 66"/>
                <a:gd name="T14" fmla="*/ 5 w 144"/>
                <a:gd name="T15" fmla="*/ 15 h 66"/>
                <a:gd name="T16" fmla="*/ 5 w 144"/>
                <a:gd name="T17" fmla="*/ 19 h 66"/>
                <a:gd name="T18" fmla="*/ 13 w 144"/>
                <a:gd name="T19" fmla="*/ 19 h 66"/>
                <a:gd name="T20" fmla="*/ 19 w 144"/>
                <a:gd name="T21" fmla="*/ 16 h 66"/>
                <a:gd name="T22" fmla="*/ 22 w 144"/>
                <a:gd name="T23" fmla="*/ 19 h 66"/>
                <a:gd name="T24" fmla="*/ 26 w 144"/>
                <a:gd name="T25" fmla="*/ 19 h 66"/>
                <a:gd name="T26" fmla="*/ 30 w 144"/>
                <a:gd name="T27" fmla="*/ 27 h 66"/>
                <a:gd name="T28" fmla="*/ 43 w 144"/>
                <a:gd name="T29" fmla="*/ 27 h 66"/>
                <a:gd name="T30" fmla="*/ 48 w 144"/>
                <a:gd name="T31" fmla="*/ 24 h 66"/>
                <a:gd name="T32" fmla="*/ 56 w 144"/>
                <a:gd name="T33" fmla="*/ 24 h 66"/>
                <a:gd name="T34" fmla="*/ 63 w 144"/>
                <a:gd name="T35" fmla="*/ 23 h 66"/>
                <a:gd name="T36" fmla="*/ 61 w 144"/>
                <a:gd name="T37" fmla="*/ 19 h 66"/>
                <a:gd name="T38" fmla="*/ 61 w 144"/>
                <a:gd name="T39" fmla="*/ 19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4" h="66">
                  <a:moveTo>
                    <a:pt x="139" y="45"/>
                  </a:moveTo>
                  <a:lnTo>
                    <a:pt x="122" y="36"/>
                  </a:lnTo>
                  <a:lnTo>
                    <a:pt x="104" y="36"/>
                  </a:lnTo>
                  <a:lnTo>
                    <a:pt x="92" y="36"/>
                  </a:lnTo>
                  <a:lnTo>
                    <a:pt x="74" y="16"/>
                  </a:lnTo>
                  <a:lnTo>
                    <a:pt x="30" y="0"/>
                  </a:lnTo>
                  <a:lnTo>
                    <a:pt x="0" y="25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30" y="48"/>
                  </a:lnTo>
                  <a:lnTo>
                    <a:pt x="42" y="41"/>
                  </a:lnTo>
                  <a:lnTo>
                    <a:pt x="49" y="48"/>
                  </a:lnTo>
                  <a:lnTo>
                    <a:pt x="60" y="48"/>
                  </a:lnTo>
                  <a:lnTo>
                    <a:pt x="67" y="66"/>
                  </a:lnTo>
                  <a:lnTo>
                    <a:pt x="99" y="66"/>
                  </a:lnTo>
                  <a:lnTo>
                    <a:pt x="110" y="60"/>
                  </a:lnTo>
                  <a:lnTo>
                    <a:pt x="129" y="60"/>
                  </a:lnTo>
                  <a:lnTo>
                    <a:pt x="144" y="58"/>
                  </a:lnTo>
                  <a:lnTo>
                    <a:pt x="139" y="4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6" name="Freeform 383"/>
            <p:cNvSpPr>
              <a:spLocks/>
            </p:cNvSpPr>
            <p:nvPr/>
          </p:nvSpPr>
          <p:spPr bwMode="auto">
            <a:xfrm>
              <a:off x="2811" y="2049"/>
              <a:ext cx="125" cy="105"/>
            </a:xfrm>
            <a:custGeom>
              <a:avLst/>
              <a:gdLst>
                <a:gd name="T0" fmla="*/ 5 w 145"/>
                <a:gd name="T1" fmla="*/ 33 h 126"/>
                <a:gd name="T2" fmla="*/ 6 w 145"/>
                <a:gd name="T3" fmla="*/ 27 h 126"/>
                <a:gd name="T4" fmla="*/ 5 w 145"/>
                <a:gd name="T5" fmla="*/ 23 h 126"/>
                <a:gd name="T6" fmla="*/ 0 w 145"/>
                <a:gd name="T7" fmla="*/ 20 h 126"/>
                <a:gd name="T8" fmla="*/ 3 w 145"/>
                <a:gd name="T9" fmla="*/ 13 h 126"/>
                <a:gd name="T10" fmla="*/ 3 w 145"/>
                <a:gd name="T11" fmla="*/ 8 h 126"/>
                <a:gd name="T12" fmla="*/ 19 w 145"/>
                <a:gd name="T13" fmla="*/ 0 h 126"/>
                <a:gd name="T14" fmla="*/ 35 w 145"/>
                <a:gd name="T15" fmla="*/ 0 h 126"/>
                <a:gd name="T16" fmla="*/ 38 w 145"/>
                <a:gd name="T17" fmla="*/ 0 h 126"/>
                <a:gd name="T18" fmla="*/ 53 w 145"/>
                <a:gd name="T19" fmla="*/ 6 h 126"/>
                <a:gd name="T20" fmla="*/ 58 w 145"/>
                <a:gd name="T21" fmla="*/ 8 h 126"/>
                <a:gd name="T22" fmla="*/ 67 w 145"/>
                <a:gd name="T23" fmla="*/ 11 h 126"/>
                <a:gd name="T24" fmla="*/ 67 w 145"/>
                <a:gd name="T25" fmla="*/ 18 h 126"/>
                <a:gd name="T26" fmla="*/ 63 w 145"/>
                <a:gd name="T27" fmla="*/ 23 h 126"/>
                <a:gd name="T28" fmla="*/ 67 w 145"/>
                <a:gd name="T29" fmla="*/ 27 h 126"/>
                <a:gd name="T30" fmla="*/ 69 w 145"/>
                <a:gd name="T31" fmla="*/ 33 h 126"/>
                <a:gd name="T32" fmla="*/ 67 w 145"/>
                <a:gd name="T33" fmla="*/ 39 h 126"/>
                <a:gd name="T34" fmla="*/ 59 w 145"/>
                <a:gd name="T35" fmla="*/ 48 h 126"/>
                <a:gd name="T36" fmla="*/ 58 w 145"/>
                <a:gd name="T37" fmla="*/ 51 h 126"/>
                <a:gd name="T38" fmla="*/ 47 w 145"/>
                <a:gd name="T39" fmla="*/ 48 h 126"/>
                <a:gd name="T40" fmla="*/ 34 w 145"/>
                <a:gd name="T41" fmla="*/ 48 h 126"/>
                <a:gd name="T42" fmla="*/ 25 w 145"/>
                <a:gd name="T43" fmla="*/ 39 h 126"/>
                <a:gd name="T44" fmla="*/ 17 w 145"/>
                <a:gd name="T45" fmla="*/ 36 h 126"/>
                <a:gd name="T46" fmla="*/ 5 w 145"/>
                <a:gd name="T47" fmla="*/ 33 h 126"/>
                <a:gd name="T48" fmla="*/ 5 w 145"/>
                <a:gd name="T49" fmla="*/ 33 h 1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126">
                  <a:moveTo>
                    <a:pt x="11" y="80"/>
                  </a:moveTo>
                  <a:lnTo>
                    <a:pt x="13" y="66"/>
                  </a:lnTo>
                  <a:lnTo>
                    <a:pt x="11" y="55"/>
                  </a:lnTo>
                  <a:lnTo>
                    <a:pt x="0" y="50"/>
                  </a:lnTo>
                  <a:lnTo>
                    <a:pt x="5" y="30"/>
                  </a:lnTo>
                  <a:lnTo>
                    <a:pt x="5" y="18"/>
                  </a:lnTo>
                  <a:lnTo>
                    <a:pt x="41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110" y="13"/>
                  </a:lnTo>
                  <a:lnTo>
                    <a:pt x="121" y="18"/>
                  </a:lnTo>
                  <a:lnTo>
                    <a:pt x="140" y="25"/>
                  </a:lnTo>
                  <a:lnTo>
                    <a:pt x="140" y="43"/>
                  </a:lnTo>
                  <a:lnTo>
                    <a:pt x="133" y="55"/>
                  </a:lnTo>
                  <a:lnTo>
                    <a:pt x="140" y="66"/>
                  </a:lnTo>
                  <a:lnTo>
                    <a:pt x="145" y="80"/>
                  </a:lnTo>
                  <a:lnTo>
                    <a:pt x="141" y="96"/>
                  </a:lnTo>
                  <a:lnTo>
                    <a:pt x="125" y="116"/>
                  </a:lnTo>
                  <a:lnTo>
                    <a:pt x="121" y="126"/>
                  </a:lnTo>
                  <a:lnTo>
                    <a:pt x="100" y="116"/>
                  </a:lnTo>
                  <a:lnTo>
                    <a:pt x="71" y="116"/>
                  </a:lnTo>
                  <a:lnTo>
                    <a:pt x="53" y="96"/>
                  </a:lnTo>
                  <a:lnTo>
                    <a:pt x="36" y="88"/>
                  </a:lnTo>
                  <a:lnTo>
                    <a:pt x="11" y="8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7" name="Freeform 384"/>
            <p:cNvSpPr>
              <a:spLocks/>
            </p:cNvSpPr>
            <p:nvPr/>
          </p:nvSpPr>
          <p:spPr bwMode="auto">
            <a:xfrm>
              <a:off x="2811" y="2049"/>
              <a:ext cx="125" cy="105"/>
            </a:xfrm>
            <a:custGeom>
              <a:avLst/>
              <a:gdLst>
                <a:gd name="T0" fmla="*/ 5 w 145"/>
                <a:gd name="T1" fmla="*/ 33 h 126"/>
                <a:gd name="T2" fmla="*/ 6 w 145"/>
                <a:gd name="T3" fmla="*/ 27 h 126"/>
                <a:gd name="T4" fmla="*/ 5 w 145"/>
                <a:gd name="T5" fmla="*/ 23 h 126"/>
                <a:gd name="T6" fmla="*/ 0 w 145"/>
                <a:gd name="T7" fmla="*/ 20 h 126"/>
                <a:gd name="T8" fmla="*/ 3 w 145"/>
                <a:gd name="T9" fmla="*/ 13 h 126"/>
                <a:gd name="T10" fmla="*/ 3 w 145"/>
                <a:gd name="T11" fmla="*/ 8 h 126"/>
                <a:gd name="T12" fmla="*/ 19 w 145"/>
                <a:gd name="T13" fmla="*/ 0 h 126"/>
                <a:gd name="T14" fmla="*/ 35 w 145"/>
                <a:gd name="T15" fmla="*/ 0 h 126"/>
                <a:gd name="T16" fmla="*/ 38 w 145"/>
                <a:gd name="T17" fmla="*/ 0 h 126"/>
                <a:gd name="T18" fmla="*/ 53 w 145"/>
                <a:gd name="T19" fmla="*/ 6 h 126"/>
                <a:gd name="T20" fmla="*/ 58 w 145"/>
                <a:gd name="T21" fmla="*/ 8 h 126"/>
                <a:gd name="T22" fmla="*/ 67 w 145"/>
                <a:gd name="T23" fmla="*/ 11 h 126"/>
                <a:gd name="T24" fmla="*/ 67 w 145"/>
                <a:gd name="T25" fmla="*/ 18 h 126"/>
                <a:gd name="T26" fmla="*/ 63 w 145"/>
                <a:gd name="T27" fmla="*/ 23 h 126"/>
                <a:gd name="T28" fmla="*/ 67 w 145"/>
                <a:gd name="T29" fmla="*/ 27 h 126"/>
                <a:gd name="T30" fmla="*/ 69 w 145"/>
                <a:gd name="T31" fmla="*/ 33 h 126"/>
                <a:gd name="T32" fmla="*/ 67 w 145"/>
                <a:gd name="T33" fmla="*/ 39 h 126"/>
                <a:gd name="T34" fmla="*/ 59 w 145"/>
                <a:gd name="T35" fmla="*/ 48 h 126"/>
                <a:gd name="T36" fmla="*/ 58 w 145"/>
                <a:gd name="T37" fmla="*/ 51 h 126"/>
                <a:gd name="T38" fmla="*/ 47 w 145"/>
                <a:gd name="T39" fmla="*/ 48 h 126"/>
                <a:gd name="T40" fmla="*/ 34 w 145"/>
                <a:gd name="T41" fmla="*/ 48 h 126"/>
                <a:gd name="T42" fmla="*/ 25 w 145"/>
                <a:gd name="T43" fmla="*/ 39 h 126"/>
                <a:gd name="T44" fmla="*/ 17 w 145"/>
                <a:gd name="T45" fmla="*/ 36 h 126"/>
                <a:gd name="T46" fmla="*/ 5 w 145"/>
                <a:gd name="T47" fmla="*/ 33 h 126"/>
                <a:gd name="T48" fmla="*/ 5 w 145"/>
                <a:gd name="T49" fmla="*/ 33 h 1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45" h="126">
                  <a:moveTo>
                    <a:pt x="11" y="80"/>
                  </a:moveTo>
                  <a:lnTo>
                    <a:pt x="13" y="66"/>
                  </a:lnTo>
                  <a:lnTo>
                    <a:pt x="11" y="55"/>
                  </a:lnTo>
                  <a:lnTo>
                    <a:pt x="0" y="50"/>
                  </a:lnTo>
                  <a:lnTo>
                    <a:pt x="5" y="30"/>
                  </a:lnTo>
                  <a:lnTo>
                    <a:pt x="5" y="18"/>
                  </a:lnTo>
                  <a:lnTo>
                    <a:pt x="41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110" y="13"/>
                  </a:lnTo>
                  <a:lnTo>
                    <a:pt x="121" y="18"/>
                  </a:lnTo>
                  <a:lnTo>
                    <a:pt x="140" y="25"/>
                  </a:lnTo>
                  <a:lnTo>
                    <a:pt x="140" y="43"/>
                  </a:lnTo>
                  <a:lnTo>
                    <a:pt x="133" y="55"/>
                  </a:lnTo>
                  <a:lnTo>
                    <a:pt x="140" y="66"/>
                  </a:lnTo>
                  <a:lnTo>
                    <a:pt x="145" y="80"/>
                  </a:lnTo>
                  <a:lnTo>
                    <a:pt x="141" y="96"/>
                  </a:lnTo>
                  <a:lnTo>
                    <a:pt x="125" y="116"/>
                  </a:lnTo>
                  <a:lnTo>
                    <a:pt x="121" y="126"/>
                  </a:lnTo>
                  <a:lnTo>
                    <a:pt x="100" y="116"/>
                  </a:lnTo>
                  <a:lnTo>
                    <a:pt x="71" y="116"/>
                  </a:lnTo>
                  <a:lnTo>
                    <a:pt x="53" y="96"/>
                  </a:lnTo>
                  <a:lnTo>
                    <a:pt x="36" y="88"/>
                  </a:lnTo>
                  <a:lnTo>
                    <a:pt x="11" y="8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8" name="Freeform 385"/>
            <p:cNvSpPr>
              <a:spLocks/>
            </p:cNvSpPr>
            <p:nvPr/>
          </p:nvSpPr>
          <p:spPr bwMode="auto">
            <a:xfrm>
              <a:off x="2876" y="2015"/>
              <a:ext cx="86" cy="55"/>
            </a:xfrm>
            <a:custGeom>
              <a:avLst/>
              <a:gdLst>
                <a:gd name="T0" fmla="*/ 0 w 96"/>
                <a:gd name="T1" fmla="*/ 18 h 65"/>
                <a:gd name="T2" fmla="*/ 6 w 96"/>
                <a:gd name="T3" fmla="*/ 14 h 65"/>
                <a:gd name="T4" fmla="*/ 6 w 96"/>
                <a:gd name="T5" fmla="*/ 11 h 65"/>
                <a:gd name="T6" fmla="*/ 9 w 96"/>
                <a:gd name="T7" fmla="*/ 3 h 65"/>
                <a:gd name="T8" fmla="*/ 13 w 96"/>
                <a:gd name="T9" fmla="*/ 3 h 65"/>
                <a:gd name="T10" fmla="*/ 18 w 96"/>
                <a:gd name="T11" fmla="*/ 0 h 65"/>
                <a:gd name="T12" fmla="*/ 20 w 96"/>
                <a:gd name="T13" fmla="*/ 3 h 65"/>
                <a:gd name="T14" fmla="*/ 24 w 96"/>
                <a:gd name="T15" fmla="*/ 7 h 65"/>
                <a:gd name="T16" fmla="*/ 35 w 96"/>
                <a:gd name="T17" fmla="*/ 9 h 65"/>
                <a:gd name="T18" fmla="*/ 44 w 96"/>
                <a:gd name="T19" fmla="*/ 7 h 65"/>
                <a:gd name="T20" fmla="*/ 49 w 96"/>
                <a:gd name="T21" fmla="*/ 9 h 65"/>
                <a:gd name="T22" fmla="*/ 56 w 96"/>
                <a:gd name="T23" fmla="*/ 12 h 65"/>
                <a:gd name="T24" fmla="*/ 52 w 96"/>
                <a:gd name="T25" fmla="*/ 20 h 65"/>
                <a:gd name="T26" fmla="*/ 43 w 96"/>
                <a:gd name="T27" fmla="*/ 26 h 65"/>
                <a:gd name="T28" fmla="*/ 35 w 96"/>
                <a:gd name="T29" fmla="*/ 29 h 65"/>
                <a:gd name="T30" fmla="*/ 24 w 96"/>
                <a:gd name="T31" fmla="*/ 25 h 65"/>
                <a:gd name="T32" fmla="*/ 6 w 96"/>
                <a:gd name="T33" fmla="*/ 20 h 65"/>
                <a:gd name="T34" fmla="*/ 0 w 96"/>
                <a:gd name="T35" fmla="*/ 18 h 65"/>
                <a:gd name="T36" fmla="*/ 0 w 96"/>
                <a:gd name="T37" fmla="*/ 18 h 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6" h="65">
                  <a:moveTo>
                    <a:pt x="0" y="40"/>
                  </a:moveTo>
                  <a:lnTo>
                    <a:pt x="11" y="33"/>
                  </a:lnTo>
                  <a:lnTo>
                    <a:pt x="11" y="25"/>
                  </a:lnTo>
                  <a:lnTo>
                    <a:pt x="15" y="8"/>
                  </a:lnTo>
                  <a:lnTo>
                    <a:pt x="23" y="5"/>
                  </a:lnTo>
                  <a:lnTo>
                    <a:pt x="30" y="0"/>
                  </a:lnTo>
                  <a:lnTo>
                    <a:pt x="35" y="8"/>
                  </a:lnTo>
                  <a:lnTo>
                    <a:pt x="41" y="16"/>
                  </a:lnTo>
                  <a:lnTo>
                    <a:pt x="60" y="21"/>
                  </a:lnTo>
                  <a:lnTo>
                    <a:pt x="76" y="16"/>
                  </a:lnTo>
                  <a:lnTo>
                    <a:pt x="85" y="21"/>
                  </a:lnTo>
                  <a:lnTo>
                    <a:pt x="96" y="28"/>
                  </a:lnTo>
                  <a:lnTo>
                    <a:pt x="90" y="46"/>
                  </a:lnTo>
                  <a:lnTo>
                    <a:pt x="75" y="61"/>
                  </a:lnTo>
                  <a:lnTo>
                    <a:pt x="60" y="65"/>
                  </a:lnTo>
                  <a:lnTo>
                    <a:pt x="41" y="58"/>
                  </a:lnTo>
                  <a:lnTo>
                    <a:pt x="11" y="46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9" name="Freeform 386"/>
            <p:cNvSpPr>
              <a:spLocks/>
            </p:cNvSpPr>
            <p:nvPr/>
          </p:nvSpPr>
          <p:spPr bwMode="auto">
            <a:xfrm>
              <a:off x="2876" y="2015"/>
              <a:ext cx="86" cy="55"/>
            </a:xfrm>
            <a:custGeom>
              <a:avLst/>
              <a:gdLst>
                <a:gd name="T0" fmla="*/ 0 w 96"/>
                <a:gd name="T1" fmla="*/ 18 h 65"/>
                <a:gd name="T2" fmla="*/ 6 w 96"/>
                <a:gd name="T3" fmla="*/ 14 h 65"/>
                <a:gd name="T4" fmla="*/ 6 w 96"/>
                <a:gd name="T5" fmla="*/ 11 h 65"/>
                <a:gd name="T6" fmla="*/ 9 w 96"/>
                <a:gd name="T7" fmla="*/ 3 h 65"/>
                <a:gd name="T8" fmla="*/ 13 w 96"/>
                <a:gd name="T9" fmla="*/ 3 h 65"/>
                <a:gd name="T10" fmla="*/ 18 w 96"/>
                <a:gd name="T11" fmla="*/ 0 h 65"/>
                <a:gd name="T12" fmla="*/ 20 w 96"/>
                <a:gd name="T13" fmla="*/ 3 h 65"/>
                <a:gd name="T14" fmla="*/ 24 w 96"/>
                <a:gd name="T15" fmla="*/ 7 h 65"/>
                <a:gd name="T16" fmla="*/ 35 w 96"/>
                <a:gd name="T17" fmla="*/ 9 h 65"/>
                <a:gd name="T18" fmla="*/ 44 w 96"/>
                <a:gd name="T19" fmla="*/ 7 h 65"/>
                <a:gd name="T20" fmla="*/ 49 w 96"/>
                <a:gd name="T21" fmla="*/ 9 h 65"/>
                <a:gd name="T22" fmla="*/ 56 w 96"/>
                <a:gd name="T23" fmla="*/ 12 h 65"/>
                <a:gd name="T24" fmla="*/ 52 w 96"/>
                <a:gd name="T25" fmla="*/ 20 h 65"/>
                <a:gd name="T26" fmla="*/ 43 w 96"/>
                <a:gd name="T27" fmla="*/ 26 h 65"/>
                <a:gd name="T28" fmla="*/ 35 w 96"/>
                <a:gd name="T29" fmla="*/ 29 h 65"/>
                <a:gd name="T30" fmla="*/ 24 w 96"/>
                <a:gd name="T31" fmla="*/ 25 h 65"/>
                <a:gd name="T32" fmla="*/ 6 w 96"/>
                <a:gd name="T33" fmla="*/ 20 h 65"/>
                <a:gd name="T34" fmla="*/ 0 w 96"/>
                <a:gd name="T35" fmla="*/ 18 h 65"/>
                <a:gd name="T36" fmla="*/ 0 w 96"/>
                <a:gd name="T37" fmla="*/ 18 h 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6" h="65">
                  <a:moveTo>
                    <a:pt x="0" y="40"/>
                  </a:moveTo>
                  <a:lnTo>
                    <a:pt x="11" y="33"/>
                  </a:lnTo>
                  <a:lnTo>
                    <a:pt x="11" y="25"/>
                  </a:lnTo>
                  <a:lnTo>
                    <a:pt x="15" y="8"/>
                  </a:lnTo>
                  <a:lnTo>
                    <a:pt x="23" y="5"/>
                  </a:lnTo>
                  <a:lnTo>
                    <a:pt x="30" y="0"/>
                  </a:lnTo>
                  <a:lnTo>
                    <a:pt x="35" y="8"/>
                  </a:lnTo>
                  <a:lnTo>
                    <a:pt x="41" y="16"/>
                  </a:lnTo>
                  <a:lnTo>
                    <a:pt x="60" y="21"/>
                  </a:lnTo>
                  <a:lnTo>
                    <a:pt x="76" y="16"/>
                  </a:lnTo>
                  <a:lnTo>
                    <a:pt x="85" y="21"/>
                  </a:lnTo>
                  <a:lnTo>
                    <a:pt x="96" y="28"/>
                  </a:lnTo>
                  <a:lnTo>
                    <a:pt x="90" y="46"/>
                  </a:lnTo>
                  <a:lnTo>
                    <a:pt x="75" y="61"/>
                  </a:lnTo>
                  <a:lnTo>
                    <a:pt x="60" y="65"/>
                  </a:lnTo>
                  <a:lnTo>
                    <a:pt x="41" y="58"/>
                  </a:lnTo>
                  <a:lnTo>
                    <a:pt x="11" y="46"/>
                  </a:lnTo>
                  <a:lnTo>
                    <a:pt x="0" y="4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0" name="Freeform 387"/>
            <p:cNvSpPr>
              <a:spLocks/>
            </p:cNvSpPr>
            <p:nvPr/>
          </p:nvSpPr>
          <p:spPr bwMode="auto">
            <a:xfrm>
              <a:off x="2893" y="1982"/>
              <a:ext cx="95" cy="56"/>
            </a:xfrm>
            <a:custGeom>
              <a:avLst/>
              <a:gdLst>
                <a:gd name="T0" fmla="*/ 0 w 110"/>
                <a:gd name="T1" fmla="*/ 19 h 67"/>
                <a:gd name="T2" fmla="*/ 0 w 110"/>
                <a:gd name="T3" fmla="*/ 13 h 67"/>
                <a:gd name="T4" fmla="*/ 7 w 110"/>
                <a:gd name="T5" fmla="*/ 8 h 67"/>
                <a:gd name="T6" fmla="*/ 18 w 110"/>
                <a:gd name="T7" fmla="*/ 10 h 67"/>
                <a:gd name="T8" fmla="*/ 22 w 110"/>
                <a:gd name="T9" fmla="*/ 10 h 67"/>
                <a:gd name="T10" fmla="*/ 18 w 110"/>
                <a:gd name="T11" fmla="*/ 0 h 67"/>
                <a:gd name="T12" fmla="*/ 26 w 110"/>
                <a:gd name="T13" fmla="*/ 7 h 67"/>
                <a:gd name="T14" fmla="*/ 34 w 110"/>
                <a:gd name="T15" fmla="*/ 8 h 67"/>
                <a:gd name="T16" fmla="*/ 39 w 110"/>
                <a:gd name="T17" fmla="*/ 8 h 67"/>
                <a:gd name="T18" fmla="*/ 53 w 110"/>
                <a:gd name="T19" fmla="*/ 16 h 67"/>
                <a:gd name="T20" fmla="*/ 50 w 110"/>
                <a:gd name="T21" fmla="*/ 19 h 67"/>
                <a:gd name="T22" fmla="*/ 39 w 110"/>
                <a:gd name="T23" fmla="*/ 28 h 67"/>
                <a:gd name="T24" fmla="*/ 29 w 110"/>
                <a:gd name="T25" fmla="*/ 23 h 67"/>
                <a:gd name="T26" fmla="*/ 19 w 110"/>
                <a:gd name="T27" fmla="*/ 24 h 67"/>
                <a:gd name="T28" fmla="*/ 12 w 110"/>
                <a:gd name="T29" fmla="*/ 23 h 67"/>
                <a:gd name="T30" fmla="*/ 9 w 110"/>
                <a:gd name="T31" fmla="*/ 19 h 67"/>
                <a:gd name="T32" fmla="*/ 7 w 110"/>
                <a:gd name="T33" fmla="*/ 15 h 67"/>
                <a:gd name="T34" fmla="*/ 3 w 110"/>
                <a:gd name="T35" fmla="*/ 19 h 67"/>
                <a:gd name="T36" fmla="*/ 0 w 110"/>
                <a:gd name="T37" fmla="*/ 19 h 67"/>
                <a:gd name="T38" fmla="*/ 0 w 110"/>
                <a:gd name="T39" fmla="*/ 19 h 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10" h="67">
                  <a:moveTo>
                    <a:pt x="0" y="47"/>
                  </a:moveTo>
                  <a:lnTo>
                    <a:pt x="0" y="30"/>
                  </a:lnTo>
                  <a:lnTo>
                    <a:pt x="14" y="19"/>
                  </a:lnTo>
                  <a:lnTo>
                    <a:pt x="37" y="24"/>
                  </a:lnTo>
                  <a:lnTo>
                    <a:pt x="44" y="24"/>
                  </a:lnTo>
                  <a:lnTo>
                    <a:pt x="37" y="0"/>
                  </a:lnTo>
                  <a:lnTo>
                    <a:pt x="55" y="17"/>
                  </a:lnTo>
                  <a:lnTo>
                    <a:pt x="69" y="19"/>
                  </a:lnTo>
                  <a:lnTo>
                    <a:pt x="80" y="19"/>
                  </a:lnTo>
                  <a:lnTo>
                    <a:pt x="110" y="40"/>
                  </a:lnTo>
                  <a:lnTo>
                    <a:pt x="104" y="49"/>
                  </a:lnTo>
                  <a:lnTo>
                    <a:pt x="80" y="67"/>
                  </a:lnTo>
                  <a:lnTo>
                    <a:pt x="60" y="55"/>
                  </a:lnTo>
                  <a:lnTo>
                    <a:pt x="40" y="60"/>
                  </a:lnTo>
                  <a:lnTo>
                    <a:pt x="24" y="55"/>
                  </a:lnTo>
                  <a:lnTo>
                    <a:pt x="19" y="47"/>
                  </a:lnTo>
                  <a:lnTo>
                    <a:pt x="14" y="37"/>
                  </a:lnTo>
                  <a:lnTo>
                    <a:pt x="7" y="45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1" name="Freeform 388"/>
            <p:cNvSpPr>
              <a:spLocks/>
            </p:cNvSpPr>
            <p:nvPr/>
          </p:nvSpPr>
          <p:spPr bwMode="auto">
            <a:xfrm>
              <a:off x="2893" y="1982"/>
              <a:ext cx="95" cy="56"/>
            </a:xfrm>
            <a:custGeom>
              <a:avLst/>
              <a:gdLst>
                <a:gd name="T0" fmla="*/ 0 w 110"/>
                <a:gd name="T1" fmla="*/ 19 h 67"/>
                <a:gd name="T2" fmla="*/ 0 w 110"/>
                <a:gd name="T3" fmla="*/ 13 h 67"/>
                <a:gd name="T4" fmla="*/ 7 w 110"/>
                <a:gd name="T5" fmla="*/ 8 h 67"/>
                <a:gd name="T6" fmla="*/ 18 w 110"/>
                <a:gd name="T7" fmla="*/ 10 h 67"/>
                <a:gd name="T8" fmla="*/ 22 w 110"/>
                <a:gd name="T9" fmla="*/ 10 h 67"/>
                <a:gd name="T10" fmla="*/ 18 w 110"/>
                <a:gd name="T11" fmla="*/ 0 h 67"/>
                <a:gd name="T12" fmla="*/ 26 w 110"/>
                <a:gd name="T13" fmla="*/ 7 h 67"/>
                <a:gd name="T14" fmla="*/ 34 w 110"/>
                <a:gd name="T15" fmla="*/ 8 h 67"/>
                <a:gd name="T16" fmla="*/ 39 w 110"/>
                <a:gd name="T17" fmla="*/ 8 h 67"/>
                <a:gd name="T18" fmla="*/ 53 w 110"/>
                <a:gd name="T19" fmla="*/ 16 h 67"/>
                <a:gd name="T20" fmla="*/ 50 w 110"/>
                <a:gd name="T21" fmla="*/ 19 h 67"/>
                <a:gd name="T22" fmla="*/ 39 w 110"/>
                <a:gd name="T23" fmla="*/ 28 h 67"/>
                <a:gd name="T24" fmla="*/ 29 w 110"/>
                <a:gd name="T25" fmla="*/ 23 h 67"/>
                <a:gd name="T26" fmla="*/ 19 w 110"/>
                <a:gd name="T27" fmla="*/ 24 h 67"/>
                <a:gd name="T28" fmla="*/ 12 w 110"/>
                <a:gd name="T29" fmla="*/ 23 h 67"/>
                <a:gd name="T30" fmla="*/ 9 w 110"/>
                <a:gd name="T31" fmla="*/ 19 h 67"/>
                <a:gd name="T32" fmla="*/ 7 w 110"/>
                <a:gd name="T33" fmla="*/ 15 h 67"/>
                <a:gd name="T34" fmla="*/ 3 w 110"/>
                <a:gd name="T35" fmla="*/ 19 h 67"/>
                <a:gd name="T36" fmla="*/ 0 w 110"/>
                <a:gd name="T37" fmla="*/ 19 h 67"/>
                <a:gd name="T38" fmla="*/ 0 w 110"/>
                <a:gd name="T39" fmla="*/ 19 h 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10" h="67">
                  <a:moveTo>
                    <a:pt x="0" y="47"/>
                  </a:moveTo>
                  <a:lnTo>
                    <a:pt x="0" y="30"/>
                  </a:lnTo>
                  <a:lnTo>
                    <a:pt x="14" y="19"/>
                  </a:lnTo>
                  <a:lnTo>
                    <a:pt x="37" y="24"/>
                  </a:lnTo>
                  <a:lnTo>
                    <a:pt x="44" y="24"/>
                  </a:lnTo>
                  <a:lnTo>
                    <a:pt x="37" y="0"/>
                  </a:lnTo>
                  <a:lnTo>
                    <a:pt x="55" y="17"/>
                  </a:lnTo>
                  <a:lnTo>
                    <a:pt x="69" y="19"/>
                  </a:lnTo>
                  <a:lnTo>
                    <a:pt x="80" y="19"/>
                  </a:lnTo>
                  <a:lnTo>
                    <a:pt x="110" y="40"/>
                  </a:lnTo>
                  <a:lnTo>
                    <a:pt x="104" y="49"/>
                  </a:lnTo>
                  <a:lnTo>
                    <a:pt x="80" y="67"/>
                  </a:lnTo>
                  <a:lnTo>
                    <a:pt x="60" y="55"/>
                  </a:lnTo>
                  <a:lnTo>
                    <a:pt x="40" y="60"/>
                  </a:lnTo>
                  <a:lnTo>
                    <a:pt x="24" y="55"/>
                  </a:lnTo>
                  <a:lnTo>
                    <a:pt x="19" y="47"/>
                  </a:lnTo>
                  <a:lnTo>
                    <a:pt x="14" y="37"/>
                  </a:lnTo>
                  <a:lnTo>
                    <a:pt x="7" y="45"/>
                  </a:lnTo>
                  <a:lnTo>
                    <a:pt x="0" y="4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2" name="Freeform 389"/>
            <p:cNvSpPr>
              <a:spLocks/>
            </p:cNvSpPr>
            <p:nvPr/>
          </p:nvSpPr>
          <p:spPr bwMode="auto">
            <a:xfrm>
              <a:off x="2924" y="1952"/>
              <a:ext cx="69" cy="62"/>
            </a:xfrm>
            <a:custGeom>
              <a:avLst/>
              <a:gdLst>
                <a:gd name="T0" fmla="*/ 0 w 78"/>
                <a:gd name="T1" fmla="*/ 16 h 73"/>
                <a:gd name="T2" fmla="*/ 0 w 78"/>
                <a:gd name="T3" fmla="*/ 8 h 73"/>
                <a:gd name="T4" fmla="*/ 7 w 78"/>
                <a:gd name="T5" fmla="*/ 5 h 73"/>
                <a:gd name="T6" fmla="*/ 20 w 78"/>
                <a:gd name="T7" fmla="*/ 3 h 73"/>
                <a:gd name="T8" fmla="*/ 24 w 78"/>
                <a:gd name="T9" fmla="*/ 0 h 73"/>
                <a:gd name="T10" fmla="*/ 30 w 78"/>
                <a:gd name="T11" fmla="*/ 0 h 73"/>
                <a:gd name="T12" fmla="*/ 42 w 78"/>
                <a:gd name="T13" fmla="*/ 3 h 73"/>
                <a:gd name="T14" fmla="*/ 36 w 78"/>
                <a:gd name="T15" fmla="*/ 5 h 73"/>
                <a:gd name="T16" fmla="*/ 40 w 78"/>
                <a:gd name="T17" fmla="*/ 13 h 73"/>
                <a:gd name="T18" fmla="*/ 42 w 78"/>
                <a:gd name="T19" fmla="*/ 18 h 73"/>
                <a:gd name="T20" fmla="*/ 40 w 78"/>
                <a:gd name="T21" fmla="*/ 26 h 73"/>
                <a:gd name="T22" fmla="*/ 36 w 78"/>
                <a:gd name="T23" fmla="*/ 32 h 73"/>
                <a:gd name="T24" fmla="*/ 24 w 78"/>
                <a:gd name="T25" fmla="*/ 25 h 73"/>
                <a:gd name="T26" fmla="*/ 10 w 78"/>
                <a:gd name="T27" fmla="*/ 25 h 73"/>
                <a:gd name="T28" fmla="*/ 4 w 78"/>
                <a:gd name="T29" fmla="*/ 18 h 73"/>
                <a:gd name="T30" fmla="*/ 0 w 78"/>
                <a:gd name="T31" fmla="*/ 16 h 73"/>
                <a:gd name="T32" fmla="*/ 0 w 78"/>
                <a:gd name="T33" fmla="*/ 16 h 7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" h="73">
                  <a:moveTo>
                    <a:pt x="0" y="36"/>
                  </a:moveTo>
                  <a:lnTo>
                    <a:pt x="0" y="18"/>
                  </a:lnTo>
                  <a:lnTo>
                    <a:pt x="12" y="11"/>
                  </a:lnTo>
                  <a:lnTo>
                    <a:pt x="37" y="5"/>
                  </a:lnTo>
                  <a:lnTo>
                    <a:pt x="43" y="0"/>
                  </a:lnTo>
                  <a:lnTo>
                    <a:pt x="55" y="0"/>
                  </a:lnTo>
                  <a:lnTo>
                    <a:pt x="78" y="5"/>
                  </a:lnTo>
                  <a:lnTo>
                    <a:pt x="67" y="11"/>
                  </a:lnTo>
                  <a:lnTo>
                    <a:pt x="73" y="30"/>
                  </a:lnTo>
                  <a:lnTo>
                    <a:pt x="78" y="41"/>
                  </a:lnTo>
                  <a:lnTo>
                    <a:pt x="73" y="58"/>
                  </a:lnTo>
                  <a:lnTo>
                    <a:pt x="67" y="73"/>
                  </a:lnTo>
                  <a:lnTo>
                    <a:pt x="43" y="55"/>
                  </a:lnTo>
                  <a:lnTo>
                    <a:pt x="18" y="55"/>
                  </a:lnTo>
                  <a:lnTo>
                    <a:pt x="7" y="41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3" name="Freeform 390"/>
            <p:cNvSpPr>
              <a:spLocks/>
            </p:cNvSpPr>
            <p:nvPr/>
          </p:nvSpPr>
          <p:spPr bwMode="auto">
            <a:xfrm>
              <a:off x="2924" y="1952"/>
              <a:ext cx="69" cy="62"/>
            </a:xfrm>
            <a:custGeom>
              <a:avLst/>
              <a:gdLst>
                <a:gd name="T0" fmla="*/ 0 w 78"/>
                <a:gd name="T1" fmla="*/ 16 h 73"/>
                <a:gd name="T2" fmla="*/ 0 w 78"/>
                <a:gd name="T3" fmla="*/ 8 h 73"/>
                <a:gd name="T4" fmla="*/ 7 w 78"/>
                <a:gd name="T5" fmla="*/ 5 h 73"/>
                <a:gd name="T6" fmla="*/ 20 w 78"/>
                <a:gd name="T7" fmla="*/ 3 h 73"/>
                <a:gd name="T8" fmla="*/ 24 w 78"/>
                <a:gd name="T9" fmla="*/ 0 h 73"/>
                <a:gd name="T10" fmla="*/ 30 w 78"/>
                <a:gd name="T11" fmla="*/ 0 h 73"/>
                <a:gd name="T12" fmla="*/ 42 w 78"/>
                <a:gd name="T13" fmla="*/ 3 h 73"/>
                <a:gd name="T14" fmla="*/ 36 w 78"/>
                <a:gd name="T15" fmla="*/ 5 h 73"/>
                <a:gd name="T16" fmla="*/ 40 w 78"/>
                <a:gd name="T17" fmla="*/ 13 h 73"/>
                <a:gd name="T18" fmla="*/ 42 w 78"/>
                <a:gd name="T19" fmla="*/ 18 h 73"/>
                <a:gd name="T20" fmla="*/ 40 w 78"/>
                <a:gd name="T21" fmla="*/ 26 h 73"/>
                <a:gd name="T22" fmla="*/ 36 w 78"/>
                <a:gd name="T23" fmla="*/ 32 h 73"/>
                <a:gd name="T24" fmla="*/ 24 w 78"/>
                <a:gd name="T25" fmla="*/ 25 h 73"/>
                <a:gd name="T26" fmla="*/ 10 w 78"/>
                <a:gd name="T27" fmla="*/ 25 h 73"/>
                <a:gd name="T28" fmla="*/ 4 w 78"/>
                <a:gd name="T29" fmla="*/ 18 h 73"/>
                <a:gd name="T30" fmla="*/ 0 w 78"/>
                <a:gd name="T31" fmla="*/ 16 h 73"/>
                <a:gd name="T32" fmla="*/ 0 w 78"/>
                <a:gd name="T33" fmla="*/ 16 h 7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8" h="73">
                  <a:moveTo>
                    <a:pt x="0" y="36"/>
                  </a:moveTo>
                  <a:lnTo>
                    <a:pt x="0" y="18"/>
                  </a:lnTo>
                  <a:lnTo>
                    <a:pt x="12" y="11"/>
                  </a:lnTo>
                  <a:lnTo>
                    <a:pt x="37" y="5"/>
                  </a:lnTo>
                  <a:lnTo>
                    <a:pt x="43" y="0"/>
                  </a:lnTo>
                  <a:lnTo>
                    <a:pt x="55" y="0"/>
                  </a:lnTo>
                  <a:lnTo>
                    <a:pt x="78" y="5"/>
                  </a:lnTo>
                  <a:lnTo>
                    <a:pt x="67" y="11"/>
                  </a:lnTo>
                  <a:lnTo>
                    <a:pt x="73" y="30"/>
                  </a:lnTo>
                  <a:lnTo>
                    <a:pt x="78" y="41"/>
                  </a:lnTo>
                  <a:lnTo>
                    <a:pt x="73" y="58"/>
                  </a:lnTo>
                  <a:lnTo>
                    <a:pt x="67" y="73"/>
                  </a:lnTo>
                  <a:lnTo>
                    <a:pt x="43" y="55"/>
                  </a:lnTo>
                  <a:lnTo>
                    <a:pt x="18" y="55"/>
                  </a:lnTo>
                  <a:lnTo>
                    <a:pt x="7" y="41"/>
                  </a:lnTo>
                  <a:lnTo>
                    <a:pt x="0" y="3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4" name="Freeform 391"/>
            <p:cNvSpPr>
              <a:spLocks/>
            </p:cNvSpPr>
            <p:nvPr/>
          </p:nvSpPr>
          <p:spPr bwMode="auto">
            <a:xfrm>
              <a:off x="2867" y="1720"/>
              <a:ext cx="150" cy="217"/>
            </a:xfrm>
            <a:custGeom>
              <a:avLst/>
              <a:gdLst>
                <a:gd name="T0" fmla="*/ 64 w 177"/>
                <a:gd name="T1" fmla="*/ 105 h 259"/>
                <a:gd name="T2" fmla="*/ 62 w 177"/>
                <a:gd name="T3" fmla="*/ 105 h 259"/>
                <a:gd name="T4" fmla="*/ 56 w 177"/>
                <a:gd name="T5" fmla="*/ 102 h 259"/>
                <a:gd name="T6" fmla="*/ 56 w 177"/>
                <a:gd name="T7" fmla="*/ 96 h 259"/>
                <a:gd name="T8" fmla="*/ 53 w 177"/>
                <a:gd name="T9" fmla="*/ 96 h 259"/>
                <a:gd name="T10" fmla="*/ 49 w 177"/>
                <a:gd name="T11" fmla="*/ 102 h 259"/>
                <a:gd name="T12" fmla="*/ 32 w 177"/>
                <a:gd name="T13" fmla="*/ 106 h 259"/>
                <a:gd name="T14" fmla="*/ 22 w 177"/>
                <a:gd name="T15" fmla="*/ 105 h 259"/>
                <a:gd name="T16" fmla="*/ 13 w 177"/>
                <a:gd name="T17" fmla="*/ 105 h 259"/>
                <a:gd name="T18" fmla="*/ 13 w 177"/>
                <a:gd name="T19" fmla="*/ 100 h 259"/>
                <a:gd name="T20" fmla="*/ 16 w 177"/>
                <a:gd name="T21" fmla="*/ 95 h 259"/>
                <a:gd name="T22" fmla="*/ 11 w 177"/>
                <a:gd name="T23" fmla="*/ 89 h 259"/>
                <a:gd name="T24" fmla="*/ 11 w 177"/>
                <a:gd name="T25" fmla="*/ 81 h 259"/>
                <a:gd name="T26" fmla="*/ 13 w 177"/>
                <a:gd name="T27" fmla="*/ 77 h 259"/>
                <a:gd name="T28" fmla="*/ 19 w 177"/>
                <a:gd name="T29" fmla="*/ 77 h 259"/>
                <a:gd name="T30" fmla="*/ 19 w 177"/>
                <a:gd name="T31" fmla="*/ 72 h 259"/>
                <a:gd name="T32" fmla="*/ 32 w 177"/>
                <a:gd name="T33" fmla="*/ 63 h 259"/>
                <a:gd name="T34" fmla="*/ 35 w 177"/>
                <a:gd name="T35" fmla="*/ 57 h 259"/>
                <a:gd name="T36" fmla="*/ 32 w 177"/>
                <a:gd name="T37" fmla="*/ 52 h 259"/>
                <a:gd name="T38" fmla="*/ 26 w 177"/>
                <a:gd name="T39" fmla="*/ 47 h 259"/>
                <a:gd name="T40" fmla="*/ 22 w 177"/>
                <a:gd name="T41" fmla="*/ 47 h 259"/>
                <a:gd name="T42" fmla="*/ 22 w 177"/>
                <a:gd name="T43" fmla="*/ 37 h 259"/>
                <a:gd name="T44" fmla="*/ 16 w 177"/>
                <a:gd name="T45" fmla="*/ 23 h 259"/>
                <a:gd name="T46" fmla="*/ 0 w 177"/>
                <a:gd name="T47" fmla="*/ 8 h 259"/>
                <a:gd name="T48" fmla="*/ 4 w 177"/>
                <a:gd name="T49" fmla="*/ 7 h 259"/>
                <a:gd name="T50" fmla="*/ 19 w 177"/>
                <a:gd name="T51" fmla="*/ 13 h 259"/>
                <a:gd name="T52" fmla="*/ 26 w 177"/>
                <a:gd name="T53" fmla="*/ 11 h 259"/>
                <a:gd name="T54" fmla="*/ 37 w 177"/>
                <a:gd name="T55" fmla="*/ 3 h 259"/>
                <a:gd name="T56" fmla="*/ 47 w 177"/>
                <a:gd name="T57" fmla="*/ 0 h 259"/>
                <a:gd name="T58" fmla="*/ 46 w 177"/>
                <a:gd name="T59" fmla="*/ 4 h 259"/>
                <a:gd name="T60" fmla="*/ 49 w 177"/>
                <a:gd name="T61" fmla="*/ 14 h 259"/>
                <a:gd name="T62" fmla="*/ 49 w 177"/>
                <a:gd name="T63" fmla="*/ 23 h 259"/>
                <a:gd name="T64" fmla="*/ 53 w 177"/>
                <a:gd name="T65" fmla="*/ 28 h 259"/>
                <a:gd name="T66" fmla="*/ 58 w 177"/>
                <a:gd name="T67" fmla="*/ 37 h 259"/>
                <a:gd name="T68" fmla="*/ 58 w 177"/>
                <a:gd name="T69" fmla="*/ 47 h 259"/>
                <a:gd name="T70" fmla="*/ 64 w 177"/>
                <a:gd name="T71" fmla="*/ 54 h 259"/>
                <a:gd name="T72" fmla="*/ 64 w 177"/>
                <a:gd name="T73" fmla="*/ 65 h 259"/>
                <a:gd name="T74" fmla="*/ 72 w 177"/>
                <a:gd name="T75" fmla="*/ 77 h 259"/>
                <a:gd name="T76" fmla="*/ 78 w 177"/>
                <a:gd name="T77" fmla="*/ 85 h 259"/>
                <a:gd name="T78" fmla="*/ 72 w 177"/>
                <a:gd name="T79" fmla="*/ 96 h 259"/>
                <a:gd name="T80" fmla="*/ 62 w 177"/>
                <a:gd name="T81" fmla="*/ 100 h 259"/>
                <a:gd name="T82" fmla="*/ 64 w 177"/>
                <a:gd name="T83" fmla="*/ 105 h 259"/>
                <a:gd name="T84" fmla="*/ 64 w 177"/>
                <a:gd name="T85" fmla="*/ 105 h 25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7" h="259">
                  <a:moveTo>
                    <a:pt x="145" y="253"/>
                  </a:moveTo>
                  <a:lnTo>
                    <a:pt x="140" y="253"/>
                  </a:lnTo>
                  <a:lnTo>
                    <a:pt x="129" y="248"/>
                  </a:lnTo>
                  <a:lnTo>
                    <a:pt x="129" y="234"/>
                  </a:lnTo>
                  <a:lnTo>
                    <a:pt x="122" y="234"/>
                  </a:lnTo>
                  <a:lnTo>
                    <a:pt x="115" y="248"/>
                  </a:lnTo>
                  <a:lnTo>
                    <a:pt x="74" y="259"/>
                  </a:lnTo>
                  <a:lnTo>
                    <a:pt x="49" y="253"/>
                  </a:lnTo>
                  <a:lnTo>
                    <a:pt x="30" y="253"/>
                  </a:lnTo>
                  <a:lnTo>
                    <a:pt x="30" y="241"/>
                  </a:lnTo>
                  <a:lnTo>
                    <a:pt x="37" y="229"/>
                  </a:lnTo>
                  <a:lnTo>
                    <a:pt x="25" y="216"/>
                  </a:lnTo>
                  <a:lnTo>
                    <a:pt x="25" y="198"/>
                  </a:lnTo>
                  <a:lnTo>
                    <a:pt x="30" y="186"/>
                  </a:lnTo>
                  <a:lnTo>
                    <a:pt x="44" y="186"/>
                  </a:lnTo>
                  <a:lnTo>
                    <a:pt x="44" y="175"/>
                  </a:lnTo>
                  <a:lnTo>
                    <a:pt x="74" y="150"/>
                  </a:lnTo>
                  <a:lnTo>
                    <a:pt x="79" y="138"/>
                  </a:lnTo>
                  <a:lnTo>
                    <a:pt x="74" y="125"/>
                  </a:lnTo>
                  <a:lnTo>
                    <a:pt x="60" y="113"/>
                  </a:lnTo>
                  <a:lnTo>
                    <a:pt x="49" y="113"/>
                  </a:lnTo>
                  <a:lnTo>
                    <a:pt x="49" y="90"/>
                  </a:lnTo>
                  <a:lnTo>
                    <a:pt x="37" y="58"/>
                  </a:lnTo>
                  <a:lnTo>
                    <a:pt x="0" y="20"/>
                  </a:lnTo>
                  <a:lnTo>
                    <a:pt x="10" y="16"/>
                  </a:lnTo>
                  <a:lnTo>
                    <a:pt x="44" y="31"/>
                  </a:lnTo>
                  <a:lnTo>
                    <a:pt x="60" y="26"/>
                  </a:lnTo>
                  <a:lnTo>
                    <a:pt x="85" y="5"/>
                  </a:lnTo>
                  <a:lnTo>
                    <a:pt x="109" y="0"/>
                  </a:lnTo>
                  <a:lnTo>
                    <a:pt x="104" y="10"/>
                  </a:lnTo>
                  <a:lnTo>
                    <a:pt x="115" y="35"/>
                  </a:lnTo>
                  <a:lnTo>
                    <a:pt x="115" y="58"/>
                  </a:lnTo>
                  <a:lnTo>
                    <a:pt x="122" y="71"/>
                  </a:lnTo>
                  <a:lnTo>
                    <a:pt x="134" y="90"/>
                  </a:lnTo>
                  <a:lnTo>
                    <a:pt x="134" y="113"/>
                  </a:lnTo>
                  <a:lnTo>
                    <a:pt x="145" y="131"/>
                  </a:lnTo>
                  <a:lnTo>
                    <a:pt x="145" y="156"/>
                  </a:lnTo>
                  <a:lnTo>
                    <a:pt x="164" y="186"/>
                  </a:lnTo>
                  <a:lnTo>
                    <a:pt x="177" y="204"/>
                  </a:lnTo>
                  <a:lnTo>
                    <a:pt x="164" y="234"/>
                  </a:lnTo>
                  <a:lnTo>
                    <a:pt x="140" y="241"/>
                  </a:lnTo>
                  <a:lnTo>
                    <a:pt x="145" y="25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5" name="Freeform 392"/>
            <p:cNvSpPr>
              <a:spLocks/>
            </p:cNvSpPr>
            <p:nvPr/>
          </p:nvSpPr>
          <p:spPr bwMode="auto">
            <a:xfrm>
              <a:off x="2868" y="1720"/>
              <a:ext cx="149" cy="217"/>
            </a:xfrm>
            <a:custGeom>
              <a:avLst/>
              <a:gdLst>
                <a:gd name="T0" fmla="*/ 61 w 177"/>
                <a:gd name="T1" fmla="*/ 105 h 259"/>
                <a:gd name="T2" fmla="*/ 59 w 177"/>
                <a:gd name="T3" fmla="*/ 105 h 259"/>
                <a:gd name="T4" fmla="*/ 55 w 177"/>
                <a:gd name="T5" fmla="*/ 102 h 259"/>
                <a:gd name="T6" fmla="*/ 55 w 177"/>
                <a:gd name="T7" fmla="*/ 96 h 259"/>
                <a:gd name="T8" fmla="*/ 51 w 177"/>
                <a:gd name="T9" fmla="*/ 96 h 259"/>
                <a:gd name="T10" fmla="*/ 49 w 177"/>
                <a:gd name="T11" fmla="*/ 102 h 259"/>
                <a:gd name="T12" fmla="*/ 31 w 177"/>
                <a:gd name="T13" fmla="*/ 106 h 259"/>
                <a:gd name="T14" fmla="*/ 20 w 177"/>
                <a:gd name="T15" fmla="*/ 105 h 259"/>
                <a:gd name="T16" fmla="*/ 13 w 177"/>
                <a:gd name="T17" fmla="*/ 105 h 259"/>
                <a:gd name="T18" fmla="*/ 13 w 177"/>
                <a:gd name="T19" fmla="*/ 100 h 259"/>
                <a:gd name="T20" fmla="*/ 16 w 177"/>
                <a:gd name="T21" fmla="*/ 95 h 259"/>
                <a:gd name="T22" fmla="*/ 11 w 177"/>
                <a:gd name="T23" fmla="*/ 89 h 259"/>
                <a:gd name="T24" fmla="*/ 11 w 177"/>
                <a:gd name="T25" fmla="*/ 81 h 259"/>
                <a:gd name="T26" fmla="*/ 13 w 177"/>
                <a:gd name="T27" fmla="*/ 77 h 259"/>
                <a:gd name="T28" fmla="*/ 19 w 177"/>
                <a:gd name="T29" fmla="*/ 77 h 259"/>
                <a:gd name="T30" fmla="*/ 19 w 177"/>
                <a:gd name="T31" fmla="*/ 72 h 259"/>
                <a:gd name="T32" fmla="*/ 31 w 177"/>
                <a:gd name="T33" fmla="*/ 63 h 259"/>
                <a:gd name="T34" fmla="*/ 34 w 177"/>
                <a:gd name="T35" fmla="*/ 57 h 259"/>
                <a:gd name="T36" fmla="*/ 31 w 177"/>
                <a:gd name="T37" fmla="*/ 52 h 259"/>
                <a:gd name="T38" fmla="*/ 25 w 177"/>
                <a:gd name="T39" fmla="*/ 47 h 259"/>
                <a:gd name="T40" fmla="*/ 20 w 177"/>
                <a:gd name="T41" fmla="*/ 47 h 259"/>
                <a:gd name="T42" fmla="*/ 20 w 177"/>
                <a:gd name="T43" fmla="*/ 37 h 259"/>
                <a:gd name="T44" fmla="*/ 16 w 177"/>
                <a:gd name="T45" fmla="*/ 23 h 259"/>
                <a:gd name="T46" fmla="*/ 0 w 177"/>
                <a:gd name="T47" fmla="*/ 8 h 259"/>
                <a:gd name="T48" fmla="*/ 4 w 177"/>
                <a:gd name="T49" fmla="*/ 7 h 259"/>
                <a:gd name="T50" fmla="*/ 19 w 177"/>
                <a:gd name="T51" fmla="*/ 13 h 259"/>
                <a:gd name="T52" fmla="*/ 25 w 177"/>
                <a:gd name="T53" fmla="*/ 11 h 259"/>
                <a:gd name="T54" fmla="*/ 36 w 177"/>
                <a:gd name="T55" fmla="*/ 3 h 259"/>
                <a:gd name="T56" fmla="*/ 46 w 177"/>
                <a:gd name="T57" fmla="*/ 0 h 259"/>
                <a:gd name="T58" fmla="*/ 44 w 177"/>
                <a:gd name="T59" fmla="*/ 4 h 259"/>
                <a:gd name="T60" fmla="*/ 49 w 177"/>
                <a:gd name="T61" fmla="*/ 14 h 259"/>
                <a:gd name="T62" fmla="*/ 49 w 177"/>
                <a:gd name="T63" fmla="*/ 23 h 259"/>
                <a:gd name="T64" fmla="*/ 51 w 177"/>
                <a:gd name="T65" fmla="*/ 28 h 259"/>
                <a:gd name="T66" fmla="*/ 56 w 177"/>
                <a:gd name="T67" fmla="*/ 37 h 259"/>
                <a:gd name="T68" fmla="*/ 56 w 177"/>
                <a:gd name="T69" fmla="*/ 47 h 259"/>
                <a:gd name="T70" fmla="*/ 61 w 177"/>
                <a:gd name="T71" fmla="*/ 54 h 259"/>
                <a:gd name="T72" fmla="*/ 61 w 177"/>
                <a:gd name="T73" fmla="*/ 65 h 259"/>
                <a:gd name="T74" fmla="*/ 69 w 177"/>
                <a:gd name="T75" fmla="*/ 77 h 259"/>
                <a:gd name="T76" fmla="*/ 74 w 177"/>
                <a:gd name="T77" fmla="*/ 85 h 259"/>
                <a:gd name="T78" fmla="*/ 69 w 177"/>
                <a:gd name="T79" fmla="*/ 96 h 259"/>
                <a:gd name="T80" fmla="*/ 59 w 177"/>
                <a:gd name="T81" fmla="*/ 100 h 259"/>
                <a:gd name="T82" fmla="*/ 61 w 177"/>
                <a:gd name="T83" fmla="*/ 105 h 259"/>
                <a:gd name="T84" fmla="*/ 61 w 177"/>
                <a:gd name="T85" fmla="*/ 105 h 25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7" h="259">
                  <a:moveTo>
                    <a:pt x="145" y="253"/>
                  </a:moveTo>
                  <a:lnTo>
                    <a:pt x="140" y="253"/>
                  </a:lnTo>
                  <a:lnTo>
                    <a:pt x="129" y="248"/>
                  </a:lnTo>
                  <a:lnTo>
                    <a:pt x="129" y="234"/>
                  </a:lnTo>
                  <a:lnTo>
                    <a:pt x="122" y="234"/>
                  </a:lnTo>
                  <a:lnTo>
                    <a:pt x="115" y="248"/>
                  </a:lnTo>
                  <a:lnTo>
                    <a:pt x="74" y="259"/>
                  </a:lnTo>
                  <a:lnTo>
                    <a:pt x="49" y="253"/>
                  </a:lnTo>
                  <a:lnTo>
                    <a:pt x="30" y="253"/>
                  </a:lnTo>
                  <a:lnTo>
                    <a:pt x="30" y="241"/>
                  </a:lnTo>
                  <a:lnTo>
                    <a:pt x="37" y="229"/>
                  </a:lnTo>
                  <a:lnTo>
                    <a:pt x="25" y="216"/>
                  </a:lnTo>
                  <a:lnTo>
                    <a:pt x="25" y="198"/>
                  </a:lnTo>
                  <a:lnTo>
                    <a:pt x="30" y="186"/>
                  </a:lnTo>
                  <a:lnTo>
                    <a:pt x="44" y="186"/>
                  </a:lnTo>
                  <a:lnTo>
                    <a:pt x="44" y="175"/>
                  </a:lnTo>
                  <a:lnTo>
                    <a:pt x="74" y="150"/>
                  </a:lnTo>
                  <a:lnTo>
                    <a:pt x="79" y="138"/>
                  </a:lnTo>
                  <a:lnTo>
                    <a:pt x="74" y="125"/>
                  </a:lnTo>
                  <a:lnTo>
                    <a:pt x="60" y="113"/>
                  </a:lnTo>
                  <a:lnTo>
                    <a:pt x="49" y="113"/>
                  </a:lnTo>
                  <a:lnTo>
                    <a:pt x="49" y="90"/>
                  </a:lnTo>
                  <a:lnTo>
                    <a:pt x="37" y="58"/>
                  </a:lnTo>
                  <a:lnTo>
                    <a:pt x="0" y="20"/>
                  </a:lnTo>
                  <a:lnTo>
                    <a:pt x="10" y="16"/>
                  </a:lnTo>
                  <a:lnTo>
                    <a:pt x="44" y="31"/>
                  </a:lnTo>
                  <a:lnTo>
                    <a:pt x="60" y="26"/>
                  </a:lnTo>
                  <a:lnTo>
                    <a:pt x="85" y="5"/>
                  </a:lnTo>
                  <a:lnTo>
                    <a:pt x="109" y="0"/>
                  </a:lnTo>
                  <a:lnTo>
                    <a:pt x="104" y="10"/>
                  </a:lnTo>
                  <a:lnTo>
                    <a:pt x="115" y="35"/>
                  </a:lnTo>
                  <a:lnTo>
                    <a:pt x="115" y="58"/>
                  </a:lnTo>
                  <a:lnTo>
                    <a:pt x="122" y="71"/>
                  </a:lnTo>
                  <a:lnTo>
                    <a:pt x="134" y="90"/>
                  </a:lnTo>
                  <a:lnTo>
                    <a:pt x="134" y="113"/>
                  </a:lnTo>
                  <a:lnTo>
                    <a:pt x="145" y="131"/>
                  </a:lnTo>
                  <a:lnTo>
                    <a:pt x="145" y="156"/>
                  </a:lnTo>
                  <a:lnTo>
                    <a:pt x="164" y="186"/>
                  </a:lnTo>
                  <a:lnTo>
                    <a:pt x="177" y="204"/>
                  </a:lnTo>
                  <a:lnTo>
                    <a:pt x="164" y="234"/>
                  </a:lnTo>
                  <a:lnTo>
                    <a:pt x="140" y="241"/>
                  </a:lnTo>
                  <a:lnTo>
                    <a:pt x="145" y="25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6" name="Freeform 393"/>
            <p:cNvSpPr>
              <a:spLocks/>
            </p:cNvSpPr>
            <p:nvPr/>
          </p:nvSpPr>
          <p:spPr bwMode="auto">
            <a:xfrm>
              <a:off x="2779" y="1753"/>
              <a:ext cx="131" cy="276"/>
            </a:xfrm>
            <a:custGeom>
              <a:avLst/>
              <a:gdLst>
                <a:gd name="T0" fmla="*/ 70 w 153"/>
                <a:gd name="T1" fmla="*/ 31 h 329"/>
                <a:gd name="T2" fmla="*/ 62 w 153"/>
                <a:gd name="T3" fmla="*/ 38 h 329"/>
                <a:gd name="T4" fmla="*/ 58 w 153"/>
                <a:gd name="T5" fmla="*/ 50 h 329"/>
                <a:gd name="T6" fmla="*/ 56 w 153"/>
                <a:gd name="T7" fmla="*/ 58 h 329"/>
                <a:gd name="T8" fmla="*/ 47 w 153"/>
                <a:gd name="T9" fmla="*/ 66 h 329"/>
                <a:gd name="T10" fmla="*/ 39 w 153"/>
                <a:gd name="T11" fmla="*/ 68 h 329"/>
                <a:gd name="T12" fmla="*/ 33 w 153"/>
                <a:gd name="T13" fmla="*/ 81 h 329"/>
                <a:gd name="T14" fmla="*/ 33 w 153"/>
                <a:gd name="T15" fmla="*/ 86 h 329"/>
                <a:gd name="T16" fmla="*/ 43 w 153"/>
                <a:gd name="T17" fmla="*/ 96 h 329"/>
                <a:gd name="T18" fmla="*/ 43 w 153"/>
                <a:gd name="T19" fmla="*/ 99 h 329"/>
                <a:gd name="T20" fmla="*/ 36 w 153"/>
                <a:gd name="T21" fmla="*/ 101 h 329"/>
                <a:gd name="T22" fmla="*/ 33 w 153"/>
                <a:gd name="T23" fmla="*/ 99 h 329"/>
                <a:gd name="T24" fmla="*/ 31 w 153"/>
                <a:gd name="T25" fmla="*/ 101 h 329"/>
                <a:gd name="T26" fmla="*/ 33 w 153"/>
                <a:gd name="T27" fmla="*/ 103 h 329"/>
                <a:gd name="T28" fmla="*/ 33 w 153"/>
                <a:gd name="T29" fmla="*/ 108 h 329"/>
                <a:gd name="T30" fmla="*/ 33 w 153"/>
                <a:gd name="T31" fmla="*/ 112 h 329"/>
                <a:gd name="T32" fmla="*/ 33 w 153"/>
                <a:gd name="T33" fmla="*/ 122 h 329"/>
                <a:gd name="T34" fmla="*/ 28 w 153"/>
                <a:gd name="T35" fmla="*/ 127 h 329"/>
                <a:gd name="T36" fmla="*/ 20 w 153"/>
                <a:gd name="T37" fmla="*/ 129 h 329"/>
                <a:gd name="T38" fmla="*/ 17 w 153"/>
                <a:gd name="T39" fmla="*/ 138 h 329"/>
                <a:gd name="T40" fmla="*/ 11 w 153"/>
                <a:gd name="T41" fmla="*/ 138 h 329"/>
                <a:gd name="T42" fmla="*/ 8 w 153"/>
                <a:gd name="T43" fmla="*/ 129 h 329"/>
                <a:gd name="T44" fmla="*/ 6 w 153"/>
                <a:gd name="T45" fmla="*/ 122 h 329"/>
                <a:gd name="T46" fmla="*/ 2 w 153"/>
                <a:gd name="T47" fmla="*/ 117 h 329"/>
                <a:gd name="T48" fmla="*/ 0 w 153"/>
                <a:gd name="T49" fmla="*/ 108 h 329"/>
                <a:gd name="T50" fmla="*/ 0 w 153"/>
                <a:gd name="T51" fmla="*/ 101 h 329"/>
                <a:gd name="T52" fmla="*/ 0 w 153"/>
                <a:gd name="T53" fmla="*/ 99 h 329"/>
                <a:gd name="T54" fmla="*/ 6 w 153"/>
                <a:gd name="T55" fmla="*/ 91 h 329"/>
                <a:gd name="T56" fmla="*/ 8 w 153"/>
                <a:gd name="T57" fmla="*/ 76 h 329"/>
                <a:gd name="T58" fmla="*/ 6 w 153"/>
                <a:gd name="T59" fmla="*/ 60 h 329"/>
                <a:gd name="T60" fmla="*/ 8 w 153"/>
                <a:gd name="T61" fmla="*/ 54 h 329"/>
                <a:gd name="T62" fmla="*/ 21 w 153"/>
                <a:gd name="T63" fmla="*/ 41 h 329"/>
                <a:gd name="T64" fmla="*/ 23 w 153"/>
                <a:gd name="T65" fmla="*/ 33 h 329"/>
                <a:gd name="T66" fmla="*/ 33 w 153"/>
                <a:gd name="T67" fmla="*/ 16 h 329"/>
                <a:gd name="T68" fmla="*/ 37 w 153"/>
                <a:gd name="T69" fmla="*/ 7 h 329"/>
                <a:gd name="T70" fmla="*/ 46 w 153"/>
                <a:gd name="T71" fmla="*/ 4 h 329"/>
                <a:gd name="T72" fmla="*/ 50 w 153"/>
                <a:gd name="T73" fmla="*/ 0 h 329"/>
                <a:gd name="T74" fmla="*/ 58 w 153"/>
                <a:gd name="T75" fmla="*/ 0 h 329"/>
                <a:gd name="T76" fmla="*/ 63 w 153"/>
                <a:gd name="T77" fmla="*/ 7 h 329"/>
                <a:gd name="T78" fmla="*/ 69 w 153"/>
                <a:gd name="T79" fmla="*/ 18 h 329"/>
                <a:gd name="T80" fmla="*/ 69 w 153"/>
                <a:gd name="T81" fmla="*/ 23 h 329"/>
                <a:gd name="T82" fmla="*/ 70 w 153"/>
                <a:gd name="T83" fmla="*/ 31 h 329"/>
                <a:gd name="T84" fmla="*/ 70 w 153"/>
                <a:gd name="T85" fmla="*/ 31 h 3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3" h="329">
                  <a:moveTo>
                    <a:pt x="153" y="75"/>
                  </a:moveTo>
                  <a:lnTo>
                    <a:pt x="133" y="91"/>
                  </a:lnTo>
                  <a:lnTo>
                    <a:pt x="128" y="121"/>
                  </a:lnTo>
                  <a:lnTo>
                    <a:pt x="122" y="139"/>
                  </a:lnTo>
                  <a:lnTo>
                    <a:pt x="103" y="158"/>
                  </a:lnTo>
                  <a:lnTo>
                    <a:pt x="85" y="164"/>
                  </a:lnTo>
                  <a:lnTo>
                    <a:pt x="73" y="194"/>
                  </a:lnTo>
                  <a:lnTo>
                    <a:pt x="73" y="208"/>
                  </a:lnTo>
                  <a:lnTo>
                    <a:pt x="92" y="231"/>
                  </a:lnTo>
                  <a:lnTo>
                    <a:pt x="92" y="238"/>
                  </a:lnTo>
                  <a:lnTo>
                    <a:pt x="78" y="243"/>
                  </a:lnTo>
                  <a:lnTo>
                    <a:pt x="73" y="238"/>
                  </a:lnTo>
                  <a:lnTo>
                    <a:pt x="67" y="243"/>
                  </a:lnTo>
                  <a:lnTo>
                    <a:pt x="73" y="249"/>
                  </a:lnTo>
                  <a:lnTo>
                    <a:pt x="73" y="261"/>
                  </a:lnTo>
                  <a:lnTo>
                    <a:pt x="73" y="268"/>
                  </a:lnTo>
                  <a:lnTo>
                    <a:pt x="73" y="293"/>
                  </a:lnTo>
                  <a:lnTo>
                    <a:pt x="60" y="304"/>
                  </a:lnTo>
                  <a:lnTo>
                    <a:pt x="42" y="311"/>
                  </a:lnTo>
                  <a:lnTo>
                    <a:pt x="37" y="329"/>
                  </a:lnTo>
                  <a:lnTo>
                    <a:pt x="23" y="329"/>
                  </a:lnTo>
                  <a:lnTo>
                    <a:pt x="18" y="311"/>
                  </a:lnTo>
                  <a:lnTo>
                    <a:pt x="12" y="293"/>
                  </a:lnTo>
                  <a:lnTo>
                    <a:pt x="2" y="283"/>
                  </a:lnTo>
                  <a:lnTo>
                    <a:pt x="0" y="261"/>
                  </a:lnTo>
                  <a:lnTo>
                    <a:pt x="0" y="243"/>
                  </a:lnTo>
                  <a:lnTo>
                    <a:pt x="0" y="238"/>
                  </a:lnTo>
                  <a:lnTo>
                    <a:pt x="12" y="219"/>
                  </a:lnTo>
                  <a:lnTo>
                    <a:pt x="18" y="183"/>
                  </a:lnTo>
                  <a:lnTo>
                    <a:pt x="12" y="146"/>
                  </a:lnTo>
                  <a:lnTo>
                    <a:pt x="18" y="128"/>
                  </a:lnTo>
                  <a:lnTo>
                    <a:pt x="47" y="100"/>
                  </a:lnTo>
                  <a:lnTo>
                    <a:pt x="50" y="80"/>
                  </a:lnTo>
                  <a:lnTo>
                    <a:pt x="72" y="38"/>
                  </a:lnTo>
                  <a:lnTo>
                    <a:pt x="80" y="16"/>
                  </a:lnTo>
                  <a:lnTo>
                    <a:pt x="102" y="10"/>
                  </a:lnTo>
                  <a:lnTo>
                    <a:pt x="110" y="0"/>
                  </a:lnTo>
                  <a:lnTo>
                    <a:pt x="128" y="0"/>
                  </a:lnTo>
                  <a:lnTo>
                    <a:pt x="138" y="16"/>
                  </a:lnTo>
                  <a:lnTo>
                    <a:pt x="152" y="43"/>
                  </a:lnTo>
                  <a:lnTo>
                    <a:pt x="152" y="55"/>
                  </a:lnTo>
                  <a:lnTo>
                    <a:pt x="153" y="7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7" name="Freeform 394"/>
            <p:cNvSpPr>
              <a:spLocks/>
            </p:cNvSpPr>
            <p:nvPr/>
          </p:nvSpPr>
          <p:spPr bwMode="auto">
            <a:xfrm>
              <a:off x="2779" y="1753"/>
              <a:ext cx="131" cy="276"/>
            </a:xfrm>
            <a:custGeom>
              <a:avLst/>
              <a:gdLst>
                <a:gd name="T0" fmla="*/ 70 w 153"/>
                <a:gd name="T1" fmla="*/ 31 h 329"/>
                <a:gd name="T2" fmla="*/ 62 w 153"/>
                <a:gd name="T3" fmla="*/ 38 h 329"/>
                <a:gd name="T4" fmla="*/ 58 w 153"/>
                <a:gd name="T5" fmla="*/ 50 h 329"/>
                <a:gd name="T6" fmla="*/ 56 w 153"/>
                <a:gd name="T7" fmla="*/ 58 h 329"/>
                <a:gd name="T8" fmla="*/ 47 w 153"/>
                <a:gd name="T9" fmla="*/ 66 h 329"/>
                <a:gd name="T10" fmla="*/ 39 w 153"/>
                <a:gd name="T11" fmla="*/ 68 h 329"/>
                <a:gd name="T12" fmla="*/ 33 w 153"/>
                <a:gd name="T13" fmla="*/ 81 h 329"/>
                <a:gd name="T14" fmla="*/ 33 w 153"/>
                <a:gd name="T15" fmla="*/ 86 h 329"/>
                <a:gd name="T16" fmla="*/ 43 w 153"/>
                <a:gd name="T17" fmla="*/ 96 h 329"/>
                <a:gd name="T18" fmla="*/ 43 w 153"/>
                <a:gd name="T19" fmla="*/ 99 h 329"/>
                <a:gd name="T20" fmla="*/ 36 w 153"/>
                <a:gd name="T21" fmla="*/ 101 h 329"/>
                <a:gd name="T22" fmla="*/ 33 w 153"/>
                <a:gd name="T23" fmla="*/ 99 h 329"/>
                <a:gd name="T24" fmla="*/ 31 w 153"/>
                <a:gd name="T25" fmla="*/ 101 h 329"/>
                <a:gd name="T26" fmla="*/ 33 w 153"/>
                <a:gd name="T27" fmla="*/ 103 h 329"/>
                <a:gd name="T28" fmla="*/ 33 w 153"/>
                <a:gd name="T29" fmla="*/ 108 h 329"/>
                <a:gd name="T30" fmla="*/ 33 w 153"/>
                <a:gd name="T31" fmla="*/ 112 h 329"/>
                <a:gd name="T32" fmla="*/ 33 w 153"/>
                <a:gd name="T33" fmla="*/ 122 h 329"/>
                <a:gd name="T34" fmla="*/ 28 w 153"/>
                <a:gd name="T35" fmla="*/ 127 h 329"/>
                <a:gd name="T36" fmla="*/ 20 w 153"/>
                <a:gd name="T37" fmla="*/ 129 h 329"/>
                <a:gd name="T38" fmla="*/ 17 w 153"/>
                <a:gd name="T39" fmla="*/ 138 h 329"/>
                <a:gd name="T40" fmla="*/ 11 w 153"/>
                <a:gd name="T41" fmla="*/ 138 h 329"/>
                <a:gd name="T42" fmla="*/ 8 w 153"/>
                <a:gd name="T43" fmla="*/ 129 h 329"/>
                <a:gd name="T44" fmla="*/ 6 w 153"/>
                <a:gd name="T45" fmla="*/ 122 h 329"/>
                <a:gd name="T46" fmla="*/ 2 w 153"/>
                <a:gd name="T47" fmla="*/ 117 h 329"/>
                <a:gd name="T48" fmla="*/ 0 w 153"/>
                <a:gd name="T49" fmla="*/ 108 h 329"/>
                <a:gd name="T50" fmla="*/ 0 w 153"/>
                <a:gd name="T51" fmla="*/ 101 h 329"/>
                <a:gd name="T52" fmla="*/ 0 w 153"/>
                <a:gd name="T53" fmla="*/ 99 h 329"/>
                <a:gd name="T54" fmla="*/ 6 w 153"/>
                <a:gd name="T55" fmla="*/ 91 h 329"/>
                <a:gd name="T56" fmla="*/ 8 w 153"/>
                <a:gd name="T57" fmla="*/ 76 h 329"/>
                <a:gd name="T58" fmla="*/ 6 w 153"/>
                <a:gd name="T59" fmla="*/ 60 h 329"/>
                <a:gd name="T60" fmla="*/ 8 w 153"/>
                <a:gd name="T61" fmla="*/ 54 h 329"/>
                <a:gd name="T62" fmla="*/ 21 w 153"/>
                <a:gd name="T63" fmla="*/ 41 h 329"/>
                <a:gd name="T64" fmla="*/ 23 w 153"/>
                <a:gd name="T65" fmla="*/ 33 h 329"/>
                <a:gd name="T66" fmla="*/ 33 w 153"/>
                <a:gd name="T67" fmla="*/ 16 h 329"/>
                <a:gd name="T68" fmla="*/ 37 w 153"/>
                <a:gd name="T69" fmla="*/ 7 h 329"/>
                <a:gd name="T70" fmla="*/ 46 w 153"/>
                <a:gd name="T71" fmla="*/ 4 h 329"/>
                <a:gd name="T72" fmla="*/ 50 w 153"/>
                <a:gd name="T73" fmla="*/ 0 h 329"/>
                <a:gd name="T74" fmla="*/ 58 w 153"/>
                <a:gd name="T75" fmla="*/ 0 h 329"/>
                <a:gd name="T76" fmla="*/ 63 w 153"/>
                <a:gd name="T77" fmla="*/ 7 h 329"/>
                <a:gd name="T78" fmla="*/ 69 w 153"/>
                <a:gd name="T79" fmla="*/ 18 h 329"/>
                <a:gd name="T80" fmla="*/ 69 w 153"/>
                <a:gd name="T81" fmla="*/ 23 h 329"/>
                <a:gd name="T82" fmla="*/ 70 w 153"/>
                <a:gd name="T83" fmla="*/ 31 h 329"/>
                <a:gd name="T84" fmla="*/ 70 w 153"/>
                <a:gd name="T85" fmla="*/ 31 h 3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53" h="329">
                  <a:moveTo>
                    <a:pt x="153" y="75"/>
                  </a:moveTo>
                  <a:lnTo>
                    <a:pt x="133" y="91"/>
                  </a:lnTo>
                  <a:lnTo>
                    <a:pt x="128" y="121"/>
                  </a:lnTo>
                  <a:lnTo>
                    <a:pt x="122" y="139"/>
                  </a:lnTo>
                  <a:lnTo>
                    <a:pt x="103" y="158"/>
                  </a:lnTo>
                  <a:lnTo>
                    <a:pt x="85" y="164"/>
                  </a:lnTo>
                  <a:lnTo>
                    <a:pt x="73" y="194"/>
                  </a:lnTo>
                  <a:lnTo>
                    <a:pt x="73" y="208"/>
                  </a:lnTo>
                  <a:lnTo>
                    <a:pt x="92" y="231"/>
                  </a:lnTo>
                  <a:lnTo>
                    <a:pt x="92" y="238"/>
                  </a:lnTo>
                  <a:lnTo>
                    <a:pt x="78" y="243"/>
                  </a:lnTo>
                  <a:lnTo>
                    <a:pt x="73" y="238"/>
                  </a:lnTo>
                  <a:lnTo>
                    <a:pt x="67" y="243"/>
                  </a:lnTo>
                  <a:lnTo>
                    <a:pt x="73" y="249"/>
                  </a:lnTo>
                  <a:lnTo>
                    <a:pt x="73" y="261"/>
                  </a:lnTo>
                  <a:lnTo>
                    <a:pt x="73" y="268"/>
                  </a:lnTo>
                  <a:lnTo>
                    <a:pt x="73" y="293"/>
                  </a:lnTo>
                  <a:lnTo>
                    <a:pt x="60" y="304"/>
                  </a:lnTo>
                  <a:lnTo>
                    <a:pt x="42" y="311"/>
                  </a:lnTo>
                  <a:lnTo>
                    <a:pt x="37" y="329"/>
                  </a:lnTo>
                  <a:lnTo>
                    <a:pt x="23" y="329"/>
                  </a:lnTo>
                  <a:lnTo>
                    <a:pt x="18" y="311"/>
                  </a:lnTo>
                  <a:lnTo>
                    <a:pt x="12" y="293"/>
                  </a:lnTo>
                  <a:lnTo>
                    <a:pt x="2" y="283"/>
                  </a:lnTo>
                  <a:lnTo>
                    <a:pt x="0" y="261"/>
                  </a:lnTo>
                  <a:lnTo>
                    <a:pt x="0" y="243"/>
                  </a:lnTo>
                  <a:lnTo>
                    <a:pt x="0" y="238"/>
                  </a:lnTo>
                  <a:lnTo>
                    <a:pt x="12" y="219"/>
                  </a:lnTo>
                  <a:lnTo>
                    <a:pt x="18" y="183"/>
                  </a:lnTo>
                  <a:lnTo>
                    <a:pt x="12" y="146"/>
                  </a:lnTo>
                  <a:lnTo>
                    <a:pt x="18" y="128"/>
                  </a:lnTo>
                  <a:lnTo>
                    <a:pt x="47" y="100"/>
                  </a:lnTo>
                  <a:lnTo>
                    <a:pt x="50" y="80"/>
                  </a:lnTo>
                  <a:lnTo>
                    <a:pt x="72" y="38"/>
                  </a:lnTo>
                  <a:lnTo>
                    <a:pt x="80" y="16"/>
                  </a:lnTo>
                  <a:lnTo>
                    <a:pt x="102" y="10"/>
                  </a:lnTo>
                  <a:lnTo>
                    <a:pt x="110" y="0"/>
                  </a:lnTo>
                  <a:lnTo>
                    <a:pt x="128" y="0"/>
                  </a:lnTo>
                  <a:lnTo>
                    <a:pt x="138" y="16"/>
                  </a:lnTo>
                  <a:lnTo>
                    <a:pt x="152" y="43"/>
                  </a:lnTo>
                  <a:lnTo>
                    <a:pt x="152" y="55"/>
                  </a:lnTo>
                  <a:lnTo>
                    <a:pt x="153" y="7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8" name="Freeform 395"/>
            <p:cNvSpPr>
              <a:spLocks/>
            </p:cNvSpPr>
            <p:nvPr/>
          </p:nvSpPr>
          <p:spPr bwMode="auto">
            <a:xfrm>
              <a:off x="2708" y="1696"/>
              <a:ext cx="272" cy="286"/>
            </a:xfrm>
            <a:custGeom>
              <a:avLst/>
              <a:gdLst>
                <a:gd name="T0" fmla="*/ 137 w 312"/>
                <a:gd name="T1" fmla="*/ 0 h 341"/>
                <a:gd name="T2" fmla="*/ 129 w 312"/>
                <a:gd name="T3" fmla="*/ 0 h 341"/>
                <a:gd name="T4" fmla="*/ 119 w 312"/>
                <a:gd name="T5" fmla="*/ 3 h 341"/>
                <a:gd name="T6" fmla="*/ 105 w 312"/>
                <a:gd name="T7" fmla="*/ 5 h 341"/>
                <a:gd name="T8" fmla="*/ 92 w 312"/>
                <a:gd name="T9" fmla="*/ 13 h 341"/>
                <a:gd name="T10" fmla="*/ 70 w 312"/>
                <a:gd name="T11" fmla="*/ 28 h 341"/>
                <a:gd name="T12" fmla="*/ 68 w 312"/>
                <a:gd name="T13" fmla="*/ 33 h 341"/>
                <a:gd name="T14" fmla="*/ 65 w 312"/>
                <a:gd name="T15" fmla="*/ 41 h 341"/>
                <a:gd name="T16" fmla="*/ 51 w 312"/>
                <a:gd name="T17" fmla="*/ 49 h 341"/>
                <a:gd name="T18" fmla="*/ 40 w 312"/>
                <a:gd name="T19" fmla="*/ 68 h 341"/>
                <a:gd name="T20" fmla="*/ 28 w 312"/>
                <a:gd name="T21" fmla="*/ 84 h 341"/>
                <a:gd name="T22" fmla="*/ 33 w 312"/>
                <a:gd name="T23" fmla="*/ 86 h 341"/>
                <a:gd name="T24" fmla="*/ 21 w 312"/>
                <a:gd name="T25" fmla="*/ 91 h 341"/>
                <a:gd name="T26" fmla="*/ 0 w 312"/>
                <a:gd name="T27" fmla="*/ 104 h 341"/>
                <a:gd name="T28" fmla="*/ 9 w 312"/>
                <a:gd name="T29" fmla="*/ 108 h 341"/>
                <a:gd name="T30" fmla="*/ 9 w 312"/>
                <a:gd name="T31" fmla="*/ 115 h 341"/>
                <a:gd name="T32" fmla="*/ 3 w 312"/>
                <a:gd name="T33" fmla="*/ 119 h 341"/>
                <a:gd name="T34" fmla="*/ 3 w 312"/>
                <a:gd name="T35" fmla="*/ 127 h 341"/>
                <a:gd name="T36" fmla="*/ 3 w 312"/>
                <a:gd name="T37" fmla="*/ 133 h 341"/>
                <a:gd name="T38" fmla="*/ 7 w 312"/>
                <a:gd name="T39" fmla="*/ 142 h 341"/>
                <a:gd name="T40" fmla="*/ 31 w 312"/>
                <a:gd name="T41" fmla="*/ 133 h 341"/>
                <a:gd name="T42" fmla="*/ 46 w 312"/>
                <a:gd name="T43" fmla="*/ 119 h 341"/>
                <a:gd name="T44" fmla="*/ 50 w 312"/>
                <a:gd name="T45" fmla="*/ 99 h 341"/>
                <a:gd name="T46" fmla="*/ 51 w 312"/>
                <a:gd name="T47" fmla="*/ 79 h 341"/>
                <a:gd name="T48" fmla="*/ 65 w 312"/>
                <a:gd name="T49" fmla="*/ 68 h 341"/>
                <a:gd name="T50" fmla="*/ 70 w 312"/>
                <a:gd name="T51" fmla="*/ 53 h 341"/>
                <a:gd name="T52" fmla="*/ 89 w 312"/>
                <a:gd name="T53" fmla="*/ 33 h 341"/>
                <a:gd name="T54" fmla="*/ 92 w 312"/>
                <a:gd name="T55" fmla="*/ 19 h 341"/>
                <a:gd name="T56" fmla="*/ 113 w 312"/>
                <a:gd name="T57" fmla="*/ 24 h 341"/>
                <a:gd name="T58" fmla="*/ 132 w 312"/>
                <a:gd name="T59" fmla="*/ 15 h 341"/>
                <a:gd name="T60" fmla="*/ 147 w 312"/>
                <a:gd name="T61" fmla="*/ 11 h 341"/>
                <a:gd name="T62" fmla="*/ 157 w 312"/>
                <a:gd name="T63" fmla="*/ 5 h 341"/>
                <a:gd name="T64" fmla="*/ 153 w 312"/>
                <a:gd name="T65" fmla="*/ 0 h 34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12" h="341">
                  <a:moveTo>
                    <a:pt x="305" y="0"/>
                  </a:moveTo>
                  <a:lnTo>
                    <a:pt x="273" y="0"/>
                  </a:lnTo>
                  <a:lnTo>
                    <a:pt x="262" y="12"/>
                  </a:lnTo>
                  <a:lnTo>
                    <a:pt x="257" y="0"/>
                  </a:lnTo>
                  <a:lnTo>
                    <a:pt x="238" y="0"/>
                  </a:lnTo>
                  <a:lnTo>
                    <a:pt x="238" y="7"/>
                  </a:lnTo>
                  <a:lnTo>
                    <a:pt x="227" y="7"/>
                  </a:lnTo>
                  <a:lnTo>
                    <a:pt x="208" y="12"/>
                  </a:lnTo>
                  <a:lnTo>
                    <a:pt x="205" y="32"/>
                  </a:lnTo>
                  <a:lnTo>
                    <a:pt x="183" y="32"/>
                  </a:lnTo>
                  <a:lnTo>
                    <a:pt x="165" y="37"/>
                  </a:lnTo>
                  <a:lnTo>
                    <a:pt x="140" y="67"/>
                  </a:lnTo>
                  <a:lnTo>
                    <a:pt x="153" y="73"/>
                  </a:lnTo>
                  <a:lnTo>
                    <a:pt x="135" y="80"/>
                  </a:lnTo>
                  <a:lnTo>
                    <a:pt x="135" y="92"/>
                  </a:lnTo>
                  <a:lnTo>
                    <a:pt x="128" y="98"/>
                  </a:lnTo>
                  <a:lnTo>
                    <a:pt x="117" y="92"/>
                  </a:lnTo>
                  <a:lnTo>
                    <a:pt x="103" y="117"/>
                  </a:lnTo>
                  <a:lnTo>
                    <a:pt x="103" y="128"/>
                  </a:lnTo>
                  <a:lnTo>
                    <a:pt x="80" y="165"/>
                  </a:lnTo>
                  <a:lnTo>
                    <a:pt x="55" y="195"/>
                  </a:lnTo>
                  <a:lnTo>
                    <a:pt x="55" y="202"/>
                  </a:lnTo>
                  <a:lnTo>
                    <a:pt x="73" y="202"/>
                  </a:lnTo>
                  <a:lnTo>
                    <a:pt x="67" y="206"/>
                  </a:lnTo>
                  <a:lnTo>
                    <a:pt x="48" y="206"/>
                  </a:lnTo>
                  <a:lnTo>
                    <a:pt x="43" y="220"/>
                  </a:lnTo>
                  <a:lnTo>
                    <a:pt x="13" y="238"/>
                  </a:lnTo>
                  <a:lnTo>
                    <a:pt x="0" y="250"/>
                  </a:lnTo>
                  <a:lnTo>
                    <a:pt x="0" y="268"/>
                  </a:lnTo>
                  <a:lnTo>
                    <a:pt x="18" y="261"/>
                  </a:lnTo>
                  <a:lnTo>
                    <a:pt x="25" y="261"/>
                  </a:lnTo>
                  <a:lnTo>
                    <a:pt x="18" y="275"/>
                  </a:lnTo>
                  <a:lnTo>
                    <a:pt x="7" y="275"/>
                  </a:lnTo>
                  <a:lnTo>
                    <a:pt x="7" y="286"/>
                  </a:lnTo>
                  <a:lnTo>
                    <a:pt x="3" y="298"/>
                  </a:lnTo>
                  <a:lnTo>
                    <a:pt x="7" y="305"/>
                  </a:lnTo>
                  <a:lnTo>
                    <a:pt x="3" y="308"/>
                  </a:lnTo>
                  <a:lnTo>
                    <a:pt x="7" y="323"/>
                  </a:lnTo>
                  <a:lnTo>
                    <a:pt x="0" y="328"/>
                  </a:lnTo>
                  <a:lnTo>
                    <a:pt x="13" y="341"/>
                  </a:lnTo>
                  <a:lnTo>
                    <a:pt x="43" y="335"/>
                  </a:lnTo>
                  <a:lnTo>
                    <a:pt x="62" y="323"/>
                  </a:lnTo>
                  <a:lnTo>
                    <a:pt x="80" y="310"/>
                  </a:lnTo>
                  <a:lnTo>
                    <a:pt x="92" y="286"/>
                  </a:lnTo>
                  <a:lnTo>
                    <a:pt x="98" y="250"/>
                  </a:lnTo>
                  <a:lnTo>
                    <a:pt x="98" y="238"/>
                  </a:lnTo>
                  <a:lnTo>
                    <a:pt x="92" y="213"/>
                  </a:lnTo>
                  <a:lnTo>
                    <a:pt x="103" y="188"/>
                  </a:lnTo>
                  <a:lnTo>
                    <a:pt x="117" y="177"/>
                  </a:lnTo>
                  <a:lnTo>
                    <a:pt x="128" y="165"/>
                  </a:lnTo>
                  <a:lnTo>
                    <a:pt x="128" y="152"/>
                  </a:lnTo>
                  <a:lnTo>
                    <a:pt x="140" y="128"/>
                  </a:lnTo>
                  <a:lnTo>
                    <a:pt x="158" y="85"/>
                  </a:lnTo>
                  <a:lnTo>
                    <a:pt x="177" y="80"/>
                  </a:lnTo>
                  <a:lnTo>
                    <a:pt x="210" y="68"/>
                  </a:lnTo>
                  <a:lnTo>
                    <a:pt x="183" y="45"/>
                  </a:lnTo>
                  <a:lnTo>
                    <a:pt x="193" y="42"/>
                  </a:lnTo>
                  <a:lnTo>
                    <a:pt x="225" y="60"/>
                  </a:lnTo>
                  <a:lnTo>
                    <a:pt x="238" y="58"/>
                  </a:lnTo>
                  <a:lnTo>
                    <a:pt x="262" y="37"/>
                  </a:lnTo>
                  <a:lnTo>
                    <a:pt x="268" y="32"/>
                  </a:lnTo>
                  <a:lnTo>
                    <a:pt x="293" y="25"/>
                  </a:lnTo>
                  <a:lnTo>
                    <a:pt x="293" y="18"/>
                  </a:lnTo>
                  <a:lnTo>
                    <a:pt x="312" y="12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9" name="Freeform 396"/>
            <p:cNvSpPr>
              <a:spLocks/>
            </p:cNvSpPr>
            <p:nvPr/>
          </p:nvSpPr>
          <p:spPr bwMode="auto">
            <a:xfrm>
              <a:off x="2708" y="1696"/>
              <a:ext cx="272" cy="286"/>
            </a:xfrm>
            <a:custGeom>
              <a:avLst/>
              <a:gdLst>
                <a:gd name="T0" fmla="*/ 137 w 312"/>
                <a:gd name="T1" fmla="*/ 0 h 341"/>
                <a:gd name="T2" fmla="*/ 129 w 312"/>
                <a:gd name="T3" fmla="*/ 0 h 341"/>
                <a:gd name="T4" fmla="*/ 119 w 312"/>
                <a:gd name="T5" fmla="*/ 3 h 341"/>
                <a:gd name="T6" fmla="*/ 105 w 312"/>
                <a:gd name="T7" fmla="*/ 5 h 341"/>
                <a:gd name="T8" fmla="*/ 92 w 312"/>
                <a:gd name="T9" fmla="*/ 13 h 341"/>
                <a:gd name="T10" fmla="*/ 70 w 312"/>
                <a:gd name="T11" fmla="*/ 28 h 341"/>
                <a:gd name="T12" fmla="*/ 68 w 312"/>
                <a:gd name="T13" fmla="*/ 33 h 341"/>
                <a:gd name="T14" fmla="*/ 65 w 312"/>
                <a:gd name="T15" fmla="*/ 41 h 341"/>
                <a:gd name="T16" fmla="*/ 51 w 312"/>
                <a:gd name="T17" fmla="*/ 49 h 341"/>
                <a:gd name="T18" fmla="*/ 40 w 312"/>
                <a:gd name="T19" fmla="*/ 68 h 341"/>
                <a:gd name="T20" fmla="*/ 28 w 312"/>
                <a:gd name="T21" fmla="*/ 84 h 341"/>
                <a:gd name="T22" fmla="*/ 33 w 312"/>
                <a:gd name="T23" fmla="*/ 86 h 341"/>
                <a:gd name="T24" fmla="*/ 21 w 312"/>
                <a:gd name="T25" fmla="*/ 91 h 341"/>
                <a:gd name="T26" fmla="*/ 0 w 312"/>
                <a:gd name="T27" fmla="*/ 104 h 341"/>
                <a:gd name="T28" fmla="*/ 9 w 312"/>
                <a:gd name="T29" fmla="*/ 108 h 341"/>
                <a:gd name="T30" fmla="*/ 9 w 312"/>
                <a:gd name="T31" fmla="*/ 115 h 341"/>
                <a:gd name="T32" fmla="*/ 3 w 312"/>
                <a:gd name="T33" fmla="*/ 119 h 341"/>
                <a:gd name="T34" fmla="*/ 3 w 312"/>
                <a:gd name="T35" fmla="*/ 127 h 341"/>
                <a:gd name="T36" fmla="*/ 3 w 312"/>
                <a:gd name="T37" fmla="*/ 133 h 341"/>
                <a:gd name="T38" fmla="*/ 7 w 312"/>
                <a:gd name="T39" fmla="*/ 142 h 341"/>
                <a:gd name="T40" fmla="*/ 31 w 312"/>
                <a:gd name="T41" fmla="*/ 133 h 341"/>
                <a:gd name="T42" fmla="*/ 46 w 312"/>
                <a:gd name="T43" fmla="*/ 119 h 341"/>
                <a:gd name="T44" fmla="*/ 50 w 312"/>
                <a:gd name="T45" fmla="*/ 99 h 341"/>
                <a:gd name="T46" fmla="*/ 51 w 312"/>
                <a:gd name="T47" fmla="*/ 79 h 341"/>
                <a:gd name="T48" fmla="*/ 65 w 312"/>
                <a:gd name="T49" fmla="*/ 68 h 341"/>
                <a:gd name="T50" fmla="*/ 70 w 312"/>
                <a:gd name="T51" fmla="*/ 53 h 341"/>
                <a:gd name="T52" fmla="*/ 89 w 312"/>
                <a:gd name="T53" fmla="*/ 33 h 341"/>
                <a:gd name="T54" fmla="*/ 92 w 312"/>
                <a:gd name="T55" fmla="*/ 19 h 341"/>
                <a:gd name="T56" fmla="*/ 113 w 312"/>
                <a:gd name="T57" fmla="*/ 24 h 341"/>
                <a:gd name="T58" fmla="*/ 132 w 312"/>
                <a:gd name="T59" fmla="*/ 15 h 341"/>
                <a:gd name="T60" fmla="*/ 147 w 312"/>
                <a:gd name="T61" fmla="*/ 11 h 341"/>
                <a:gd name="T62" fmla="*/ 157 w 312"/>
                <a:gd name="T63" fmla="*/ 5 h 341"/>
                <a:gd name="T64" fmla="*/ 153 w 312"/>
                <a:gd name="T65" fmla="*/ 0 h 34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12" h="341">
                  <a:moveTo>
                    <a:pt x="305" y="0"/>
                  </a:moveTo>
                  <a:lnTo>
                    <a:pt x="273" y="0"/>
                  </a:lnTo>
                  <a:lnTo>
                    <a:pt x="262" y="12"/>
                  </a:lnTo>
                  <a:lnTo>
                    <a:pt x="257" y="0"/>
                  </a:lnTo>
                  <a:lnTo>
                    <a:pt x="238" y="0"/>
                  </a:lnTo>
                  <a:lnTo>
                    <a:pt x="238" y="7"/>
                  </a:lnTo>
                  <a:lnTo>
                    <a:pt x="227" y="7"/>
                  </a:lnTo>
                  <a:lnTo>
                    <a:pt x="208" y="12"/>
                  </a:lnTo>
                  <a:lnTo>
                    <a:pt x="205" y="32"/>
                  </a:lnTo>
                  <a:lnTo>
                    <a:pt x="183" y="32"/>
                  </a:lnTo>
                  <a:lnTo>
                    <a:pt x="165" y="37"/>
                  </a:lnTo>
                  <a:lnTo>
                    <a:pt x="140" y="67"/>
                  </a:lnTo>
                  <a:lnTo>
                    <a:pt x="153" y="73"/>
                  </a:lnTo>
                  <a:lnTo>
                    <a:pt x="135" y="80"/>
                  </a:lnTo>
                  <a:lnTo>
                    <a:pt x="135" y="92"/>
                  </a:lnTo>
                  <a:lnTo>
                    <a:pt x="128" y="98"/>
                  </a:lnTo>
                  <a:lnTo>
                    <a:pt x="117" y="92"/>
                  </a:lnTo>
                  <a:lnTo>
                    <a:pt x="103" y="117"/>
                  </a:lnTo>
                  <a:lnTo>
                    <a:pt x="103" y="128"/>
                  </a:lnTo>
                  <a:lnTo>
                    <a:pt x="80" y="165"/>
                  </a:lnTo>
                  <a:lnTo>
                    <a:pt x="55" y="195"/>
                  </a:lnTo>
                  <a:lnTo>
                    <a:pt x="55" y="202"/>
                  </a:lnTo>
                  <a:lnTo>
                    <a:pt x="73" y="202"/>
                  </a:lnTo>
                  <a:lnTo>
                    <a:pt x="67" y="206"/>
                  </a:lnTo>
                  <a:lnTo>
                    <a:pt x="48" y="206"/>
                  </a:lnTo>
                  <a:lnTo>
                    <a:pt x="43" y="220"/>
                  </a:lnTo>
                  <a:lnTo>
                    <a:pt x="13" y="238"/>
                  </a:lnTo>
                  <a:lnTo>
                    <a:pt x="0" y="250"/>
                  </a:lnTo>
                  <a:lnTo>
                    <a:pt x="0" y="268"/>
                  </a:lnTo>
                  <a:lnTo>
                    <a:pt x="18" y="261"/>
                  </a:lnTo>
                  <a:lnTo>
                    <a:pt x="25" y="261"/>
                  </a:lnTo>
                  <a:lnTo>
                    <a:pt x="18" y="275"/>
                  </a:lnTo>
                  <a:lnTo>
                    <a:pt x="7" y="275"/>
                  </a:lnTo>
                  <a:lnTo>
                    <a:pt x="7" y="286"/>
                  </a:lnTo>
                  <a:lnTo>
                    <a:pt x="3" y="298"/>
                  </a:lnTo>
                  <a:lnTo>
                    <a:pt x="7" y="305"/>
                  </a:lnTo>
                  <a:lnTo>
                    <a:pt x="3" y="308"/>
                  </a:lnTo>
                  <a:lnTo>
                    <a:pt x="7" y="323"/>
                  </a:lnTo>
                  <a:lnTo>
                    <a:pt x="0" y="328"/>
                  </a:lnTo>
                  <a:lnTo>
                    <a:pt x="13" y="341"/>
                  </a:lnTo>
                  <a:lnTo>
                    <a:pt x="43" y="335"/>
                  </a:lnTo>
                  <a:lnTo>
                    <a:pt x="62" y="323"/>
                  </a:lnTo>
                  <a:lnTo>
                    <a:pt x="80" y="310"/>
                  </a:lnTo>
                  <a:lnTo>
                    <a:pt x="92" y="286"/>
                  </a:lnTo>
                  <a:lnTo>
                    <a:pt x="98" y="250"/>
                  </a:lnTo>
                  <a:lnTo>
                    <a:pt x="98" y="238"/>
                  </a:lnTo>
                  <a:lnTo>
                    <a:pt x="92" y="213"/>
                  </a:lnTo>
                  <a:lnTo>
                    <a:pt x="103" y="188"/>
                  </a:lnTo>
                  <a:lnTo>
                    <a:pt x="117" y="177"/>
                  </a:lnTo>
                  <a:lnTo>
                    <a:pt x="128" y="165"/>
                  </a:lnTo>
                  <a:lnTo>
                    <a:pt x="128" y="152"/>
                  </a:lnTo>
                  <a:lnTo>
                    <a:pt x="140" y="128"/>
                  </a:lnTo>
                  <a:lnTo>
                    <a:pt x="158" y="85"/>
                  </a:lnTo>
                  <a:lnTo>
                    <a:pt x="177" y="80"/>
                  </a:lnTo>
                  <a:lnTo>
                    <a:pt x="210" y="68"/>
                  </a:lnTo>
                  <a:lnTo>
                    <a:pt x="183" y="45"/>
                  </a:lnTo>
                  <a:lnTo>
                    <a:pt x="193" y="42"/>
                  </a:lnTo>
                  <a:lnTo>
                    <a:pt x="225" y="60"/>
                  </a:lnTo>
                  <a:lnTo>
                    <a:pt x="238" y="58"/>
                  </a:lnTo>
                  <a:lnTo>
                    <a:pt x="262" y="37"/>
                  </a:lnTo>
                  <a:lnTo>
                    <a:pt x="268" y="32"/>
                  </a:lnTo>
                  <a:lnTo>
                    <a:pt x="293" y="25"/>
                  </a:lnTo>
                  <a:lnTo>
                    <a:pt x="293" y="18"/>
                  </a:lnTo>
                  <a:lnTo>
                    <a:pt x="312" y="12"/>
                  </a:lnTo>
                  <a:lnTo>
                    <a:pt x="30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0" name="Freeform 397"/>
            <p:cNvSpPr>
              <a:spLocks/>
            </p:cNvSpPr>
            <p:nvPr/>
          </p:nvSpPr>
          <p:spPr bwMode="auto">
            <a:xfrm>
              <a:off x="2844" y="1982"/>
              <a:ext cx="17" cy="21"/>
            </a:xfrm>
            <a:custGeom>
              <a:avLst/>
              <a:gdLst>
                <a:gd name="T0" fmla="*/ 9 w 19"/>
                <a:gd name="T1" fmla="*/ 0 h 24"/>
                <a:gd name="T2" fmla="*/ 0 w 19"/>
                <a:gd name="T3" fmla="*/ 4 h 24"/>
                <a:gd name="T4" fmla="*/ 4 w 19"/>
                <a:gd name="T5" fmla="*/ 12 h 24"/>
                <a:gd name="T6" fmla="*/ 9 w 19"/>
                <a:gd name="T7" fmla="*/ 10 h 24"/>
                <a:gd name="T8" fmla="*/ 11 w 19"/>
                <a:gd name="T9" fmla="*/ 7 h 24"/>
                <a:gd name="T10" fmla="*/ 9 w 19"/>
                <a:gd name="T11" fmla="*/ 0 h 24"/>
                <a:gd name="T12" fmla="*/ 9 w 19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4">
                  <a:moveTo>
                    <a:pt x="14" y="0"/>
                  </a:moveTo>
                  <a:lnTo>
                    <a:pt x="0" y="5"/>
                  </a:lnTo>
                  <a:lnTo>
                    <a:pt x="7" y="24"/>
                  </a:lnTo>
                  <a:lnTo>
                    <a:pt x="14" y="19"/>
                  </a:lnTo>
                  <a:lnTo>
                    <a:pt x="19" y="12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1" name="Freeform 398"/>
            <p:cNvSpPr>
              <a:spLocks/>
            </p:cNvSpPr>
            <p:nvPr/>
          </p:nvSpPr>
          <p:spPr bwMode="auto">
            <a:xfrm>
              <a:off x="2844" y="1982"/>
              <a:ext cx="17" cy="21"/>
            </a:xfrm>
            <a:custGeom>
              <a:avLst/>
              <a:gdLst>
                <a:gd name="T0" fmla="*/ 9 w 19"/>
                <a:gd name="T1" fmla="*/ 0 h 24"/>
                <a:gd name="T2" fmla="*/ 0 w 19"/>
                <a:gd name="T3" fmla="*/ 4 h 24"/>
                <a:gd name="T4" fmla="*/ 4 w 19"/>
                <a:gd name="T5" fmla="*/ 12 h 24"/>
                <a:gd name="T6" fmla="*/ 9 w 19"/>
                <a:gd name="T7" fmla="*/ 10 h 24"/>
                <a:gd name="T8" fmla="*/ 11 w 19"/>
                <a:gd name="T9" fmla="*/ 7 h 24"/>
                <a:gd name="T10" fmla="*/ 9 w 19"/>
                <a:gd name="T11" fmla="*/ 0 h 24"/>
                <a:gd name="T12" fmla="*/ 9 w 19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4">
                  <a:moveTo>
                    <a:pt x="14" y="0"/>
                  </a:moveTo>
                  <a:lnTo>
                    <a:pt x="0" y="5"/>
                  </a:lnTo>
                  <a:lnTo>
                    <a:pt x="7" y="24"/>
                  </a:lnTo>
                  <a:lnTo>
                    <a:pt x="14" y="19"/>
                  </a:lnTo>
                  <a:lnTo>
                    <a:pt x="19" y="12"/>
                  </a:lnTo>
                  <a:lnTo>
                    <a:pt x="14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2" name="Freeform 399"/>
            <p:cNvSpPr>
              <a:spLocks/>
            </p:cNvSpPr>
            <p:nvPr/>
          </p:nvSpPr>
          <p:spPr bwMode="auto">
            <a:xfrm>
              <a:off x="2772" y="2033"/>
              <a:ext cx="17" cy="16"/>
            </a:xfrm>
            <a:custGeom>
              <a:avLst/>
              <a:gdLst>
                <a:gd name="T0" fmla="*/ 7 w 19"/>
                <a:gd name="T1" fmla="*/ 0 h 19"/>
                <a:gd name="T2" fmla="*/ 0 w 19"/>
                <a:gd name="T3" fmla="*/ 6 h 19"/>
                <a:gd name="T4" fmla="*/ 4 w 19"/>
                <a:gd name="T5" fmla="*/ 8 h 19"/>
                <a:gd name="T6" fmla="*/ 11 w 19"/>
                <a:gd name="T7" fmla="*/ 6 h 19"/>
                <a:gd name="T8" fmla="*/ 7 w 19"/>
                <a:gd name="T9" fmla="*/ 0 h 19"/>
                <a:gd name="T10" fmla="*/ 7 w 19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19">
                  <a:moveTo>
                    <a:pt x="12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9" y="1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3" name="Freeform 400"/>
            <p:cNvSpPr>
              <a:spLocks/>
            </p:cNvSpPr>
            <p:nvPr/>
          </p:nvSpPr>
          <p:spPr bwMode="auto">
            <a:xfrm>
              <a:off x="2772" y="2033"/>
              <a:ext cx="17" cy="16"/>
            </a:xfrm>
            <a:custGeom>
              <a:avLst/>
              <a:gdLst>
                <a:gd name="T0" fmla="*/ 7 w 19"/>
                <a:gd name="T1" fmla="*/ 0 h 19"/>
                <a:gd name="T2" fmla="*/ 0 w 19"/>
                <a:gd name="T3" fmla="*/ 6 h 19"/>
                <a:gd name="T4" fmla="*/ 4 w 19"/>
                <a:gd name="T5" fmla="*/ 8 h 19"/>
                <a:gd name="T6" fmla="*/ 11 w 19"/>
                <a:gd name="T7" fmla="*/ 6 h 19"/>
                <a:gd name="T8" fmla="*/ 7 w 19"/>
                <a:gd name="T9" fmla="*/ 0 h 19"/>
                <a:gd name="T10" fmla="*/ 7 w 19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" h="19">
                  <a:moveTo>
                    <a:pt x="12" y="0"/>
                  </a:moveTo>
                  <a:lnTo>
                    <a:pt x="0" y="14"/>
                  </a:lnTo>
                  <a:lnTo>
                    <a:pt x="7" y="19"/>
                  </a:lnTo>
                  <a:lnTo>
                    <a:pt x="19" y="14"/>
                  </a:lnTo>
                  <a:lnTo>
                    <a:pt x="1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4" name="Freeform 401"/>
            <p:cNvSpPr>
              <a:spLocks/>
            </p:cNvSpPr>
            <p:nvPr/>
          </p:nvSpPr>
          <p:spPr bwMode="auto">
            <a:xfrm>
              <a:off x="2913" y="2227"/>
              <a:ext cx="80" cy="47"/>
            </a:xfrm>
            <a:custGeom>
              <a:avLst/>
              <a:gdLst>
                <a:gd name="T0" fmla="*/ 50 w 90"/>
                <a:gd name="T1" fmla="*/ 2 h 58"/>
                <a:gd name="T2" fmla="*/ 47 w 90"/>
                <a:gd name="T3" fmla="*/ 6 h 58"/>
                <a:gd name="T4" fmla="*/ 41 w 90"/>
                <a:gd name="T5" fmla="*/ 10 h 58"/>
                <a:gd name="T6" fmla="*/ 47 w 90"/>
                <a:gd name="T7" fmla="*/ 15 h 58"/>
                <a:gd name="T8" fmla="*/ 41 w 90"/>
                <a:gd name="T9" fmla="*/ 19 h 58"/>
                <a:gd name="T10" fmla="*/ 33 w 90"/>
                <a:gd name="T11" fmla="*/ 19 h 58"/>
                <a:gd name="T12" fmla="*/ 17 w 90"/>
                <a:gd name="T13" fmla="*/ 19 h 58"/>
                <a:gd name="T14" fmla="*/ 7 w 90"/>
                <a:gd name="T15" fmla="*/ 20 h 58"/>
                <a:gd name="T16" fmla="*/ 4 w 90"/>
                <a:gd name="T17" fmla="*/ 17 h 58"/>
                <a:gd name="T18" fmla="*/ 5 w 90"/>
                <a:gd name="T19" fmla="*/ 15 h 58"/>
                <a:gd name="T20" fmla="*/ 0 w 90"/>
                <a:gd name="T21" fmla="*/ 10 h 58"/>
                <a:gd name="T22" fmla="*/ 4 w 90"/>
                <a:gd name="T23" fmla="*/ 8 h 58"/>
                <a:gd name="T24" fmla="*/ 4 w 90"/>
                <a:gd name="T25" fmla="*/ 2 h 58"/>
                <a:gd name="T26" fmla="*/ 7 w 90"/>
                <a:gd name="T27" fmla="*/ 2 h 58"/>
                <a:gd name="T28" fmla="*/ 20 w 90"/>
                <a:gd name="T29" fmla="*/ 6 h 58"/>
                <a:gd name="T30" fmla="*/ 33 w 90"/>
                <a:gd name="T31" fmla="*/ 0 h 58"/>
                <a:gd name="T32" fmla="*/ 41 w 90"/>
                <a:gd name="T33" fmla="*/ 5 h 58"/>
                <a:gd name="T34" fmla="*/ 50 w 90"/>
                <a:gd name="T35" fmla="*/ 2 h 58"/>
                <a:gd name="T36" fmla="*/ 50 w 90"/>
                <a:gd name="T37" fmla="*/ 2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0" h="58">
                  <a:moveTo>
                    <a:pt x="90" y="7"/>
                  </a:moveTo>
                  <a:lnTo>
                    <a:pt x="85" y="18"/>
                  </a:lnTo>
                  <a:lnTo>
                    <a:pt x="74" y="30"/>
                  </a:lnTo>
                  <a:lnTo>
                    <a:pt x="85" y="43"/>
                  </a:lnTo>
                  <a:lnTo>
                    <a:pt x="74" y="55"/>
                  </a:lnTo>
                  <a:lnTo>
                    <a:pt x="60" y="55"/>
                  </a:lnTo>
                  <a:lnTo>
                    <a:pt x="30" y="55"/>
                  </a:lnTo>
                  <a:lnTo>
                    <a:pt x="12" y="58"/>
                  </a:lnTo>
                  <a:lnTo>
                    <a:pt x="5" y="48"/>
                  </a:lnTo>
                  <a:lnTo>
                    <a:pt x="10" y="43"/>
                  </a:lnTo>
                  <a:lnTo>
                    <a:pt x="0" y="27"/>
                  </a:lnTo>
                  <a:lnTo>
                    <a:pt x="5" y="23"/>
                  </a:lnTo>
                  <a:lnTo>
                    <a:pt x="7" y="8"/>
                  </a:lnTo>
                  <a:lnTo>
                    <a:pt x="12" y="7"/>
                  </a:lnTo>
                  <a:lnTo>
                    <a:pt x="35" y="18"/>
                  </a:lnTo>
                  <a:lnTo>
                    <a:pt x="60" y="0"/>
                  </a:lnTo>
                  <a:lnTo>
                    <a:pt x="74" y="13"/>
                  </a:lnTo>
                  <a:lnTo>
                    <a:pt x="90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5" name="Freeform 402"/>
            <p:cNvSpPr>
              <a:spLocks/>
            </p:cNvSpPr>
            <p:nvPr/>
          </p:nvSpPr>
          <p:spPr bwMode="auto">
            <a:xfrm>
              <a:off x="2913" y="2227"/>
              <a:ext cx="80" cy="47"/>
            </a:xfrm>
            <a:custGeom>
              <a:avLst/>
              <a:gdLst>
                <a:gd name="T0" fmla="*/ 50 w 90"/>
                <a:gd name="T1" fmla="*/ 2 h 58"/>
                <a:gd name="T2" fmla="*/ 47 w 90"/>
                <a:gd name="T3" fmla="*/ 6 h 58"/>
                <a:gd name="T4" fmla="*/ 41 w 90"/>
                <a:gd name="T5" fmla="*/ 10 h 58"/>
                <a:gd name="T6" fmla="*/ 47 w 90"/>
                <a:gd name="T7" fmla="*/ 15 h 58"/>
                <a:gd name="T8" fmla="*/ 41 w 90"/>
                <a:gd name="T9" fmla="*/ 19 h 58"/>
                <a:gd name="T10" fmla="*/ 33 w 90"/>
                <a:gd name="T11" fmla="*/ 19 h 58"/>
                <a:gd name="T12" fmla="*/ 17 w 90"/>
                <a:gd name="T13" fmla="*/ 19 h 58"/>
                <a:gd name="T14" fmla="*/ 7 w 90"/>
                <a:gd name="T15" fmla="*/ 20 h 58"/>
                <a:gd name="T16" fmla="*/ 4 w 90"/>
                <a:gd name="T17" fmla="*/ 17 h 58"/>
                <a:gd name="T18" fmla="*/ 5 w 90"/>
                <a:gd name="T19" fmla="*/ 15 h 58"/>
                <a:gd name="T20" fmla="*/ 0 w 90"/>
                <a:gd name="T21" fmla="*/ 10 h 58"/>
                <a:gd name="T22" fmla="*/ 4 w 90"/>
                <a:gd name="T23" fmla="*/ 8 h 58"/>
                <a:gd name="T24" fmla="*/ 4 w 90"/>
                <a:gd name="T25" fmla="*/ 2 h 58"/>
                <a:gd name="T26" fmla="*/ 7 w 90"/>
                <a:gd name="T27" fmla="*/ 2 h 58"/>
                <a:gd name="T28" fmla="*/ 20 w 90"/>
                <a:gd name="T29" fmla="*/ 6 h 58"/>
                <a:gd name="T30" fmla="*/ 33 w 90"/>
                <a:gd name="T31" fmla="*/ 0 h 58"/>
                <a:gd name="T32" fmla="*/ 41 w 90"/>
                <a:gd name="T33" fmla="*/ 5 h 58"/>
                <a:gd name="T34" fmla="*/ 50 w 90"/>
                <a:gd name="T35" fmla="*/ 2 h 58"/>
                <a:gd name="T36" fmla="*/ 50 w 90"/>
                <a:gd name="T37" fmla="*/ 2 h 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0" h="58">
                  <a:moveTo>
                    <a:pt x="90" y="7"/>
                  </a:moveTo>
                  <a:lnTo>
                    <a:pt x="85" y="18"/>
                  </a:lnTo>
                  <a:lnTo>
                    <a:pt x="74" y="30"/>
                  </a:lnTo>
                  <a:lnTo>
                    <a:pt x="85" y="43"/>
                  </a:lnTo>
                  <a:lnTo>
                    <a:pt x="74" y="55"/>
                  </a:lnTo>
                  <a:lnTo>
                    <a:pt x="60" y="55"/>
                  </a:lnTo>
                  <a:lnTo>
                    <a:pt x="30" y="55"/>
                  </a:lnTo>
                  <a:lnTo>
                    <a:pt x="12" y="58"/>
                  </a:lnTo>
                  <a:lnTo>
                    <a:pt x="5" y="48"/>
                  </a:lnTo>
                  <a:lnTo>
                    <a:pt x="10" y="43"/>
                  </a:lnTo>
                  <a:lnTo>
                    <a:pt x="0" y="27"/>
                  </a:lnTo>
                  <a:lnTo>
                    <a:pt x="5" y="23"/>
                  </a:lnTo>
                  <a:lnTo>
                    <a:pt x="7" y="8"/>
                  </a:lnTo>
                  <a:lnTo>
                    <a:pt x="12" y="7"/>
                  </a:lnTo>
                  <a:lnTo>
                    <a:pt x="35" y="18"/>
                  </a:lnTo>
                  <a:lnTo>
                    <a:pt x="60" y="0"/>
                  </a:lnTo>
                  <a:lnTo>
                    <a:pt x="74" y="13"/>
                  </a:lnTo>
                  <a:lnTo>
                    <a:pt x="90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6" name="Freeform 403"/>
            <p:cNvSpPr>
              <a:spLocks/>
            </p:cNvSpPr>
            <p:nvPr/>
          </p:nvSpPr>
          <p:spPr bwMode="auto">
            <a:xfrm>
              <a:off x="2962" y="2265"/>
              <a:ext cx="34" cy="33"/>
            </a:xfrm>
            <a:custGeom>
              <a:avLst/>
              <a:gdLst>
                <a:gd name="T0" fmla="*/ 12 w 41"/>
                <a:gd name="T1" fmla="*/ 0 h 40"/>
                <a:gd name="T2" fmla="*/ 4 w 41"/>
                <a:gd name="T3" fmla="*/ 7 h 40"/>
                <a:gd name="T4" fmla="*/ 0 w 41"/>
                <a:gd name="T5" fmla="*/ 11 h 40"/>
                <a:gd name="T6" fmla="*/ 6 w 41"/>
                <a:gd name="T7" fmla="*/ 15 h 40"/>
                <a:gd name="T8" fmla="*/ 10 w 41"/>
                <a:gd name="T9" fmla="*/ 11 h 40"/>
                <a:gd name="T10" fmla="*/ 16 w 41"/>
                <a:gd name="T11" fmla="*/ 7 h 40"/>
                <a:gd name="T12" fmla="*/ 14 w 41"/>
                <a:gd name="T13" fmla="*/ 2 h 40"/>
                <a:gd name="T14" fmla="*/ 12 w 41"/>
                <a:gd name="T15" fmla="*/ 0 h 40"/>
                <a:gd name="T16" fmla="*/ 12 w 41"/>
                <a:gd name="T17" fmla="*/ 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1" h="40">
                  <a:moveTo>
                    <a:pt x="30" y="0"/>
                  </a:moveTo>
                  <a:lnTo>
                    <a:pt x="10" y="18"/>
                  </a:lnTo>
                  <a:lnTo>
                    <a:pt x="0" y="28"/>
                  </a:lnTo>
                  <a:lnTo>
                    <a:pt x="15" y="40"/>
                  </a:lnTo>
                  <a:lnTo>
                    <a:pt x="25" y="28"/>
                  </a:lnTo>
                  <a:lnTo>
                    <a:pt x="41" y="18"/>
                  </a:lnTo>
                  <a:lnTo>
                    <a:pt x="35" y="2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7" name="Freeform 404"/>
            <p:cNvSpPr>
              <a:spLocks/>
            </p:cNvSpPr>
            <p:nvPr/>
          </p:nvSpPr>
          <p:spPr bwMode="auto">
            <a:xfrm>
              <a:off x="2962" y="2265"/>
              <a:ext cx="34" cy="33"/>
            </a:xfrm>
            <a:custGeom>
              <a:avLst/>
              <a:gdLst>
                <a:gd name="T0" fmla="*/ 12 w 41"/>
                <a:gd name="T1" fmla="*/ 0 h 40"/>
                <a:gd name="T2" fmla="*/ 4 w 41"/>
                <a:gd name="T3" fmla="*/ 7 h 40"/>
                <a:gd name="T4" fmla="*/ 0 w 41"/>
                <a:gd name="T5" fmla="*/ 11 h 40"/>
                <a:gd name="T6" fmla="*/ 6 w 41"/>
                <a:gd name="T7" fmla="*/ 15 h 40"/>
                <a:gd name="T8" fmla="*/ 10 w 41"/>
                <a:gd name="T9" fmla="*/ 11 h 40"/>
                <a:gd name="T10" fmla="*/ 16 w 41"/>
                <a:gd name="T11" fmla="*/ 7 h 40"/>
                <a:gd name="T12" fmla="*/ 14 w 41"/>
                <a:gd name="T13" fmla="*/ 2 h 40"/>
                <a:gd name="T14" fmla="*/ 12 w 41"/>
                <a:gd name="T15" fmla="*/ 0 h 40"/>
                <a:gd name="T16" fmla="*/ 12 w 41"/>
                <a:gd name="T17" fmla="*/ 0 h 4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1" h="40">
                  <a:moveTo>
                    <a:pt x="30" y="0"/>
                  </a:moveTo>
                  <a:lnTo>
                    <a:pt x="10" y="18"/>
                  </a:lnTo>
                  <a:lnTo>
                    <a:pt x="0" y="28"/>
                  </a:lnTo>
                  <a:lnTo>
                    <a:pt x="15" y="40"/>
                  </a:lnTo>
                  <a:lnTo>
                    <a:pt x="25" y="28"/>
                  </a:lnTo>
                  <a:lnTo>
                    <a:pt x="41" y="18"/>
                  </a:lnTo>
                  <a:lnTo>
                    <a:pt x="35" y="2"/>
                  </a:lnTo>
                  <a:lnTo>
                    <a:pt x="3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8" name="Freeform 405"/>
            <p:cNvSpPr>
              <a:spLocks/>
            </p:cNvSpPr>
            <p:nvPr/>
          </p:nvSpPr>
          <p:spPr bwMode="auto">
            <a:xfrm>
              <a:off x="2899" y="2272"/>
              <a:ext cx="73" cy="83"/>
            </a:xfrm>
            <a:custGeom>
              <a:avLst/>
              <a:gdLst>
                <a:gd name="T0" fmla="*/ 34 w 85"/>
                <a:gd name="T1" fmla="*/ 8 h 98"/>
                <a:gd name="T2" fmla="*/ 32 w 85"/>
                <a:gd name="T3" fmla="*/ 8 h 98"/>
                <a:gd name="T4" fmla="*/ 25 w 85"/>
                <a:gd name="T5" fmla="*/ 11 h 98"/>
                <a:gd name="T6" fmla="*/ 20 w 85"/>
                <a:gd name="T7" fmla="*/ 8 h 98"/>
                <a:gd name="T8" fmla="*/ 20 w 85"/>
                <a:gd name="T9" fmla="*/ 13 h 98"/>
                <a:gd name="T10" fmla="*/ 14 w 85"/>
                <a:gd name="T11" fmla="*/ 11 h 98"/>
                <a:gd name="T12" fmla="*/ 10 w 85"/>
                <a:gd name="T13" fmla="*/ 10 h 98"/>
                <a:gd name="T14" fmla="*/ 20 w 85"/>
                <a:gd name="T15" fmla="*/ 18 h 98"/>
                <a:gd name="T16" fmla="*/ 11 w 85"/>
                <a:gd name="T17" fmla="*/ 16 h 98"/>
                <a:gd name="T18" fmla="*/ 11 w 85"/>
                <a:gd name="T19" fmla="*/ 21 h 98"/>
                <a:gd name="T20" fmla="*/ 17 w 85"/>
                <a:gd name="T21" fmla="*/ 25 h 98"/>
                <a:gd name="T22" fmla="*/ 20 w 85"/>
                <a:gd name="T23" fmla="*/ 32 h 98"/>
                <a:gd name="T24" fmla="*/ 15 w 85"/>
                <a:gd name="T25" fmla="*/ 30 h 98"/>
                <a:gd name="T26" fmla="*/ 22 w 85"/>
                <a:gd name="T27" fmla="*/ 37 h 98"/>
                <a:gd name="T28" fmla="*/ 17 w 85"/>
                <a:gd name="T29" fmla="*/ 34 h 98"/>
                <a:gd name="T30" fmla="*/ 13 w 85"/>
                <a:gd name="T31" fmla="*/ 33 h 98"/>
                <a:gd name="T32" fmla="*/ 20 w 85"/>
                <a:gd name="T33" fmla="*/ 39 h 98"/>
                <a:gd name="T34" fmla="*/ 20 w 85"/>
                <a:gd name="T35" fmla="*/ 42 h 98"/>
                <a:gd name="T36" fmla="*/ 11 w 85"/>
                <a:gd name="T37" fmla="*/ 42 h 98"/>
                <a:gd name="T38" fmla="*/ 6 w 85"/>
                <a:gd name="T39" fmla="*/ 40 h 98"/>
                <a:gd name="T40" fmla="*/ 3 w 85"/>
                <a:gd name="T41" fmla="*/ 30 h 98"/>
                <a:gd name="T42" fmla="*/ 3 w 85"/>
                <a:gd name="T43" fmla="*/ 25 h 98"/>
                <a:gd name="T44" fmla="*/ 13 w 85"/>
                <a:gd name="T45" fmla="*/ 31 h 98"/>
                <a:gd name="T46" fmla="*/ 5 w 85"/>
                <a:gd name="T47" fmla="*/ 22 h 98"/>
                <a:gd name="T48" fmla="*/ 3 w 85"/>
                <a:gd name="T49" fmla="*/ 18 h 98"/>
                <a:gd name="T50" fmla="*/ 0 w 85"/>
                <a:gd name="T51" fmla="*/ 10 h 98"/>
                <a:gd name="T52" fmla="*/ 6 w 85"/>
                <a:gd name="T53" fmla="*/ 8 h 98"/>
                <a:gd name="T54" fmla="*/ 11 w 85"/>
                <a:gd name="T55" fmla="*/ 3 h 98"/>
                <a:gd name="T56" fmla="*/ 20 w 85"/>
                <a:gd name="T57" fmla="*/ 0 h 98"/>
                <a:gd name="T58" fmla="*/ 34 w 85"/>
                <a:gd name="T59" fmla="*/ 0 h 98"/>
                <a:gd name="T60" fmla="*/ 40 w 85"/>
                <a:gd name="T61" fmla="*/ 0 h 98"/>
                <a:gd name="T62" fmla="*/ 40 w 85"/>
                <a:gd name="T63" fmla="*/ 3 h 98"/>
                <a:gd name="T64" fmla="*/ 34 w 85"/>
                <a:gd name="T65" fmla="*/ 8 h 98"/>
                <a:gd name="T66" fmla="*/ 34 w 85"/>
                <a:gd name="T67" fmla="*/ 8 h 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5" h="98">
                  <a:moveTo>
                    <a:pt x="73" y="18"/>
                  </a:moveTo>
                  <a:lnTo>
                    <a:pt x="67" y="18"/>
                  </a:lnTo>
                  <a:lnTo>
                    <a:pt x="53" y="25"/>
                  </a:lnTo>
                  <a:lnTo>
                    <a:pt x="42" y="18"/>
                  </a:lnTo>
                  <a:lnTo>
                    <a:pt x="42" y="30"/>
                  </a:lnTo>
                  <a:lnTo>
                    <a:pt x="30" y="25"/>
                  </a:lnTo>
                  <a:lnTo>
                    <a:pt x="22" y="23"/>
                  </a:lnTo>
                  <a:lnTo>
                    <a:pt x="42" y="43"/>
                  </a:lnTo>
                  <a:lnTo>
                    <a:pt x="23" y="37"/>
                  </a:lnTo>
                  <a:lnTo>
                    <a:pt x="23" y="48"/>
                  </a:lnTo>
                  <a:lnTo>
                    <a:pt x="37" y="60"/>
                  </a:lnTo>
                  <a:lnTo>
                    <a:pt x="42" y="73"/>
                  </a:lnTo>
                  <a:lnTo>
                    <a:pt x="33" y="68"/>
                  </a:lnTo>
                  <a:lnTo>
                    <a:pt x="48" y="85"/>
                  </a:lnTo>
                  <a:lnTo>
                    <a:pt x="37" y="78"/>
                  </a:lnTo>
                  <a:lnTo>
                    <a:pt x="27" y="75"/>
                  </a:lnTo>
                  <a:lnTo>
                    <a:pt x="42" y="90"/>
                  </a:lnTo>
                  <a:lnTo>
                    <a:pt x="42" y="98"/>
                  </a:lnTo>
                  <a:lnTo>
                    <a:pt x="23" y="97"/>
                  </a:lnTo>
                  <a:lnTo>
                    <a:pt x="12" y="92"/>
                  </a:lnTo>
                  <a:lnTo>
                    <a:pt x="7" y="67"/>
                  </a:lnTo>
                  <a:lnTo>
                    <a:pt x="3" y="57"/>
                  </a:lnTo>
                  <a:lnTo>
                    <a:pt x="27" y="72"/>
                  </a:lnTo>
                  <a:lnTo>
                    <a:pt x="10" y="52"/>
                  </a:lnTo>
                  <a:lnTo>
                    <a:pt x="3" y="43"/>
                  </a:lnTo>
                  <a:lnTo>
                    <a:pt x="0" y="23"/>
                  </a:lnTo>
                  <a:lnTo>
                    <a:pt x="12" y="18"/>
                  </a:lnTo>
                  <a:lnTo>
                    <a:pt x="23" y="7"/>
                  </a:lnTo>
                  <a:lnTo>
                    <a:pt x="42" y="0"/>
                  </a:lnTo>
                  <a:lnTo>
                    <a:pt x="73" y="0"/>
                  </a:lnTo>
                  <a:lnTo>
                    <a:pt x="85" y="0"/>
                  </a:lnTo>
                  <a:lnTo>
                    <a:pt x="85" y="7"/>
                  </a:lnTo>
                  <a:lnTo>
                    <a:pt x="73" y="1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9" name="Freeform 406"/>
            <p:cNvSpPr>
              <a:spLocks/>
            </p:cNvSpPr>
            <p:nvPr/>
          </p:nvSpPr>
          <p:spPr bwMode="auto">
            <a:xfrm>
              <a:off x="2899" y="2272"/>
              <a:ext cx="73" cy="83"/>
            </a:xfrm>
            <a:custGeom>
              <a:avLst/>
              <a:gdLst>
                <a:gd name="T0" fmla="*/ 34 w 85"/>
                <a:gd name="T1" fmla="*/ 8 h 98"/>
                <a:gd name="T2" fmla="*/ 32 w 85"/>
                <a:gd name="T3" fmla="*/ 8 h 98"/>
                <a:gd name="T4" fmla="*/ 25 w 85"/>
                <a:gd name="T5" fmla="*/ 11 h 98"/>
                <a:gd name="T6" fmla="*/ 20 w 85"/>
                <a:gd name="T7" fmla="*/ 8 h 98"/>
                <a:gd name="T8" fmla="*/ 20 w 85"/>
                <a:gd name="T9" fmla="*/ 13 h 98"/>
                <a:gd name="T10" fmla="*/ 14 w 85"/>
                <a:gd name="T11" fmla="*/ 11 h 98"/>
                <a:gd name="T12" fmla="*/ 10 w 85"/>
                <a:gd name="T13" fmla="*/ 10 h 98"/>
                <a:gd name="T14" fmla="*/ 20 w 85"/>
                <a:gd name="T15" fmla="*/ 18 h 98"/>
                <a:gd name="T16" fmla="*/ 11 w 85"/>
                <a:gd name="T17" fmla="*/ 16 h 98"/>
                <a:gd name="T18" fmla="*/ 11 w 85"/>
                <a:gd name="T19" fmla="*/ 21 h 98"/>
                <a:gd name="T20" fmla="*/ 17 w 85"/>
                <a:gd name="T21" fmla="*/ 25 h 98"/>
                <a:gd name="T22" fmla="*/ 20 w 85"/>
                <a:gd name="T23" fmla="*/ 32 h 98"/>
                <a:gd name="T24" fmla="*/ 15 w 85"/>
                <a:gd name="T25" fmla="*/ 30 h 98"/>
                <a:gd name="T26" fmla="*/ 22 w 85"/>
                <a:gd name="T27" fmla="*/ 37 h 98"/>
                <a:gd name="T28" fmla="*/ 17 w 85"/>
                <a:gd name="T29" fmla="*/ 34 h 98"/>
                <a:gd name="T30" fmla="*/ 13 w 85"/>
                <a:gd name="T31" fmla="*/ 33 h 98"/>
                <a:gd name="T32" fmla="*/ 20 w 85"/>
                <a:gd name="T33" fmla="*/ 39 h 98"/>
                <a:gd name="T34" fmla="*/ 20 w 85"/>
                <a:gd name="T35" fmla="*/ 42 h 98"/>
                <a:gd name="T36" fmla="*/ 11 w 85"/>
                <a:gd name="T37" fmla="*/ 42 h 98"/>
                <a:gd name="T38" fmla="*/ 6 w 85"/>
                <a:gd name="T39" fmla="*/ 40 h 98"/>
                <a:gd name="T40" fmla="*/ 3 w 85"/>
                <a:gd name="T41" fmla="*/ 30 h 98"/>
                <a:gd name="T42" fmla="*/ 3 w 85"/>
                <a:gd name="T43" fmla="*/ 25 h 98"/>
                <a:gd name="T44" fmla="*/ 13 w 85"/>
                <a:gd name="T45" fmla="*/ 31 h 98"/>
                <a:gd name="T46" fmla="*/ 5 w 85"/>
                <a:gd name="T47" fmla="*/ 22 h 98"/>
                <a:gd name="T48" fmla="*/ 3 w 85"/>
                <a:gd name="T49" fmla="*/ 18 h 98"/>
                <a:gd name="T50" fmla="*/ 0 w 85"/>
                <a:gd name="T51" fmla="*/ 10 h 98"/>
                <a:gd name="T52" fmla="*/ 6 w 85"/>
                <a:gd name="T53" fmla="*/ 8 h 98"/>
                <a:gd name="T54" fmla="*/ 11 w 85"/>
                <a:gd name="T55" fmla="*/ 3 h 98"/>
                <a:gd name="T56" fmla="*/ 20 w 85"/>
                <a:gd name="T57" fmla="*/ 0 h 98"/>
                <a:gd name="T58" fmla="*/ 34 w 85"/>
                <a:gd name="T59" fmla="*/ 0 h 98"/>
                <a:gd name="T60" fmla="*/ 40 w 85"/>
                <a:gd name="T61" fmla="*/ 0 h 98"/>
                <a:gd name="T62" fmla="*/ 40 w 85"/>
                <a:gd name="T63" fmla="*/ 3 h 98"/>
                <a:gd name="T64" fmla="*/ 34 w 85"/>
                <a:gd name="T65" fmla="*/ 8 h 98"/>
                <a:gd name="T66" fmla="*/ 34 w 85"/>
                <a:gd name="T67" fmla="*/ 8 h 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5" h="98">
                  <a:moveTo>
                    <a:pt x="73" y="18"/>
                  </a:moveTo>
                  <a:lnTo>
                    <a:pt x="67" y="18"/>
                  </a:lnTo>
                  <a:lnTo>
                    <a:pt x="53" y="25"/>
                  </a:lnTo>
                  <a:lnTo>
                    <a:pt x="42" y="18"/>
                  </a:lnTo>
                  <a:lnTo>
                    <a:pt x="42" y="30"/>
                  </a:lnTo>
                  <a:lnTo>
                    <a:pt x="30" y="25"/>
                  </a:lnTo>
                  <a:lnTo>
                    <a:pt x="22" y="23"/>
                  </a:lnTo>
                  <a:lnTo>
                    <a:pt x="42" y="43"/>
                  </a:lnTo>
                  <a:lnTo>
                    <a:pt x="23" y="37"/>
                  </a:lnTo>
                  <a:lnTo>
                    <a:pt x="23" y="48"/>
                  </a:lnTo>
                  <a:lnTo>
                    <a:pt x="37" y="60"/>
                  </a:lnTo>
                  <a:lnTo>
                    <a:pt x="42" y="73"/>
                  </a:lnTo>
                  <a:lnTo>
                    <a:pt x="33" y="68"/>
                  </a:lnTo>
                  <a:lnTo>
                    <a:pt x="48" y="85"/>
                  </a:lnTo>
                  <a:lnTo>
                    <a:pt x="37" y="78"/>
                  </a:lnTo>
                  <a:lnTo>
                    <a:pt x="27" y="75"/>
                  </a:lnTo>
                  <a:lnTo>
                    <a:pt x="42" y="90"/>
                  </a:lnTo>
                  <a:lnTo>
                    <a:pt x="42" y="98"/>
                  </a:lnTo>
                  <a:lnTo>
                    <a:pt x="23" y="97"/>
                  </a:lnTo>
                  <a:lnTo>
                    <a:pt x="12" y="92"/>
                  </a:lnTo>
                  <a:lnTo>
                    <a:pt x="7" y="67"/>
                  </a:lnTo>
                  <a:lnTo>
                    <a:pt x="3" y="57"/>
                  </a:lnTo>
                  <a:lnTo>
                    <a:pt x="27" y="72"/>
                  </a:lnTo>
                  <a:lnTo>
                    <a:pt x="10" y="52"/>
                  </a:lnTo>
                  <a:lnTo>
                    <a:pt x="3" y="43"/>
                  </a:lnTo>
                  <a:lnTo>
                    <a:pt x="0" y="23"/>
                  </a:lnTo>
                  <a:lnTo>
                    <a:pt x="12" y="18"/>
                  </a:lnTo>
                  <a:lnTo>
                    <a:pt x="23" y="7"/>
                  </a:lnTo>
                  <a:lnTo>
                    <a:pt x="42" y="0"/>
                  </a:lnTo>
                  <a:lnTo>
                    <a:pt x="73" y="0"/>
                  </a:lnTo>
                  <a:lnTo>
                    <a:pt x="85" y="0"/>
                  </a:lnTo>
                  <a:lnTo>
                    <a:pt x="85" y="7"/>
                  </a:lnTo>
                  <a:lnTo>
                    <a:pt x="73" y="1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0" name="Freeform 407"/>
            <p:cNvSpPr>
              <a:spLocks/>
            </p:cNvSpPr>
            <p:nvPr/>
          </p:nvSpPr>
          <p:spPr bwMode="auto">
            <a:xfrm>
              <a:off x="2939" y="2323"/>
              <a:ext cx="23" cy="27"/>
            </a:xfrm>
            <a:custGeom>
              <a:avLst/>
              <a:gdLst>
                <a:gd name="T0" fmla="*/ 0 w 25"/>
                <a:gd name="T1" fmla="*/ 0 h 32"/>
                <a:gd name="T2" fmla="*/ 7 w 25"/>
                <a:gd name="T3" fmla="*/ 6 h 32"/>
                <a:gd name="T4" fmla="*/ 16 w 25"/>
                <a:gd name="T5" fmla="*/ 14 h 32"/>
                <a:gd name="T6" fmla="*/ 13 w 25"/>
                <a:gd name="T7" fmla="*/ 8 h 32"/>
                <a:gd name="T8" fmla="*/ 5 w 25"/>
                <a:gd name="T9" fmla="*/ 3 h 32"/>
                <a:gd name="T10" fmla="*/ 0 w 25"/>
                <a:gd name="T11" fmla="*/ 0 h 32"/>
                <a:gd name="T12" fmla="*/ 0 w 25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" h="32">
                  <a:moveTo>
                    <a:pt x="0" y="0"/>
                  </a:moveTo>
                  <a:lnTo>
                    <a:pt x="12" y="13"/>
                  </a:lnTo>
                  <a:lnTo>
                    <a:pt x="25" y="32"/>
                  </a:lnTo>
                  <a:lnTo>
                    <a:pt x="19" y="18"/>
                  </a:lnTo>
                  <a:lnTo>
                    <a:pt x="5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1" name="Freeform 408"/>
            <p:cNvSpPr>
              <a:spLocks/>
            </p:cNvSpPr>
            <p:nvPr/>
          </p:nvSpPr>
          <p:spPr bwMode="auto">
            <a:xfrm>
              <a:off x="2939" y="2323"/>
              <a:ext cx="23" cy="27"/>
            </a:xfrm>
            <a:custGeom>
              <a:avLst/>
              <a:gdLst>
                <a:gd name="T0" fmla="*/ 0 w 25"/>
                <a:gd name="T1" fmla="*/ 0 h 32"/>
                <a:gd name="T2" fmla="*/ 7 w 25"/>
                <a:gd name="T3" fmla="*/ 6 h 32"/>
                <a:gd name="T4" fmla="*/ 16 w 25"/>
                <a:gd name="T5" fmla="*/ 14 h 32"/>
                <a:gd name="T6" fmla="*/ 13 w 25"/>
                <a:gd name="T7" fmla="*/ 8 h 32"/>
                <a:gd name="T8" fmla="*/ 5 w 25"/>
                <a:gd name="T9" fmla="*/ 3 h 32"/>
                <a:gd name="T10" fmla="*/ 0 w 25"/>
                <a:gd name="T11" fmla="*/ 0 h 32"/>
                <a:gd name="T12" fmla="*/ 0 w 25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5" h="32">
                  <a:moveTo>
                    <a:pt x="0" y="0"/>
                  </a:moveTo>
                  <a:lnTo>
                    <a:pt x="12" y="13"/>
                  </a:lnTo>
                  <a:lnTo>
                    <a:pt x="25" y="32"/>
                  </a:lnTo>
                  <a:lnTo>
                    <a:pt x="19" y="18"/>
                  </a:lnTo>
                  <a:lnTo>
                    <a:pt x="5" y="7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2" name="Freeform 409"/>
            <p:cNvSpPr>
              <a:spLocks/>
            </p:cNvSpPr>
            <p:nvPr/>
          </p:nvSpPr>
          <p:spPr bwMode="auto">
            <a:xfrm>
              <a:off x="2930" y="2380"/>
              <a:ext cx="32" cy="11"/>
            </a:xfrm>
            <a:custGeom>
              <a:avLst/>
              <a:gdLst>
                <a:gd name="T0" fmla="*/ 0 w 36"/>
                <a:gd name="T1" fmla="*/ 5 h 12"/>
                <a:gd name="T2" fmla="*/ 4 w 36"/>
                <a:gd name="T3" fmla="*/ 7 h 12"/>
                <a:gd name="T4" fmla="*/ 9 w 36"/>
                <a:gd name="T5" fmla="*/ 7 h 12"/>
                <a:gd name="T6" fmla="*/ 20 w 36"/>
                <a:gd name="T7" fmla="*/ 5 h 12"/>
                <a:gd name="T8" fmla="*/ 12 w 36"/>
                <a:gd name="T9" fmla="*/ 5 h 12"/>
                <a:gd name="T10" fmla="*/ 0 w 36"/>
                <a:gd name="T11" fmla="*/ 0 h 12"/>
                <a:gd name="T12" fmla="*/ 0 w 36"/>
                <a:gd name="T13" fmla="*/ 5 h 12"/>
                <a:gd name="T14" fmla="*/ 0 w 36"/>
                <a:gd name="T15" fmla="*/ 5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6" h="12">
                  <a:moveTo>
                    <a:pt x="0" y="5"/>
                  </a:moveTo>
                  <a:lnTo>
                    <a:pt x="5" y="12"/>
                  </a:lnTo>
                  <a:lnTo>
                    <a:pt x="16" y="12"/>
                  </a:lnTo>
                  <a:lnTo>
                    <a:pt x="36" y="5"/>
                  </a:lnTo>
                  <a:lnTo>
                    <a:pt x="23" y="5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3" name="Freeform 410"/>
            <p:cNvSpPr>
              <a:spLocks/>
            </p:cNvSpPr>
            <p:nvPr/>
          </p:nvSpPr>
          <p:spPr bwMode="auto">
            <a:xfrm>
              <a:off x="2930" y="2380"/>
              <a:ext cx="32" cy="11"/>
            </a:xfrm>
            <a:custGeom>
              <a:avLst/>
              <a:gdLst>
                <a:gd name="T0" fmla="*/ 0 w 36"/>
                <a:gd name="T1" fmla="*/ 5 h 12"/>
                <a:gd name="T2" fmla="*/ 4 w 36"/>
                <a:gd name="T3" fmla="*/ 7 h 12"/>
                <a:gd name="T4" fmla="*/ 9 w 36"/>
                <a:gd name="T5" fmla="*/ 7 h 12"/>
                <a:gd name="T6" fmla="*/ 20 w 36"/>
                <a:gd name="T7" fmla="*/ 5 h 12"/>
                <a:gd name="T8" fmla="*/ 12 w 36"/>
                <a:gd name="T9" fmla="*/ 5 h 12"/>
                <a:gd name="T10" fmla="*/ 0 w 36"/>
                <a:gd name="T11" fmla="*/ 0 h 12"/>
                <a:gd name="T12" fmla="*/ 0 w 36"/>
                <a:gd name="T13" fmla="*/ 5 h 12"/>
                <a:gd name="T14" fmla="*/ 0 w 36"/>
                <a:gd name="T15" fmla="*/ 5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6" h="12">
                  <a:moveTo>
                    <a:pt x="0" y="5"/>
                  </a:moveTo>
                  <a:lnTo>
                    <a:pt x="5" y="12"/>
                  </a:lnTo>
                  <a:lnTo>
                    <a:pt x="16" y="12"/>
                  </a:lnTo>
                  <a:lnTo>
                    <a:pt x="36" y="5"/>
                  </a:lnTo>
                  <a:lnTo>
                    <a:pt x="23" y="5"/>
                  </a:lnTo>
                  <a:lnTo>
                    <a:pt x="0" y="0"/>
                  </a:lnTo>
                  <a:lnTo>
                    <a:pt x="0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4" name="Freeform 411"/>
            <p:cNvSpPr>
              <a:spLocks/>
            </p:cNvSpPr>
            <p:nvPr/>
          </p:nvSpPr>
          <p:spPr bwMode="auto">
            <a:xfrm>
              <a:off x="2983" y="2369"/>
              <a:ext cx="10" cy="6"/>
            </a:xfrm>
            <a:custGeom>
              <a:avLst/>
              <a:gdLst>
                <a:gd name="T0" fmla="*/ 6 w 11"/>
                <a:gd name="T1" fmla="*/ 0 h 7"/>
                <a:gd name="T2" fmla="*/ 0 w 11"/>
                <a:gd name="T3" fmla="*/ 0 h 7"/>
                <a:gd name="T4" fmla="*/ 0 w 11"/>
                <a:gd name="T5" fmla="*/ 3 h 7"/>
                <a:gd name="T6" fmla="*/ 6 w 11"/>
                <a:gd name="T7" fmla="*/ 3 h 7"/>
                <a:gd name="T8" fmla="*/ 6 w 11"/>
                <a:gd name="T9" fmla="*/ 0 h 7"/>
                <a:gd name="T10" fmla="*/ 6 w 11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7">
                  <a:moveTo>
                    <a:pt x="11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5" name="Freeform 412"/>
            <p:cNvSpPr>
              <a:spLocks/>
            </p:cNvSpPr>
            <p:nvPr/>
          </p:nvSpPr>
          <p:spPr bwMode="auto">
            <a:xfrm>
              <a:off x="2983" y="2369"/>
              <a:ext cx="10" cy="6"/>
            </a:xfrm>
            <a:custGeom>
              <a:avLst/>
              <a:gdLst>
                <a:gd name="T0" fmla="*/ 6 w 11"/>
                <a:gd name="T1" fmla="*/ 0 h 7"/>
                <a:gd name="T2" fmla="*/ 0 w 11"/>
                <a:gd name="T3" fmla="*/ 0 h 7"/>
                <a:gd name="T4" fmla="*/ 0 w 11"/>
                <a:gd name="T5" fmla="*/ 3 h 7"/>
                <a:gd name="T6" fmla="*/ 6 w 11"/>
                <a:gd name="T7" fmla="*/ 3 h 7"/>
                <a:gd name="T8" fmla="*/ 6 w 11"/>
                <a:gd name="T9" fmla="*/ 0 h 7"/>
                <a:gd name="T10" fmla="*/ 6 w 11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7">
                  <a:moveTo>
                    <a:pt x="11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6" name="Freeform 413"/>
            <p:cNvSpPr>
              <a:spLocks/>
            </p:cNvSpPr>
            <p:nvPr/>
          </p:nvSpPr>
          <p:spPr bwMode="auto">
            <a:xfrm>
              <a:off x="2789" y="2190"/>
              <a:ext cx="135" cy="94"/>
            </a:xfrm>
            <a:custGeom>
              <a:avLst/>
              <a:gdLst>
                <a:gd name="T0" fmla="*/ 3 w 158"/>
                <a:gd name="T1" fmla="*/ 3 h 111"/>
                <a:gd name="T2" fmla="*/ 0 w 158"/>
                <a:gd name="T3" fmla="*/ 8 h 111"/>
                <a:gd name="T4" fmla="*/ 5 w 158"/>
                <a:gd name="T5" fmla="*/ 11 h 111"/>
                <a:gd name="T6" fmla="*/ 22 w 158"/>
                <a:gd name="T7" fmla="*/ 14 h 111"/>
                <a:gd name="T8" fmla="*/ 22 w 158"/>
                <a:gd name="T9" fmla="*/ 15 h 111"/>
                <a:gd name="T10" fmla="*/ 20 w 158"/>
                <a:gd name="T11" fmla="*/ 15 h 111"/>
                <a:gd name="T12" fmla="*/ 25 w 158"/>
                <a:gd name="T13" fmla="*/ 25 h 111"/>
                <a:gd name="T14" fmla="*/ 32 w 158"/>
                <a:gd name="T15" fmla="*/ 30 h 111"/>
                <a:gd name="T16" fmla="*/ 45 w 158"/>
                <a:gd name="T17" fmla="*/ 32 h 111"/>
                <a:gd name="T18" fmla="*/ 48 w 158"/>
                <a:gd name="T19" fmla="*/ 38 h 111"/>
                <a:gd name="T20" fmla="*/ 53 w 158"/>
                <a:gd name="T21" fmla="*/ 38 h 111"/>
                <a:gd name="T22" fmla="*/ 58 w 158"/>
                <a:gd name="T23" fmla="*/ 40 h 111"/>
                <a:gd name="T24" fmla="*/ 64 w 158"/>
                <a:gd name="T25" fmla="*/ 46 h 111"/>
                <a:gd name="T26" fmla="*/ 67 w 158"/>
                <a:gd name="T27" fmla="*/ 49 h 111"/>
                <a:gd name="T28" fmla="*/ 72 w 158"/>
                <a:gd name="T29" fmla="*/ 46 h 111"/>
                <a:gd name="T30" fmla="*/ 68 w 158"/>
                <a:gd name="T31" fmla="*/ 40 h 111"/>
                <a:gd name="T32" fmla="*/ 72 w 158"/>
                <a:gd name="T33" fmla="*/ 38 h 111"/>
                <a:gd name="T34" fmla="*/ 67 w 158"/>
                <a:gd name="T35" fmla="*/ 30 h 111"/>
                <a:gd name="T36" fmla="*/ 70 w 158"/>
                <a:gd name="T37" fmla="*/ 29 h 111"/>
                <a:gd name="T38" fmla="*/ 70 w 158"/>
                <a:gd name="T39" fmla="*/ 25 h 111"/>
                <a:gd name="T40" fmla="*/ 71 w 158"/>
                <a:gd name="T41" fmla="*/ 21 h 111"/>
                <a:gd name="T42" fmla="*/ 70 w 158"/>
                <a:gd name="T43" fmla="*/ 18 h 111"/>
                <a:gd name="T44" fmla="*/ 62 w 158"/>
                <a:gd name="T45" fmla="*/ 15 h 111"/>
                <a:gd name="T46" fmla="*/ 55 w 158"/>
                <a:gd name="T47" fmla="*/ 11 h 111"/>
                <a:gd name="T48" fmla="*/ 55 w 158"/>
                <a:gd name="T49" fmla="*/ 8 h 111"/>
                <a:gd name="T50" fmla="*/ 45 w 158"/>
                <a:gd name="T51" fmla="*/ 11 h 111"/>
                <a:gd name="T52" fmla="*/ 38 w 158"/>
                <a:gd name="T53" fmla="*/ 14 h 111"/>
                <a:gd name="T54" fmla="*/ 32 w 158"/>
                <a:gd name="T55" fmla="*/ 6 h 111"/>
                <a:gd name="T56" fmla="*/ 22 w 158"/>
                <a:gd name="T57" fmla="*/ 0 h 111"/>
                <a:gd name="T58" fmla="*/ 16 w 158"/>
                <a:gd name="T59" fmla="*/ 3 h 111"/>
                <a:gd name="T60" fmla="*/ 14 w 158"/>
                <a:gd name="T61" fmla="*/ 3 h 111"/>
                <a:gd name="T62" fmla="*/ 8 w 158"/>
                <a:gd name="T63" fmla="*/ 3 h 111"/>
                <a:gd name="T64" fmla="*/ 3 w 158"/>
                <a:gd name="T65" fmla="*/ 3 h 111"/>
                <a:gd name="T66" fmla="*/ 3 w 158"/>
                <a:gd name="T67" fmla="*/ 3 h 11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8" h="111">
                  <a:moveTo>
                    <a:pt x="6" y="6"/>
                  </a:moveTo>
                  <a:lnTo>
                    <a:pt x="0" y="18"/>
                  </a:lnTo>
                  <a:lnTo>
                    <a:pt x="11" y="25"/>
                  </a:lnTo>
                  <a:lnTo>
                    <a:pt x="48" y="31"/>
                  </a:lnTo>
                  <a:lnTo>
                    <a:pt x="48" y="36"/>
                  </a:lnTo>
                  <a:lnTo>
                    <a:pt x="43" y="36"/>
                  </a:lnTo>
                  <a:lnTo>
                    <a:pt x="55" y="56"/>
                  </a:lnTo>
                  <a:lnTo>
                    <a:pt x="73" y="68"/>
                  </a:lnTo>
                  <a:lnTo>
                    <a:pt x="98" y="73"/>
                  </a:lnTo>
                  <a:lnTo>
                    <a:pt x="105" y="86"/>
                  </a:lnTo>
                  <a:lnTo>
                    <a:pt x="116" y="86"/>
                  </a:lnTo>
                  <a:lnTo>
                    <a:pt x="128" y="91"/>
                  </a:lnTo>
                  <a:lnTo>
                    <a:pt x="140" y="105"/>
                  </a:lnTo>
                  <a:lnTo>
                    <a:pt x="146" y="111"/>
                  </a:lnTo>
                  <a:lnTo>
                    <a:pt x="158" y="105"/>
                  </a:lnTo>
                  <a:lnTo>
                    <a:pt x="151" y="91"/>
                  </a:lnTo>
                  <a:lnTo>
                    <a:pt x="158" y="86"/>
                  </a:lnTo>
                  <a:lnTo>
                    <a:pt x="146" y="68"/>
                  </a:lnTo>
                  <a:lnTo>
                    <a:pt x="153" y="66"/>
                  </a:lnTo>
                  <a:lnTo>
                    <a:pt x="153" y="56"/>
                  </a:lnTo>
                  <a:lnTo>
                    <a:pt x="156" y="48"/>
                  </a:lnTo>
                  <a:lnTo>
                    <a:pt x="153" y="43"/>
                  </a:lnTo>
                  <a:lnTo>
                    <a:pt x="135" y="36"/>
                  </a:lnTo>
                  <a:lnTo>
                    <a:pt x="121" y="25"/>
                  </a:lnTo>
                  <a:lnTo>
                    <a:pt x="121" y="18"/>
                  </a:lnTo>
                  <a:lnTo>
                    <a:pt x="98" y="25"/>
                  </a:lnTo>
                  <a:lnTo>
                    <a:pt x="85" y="31"/>
                  </a:lnTo>
                  <a:lnTo>
                    <a:pt x="73" y="13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7" name="Freeform 414"/>
            <p:cNvSpPr>
              <a:spLocks/>
            </p:cNvSpPr>
            <p:nvPr/>
          </p:nvSpPr>
          <p:spPr bwMode="auto">
            <a:xfrm>
              <a:off x="2789" y="2190"/>
              <a:ext cx="135" cy="94"/>
            </a:xfrm>
            <a:custGeom>
              <a:avLst/>
              <a:gdLst>
                <a:gd name="T0" fmla="*/ 3 w 158"/>
                <a:gd name="T1" fmla="*/ 3 h 111"/>
                <a:gd name="T2" fmla="*/ 0 w 158"/>
                <a:gd name="T3" fmla="*/ 8 h 111"/>
                <a:gd name="T4" fmla="*/ 5 w 158"/>
                <a:gd name="T5" fmla="*/ 11 h 111"/>
                <a:gd name="T6" fmla="*/ 22 w 158"/>
                <a:gd name="T7" fmla="*/ 14 h 111"/>
                <a:gd name="T8" fmla="*/ 22 w 158"/>
                <a:gd name="T9" fmla="*/ 15 h 111"/>
                <a:gd name="T10" fmla="*/ 20 w 158"/>
                <a:gd name="T11" fmla="*/ 15 h 111"/>
                <a:gd name="T12" fmla="*/ 25 w 158"/>
                <a:gd name="T13" fmla="*/ 25 h 111"/>
                <a:gd name="T14" fmla="*/ 32 w 158"/>
                <a:gd name="T15" fmla="*/ 30 h 111"/>
                <a:gd name="T16" fmla="*/ 45 w 158"/>
                <a:gd name="T17" fmla="*/ 32 h 111"/>
                <a:gd name="T18" fmla="*/ 48 w 158"/>
                <a:gd name="T19" fmla="*/ 38 h 111"/>
                <a:gd name="T20" fmla="*/ 53 w 158"/>
                <a:gd name="T21" fmla="*/ 38 h 111"/>
                <a:gd name="T22" fmla="*/ 58 w 158"/>
                <a:gd name="T23" fmla="*/ 40 h 111"/>
                <a:gd name="T24" fmla="*/ 64 w 158"/>
                <a:gd name="T25" fmla="*/ 46 h 111"/>
                <a:gd name="T26" fmla="*/ 67 w 158"/>
                <a:gd name="T27" fmla="*/ 49 h 111"/>
                <a:gd name="T28" fmla="*/ 72 w 158"/>
                <a:gd name="T29" fmla="*/ 46 h 111"/>
                <a:gd name="T30" fmla="*/ 68 w 158"/>
                <a:gd name="T31" fmla="*/ 40 h 111"/>
                <a:gd name="T32" fmla="*/ 72 w 158"/>
                <a:gd name="T33" fmla="*/ 38 h 111"/>
                <a:gd name="T34" fmla="*/ 67 w 158"/>
                <a:gd name="T35" fmla="*/ 30 h 111"/>
                <a:gd name="T36" fmla="*/ 70 w 158"/>
                <a:gd name="T37" fmla="*/ 29 h 111"/>
                <a:gd name="T38" fmla="*/ 70 w 158"/>
                <a:gd name="T39" fmla="*/ 25 h 111"/>
                <a:gd name="T40" fmla="*/ 71 w 158"/>
                <a:gd name="T41" fmla="*/ 21 h 111"/>
                <a:gd name="T42" fmla="*/ 70 w 158"/>
                <a:gd name="T43" fmla="*/ 18 h 111"/>
                <a:gd name="T44" fmla="*/ 62 w 158"/>
                <a:gd name="T45" fmla="*/ 15 h 111"/>
                <a:gd name="T46" fmla="*/ 55 w 158"/>
                <a:gd name="T47" fmla="*/ 11 h 111"/>
                <a:gd name="T48" fmla="*/ 55 w 158"/>
                <a:gd name="T49" fmla="*/ 8 h 111"/>
                <a:gd name="T50" fmla="*/ 45 w 158"/>
                <a:gd name="T51" fmla="*/ 11 h 111"/>
                <a:gd name="T52" fmla="*/ 38 w 158"/>
                <a:gd name="T53" fmla="*/ 14 h 111"/>
                <a:gd name="T54" fmla="*/ 32 w 158"/>
                <a:gd name="T55" fmla="*/ 6 h 111"/>
                <a:gd name="T56" fmla="*/ 22 w 158"/>
                <a:gd name="T57" fmla="*/ 0 h 111"/>
                <a:gd name="T58" fmla="*/ 16 w 158"/>
                <a:gd name="T59" fmla="*/ 3 h 111"/>
                <a:gd name="T60" fmla="*/ 14 w 158"/>
                <a:gd name="T61" fmla="*/ 3 h 111"/>
                <a:gd name="T62" fmla="*/ 8 w 158"/>
                <a:gd name="T63" fmla="*/ 3 h 111"/>
                <a:gd name="T64" fmla="*/ 3 w 158"/>
                <a:gd name="T65" fmla="*/ 3 h 111"/>
                <a:gd name="T66" fmla="*/ 3 w 158"/>
                <a:gd name="T67" fmla="*/ 3 h 11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8" h="111">
                  <a:moveTo>
                    <a:pt x="6" y="6"/>
                  </a:moveTo>
                  <a:lnTo>
                    <a:pt x="0" y="18"/>
                  </a:lnTo>
                  <a:lnTo>
                    <a:pt x="11" y="25"/>
                  </a:lnTo>
                  <a:lnTo>
                    <a:pt x="48" y="31"/>
                  </a:lnTo>
                  <a:lnTo>
                    <a:pt x="48" y="36"/>
                  </a:lnTo>
                  <a:lnTo>
                    <a:pt x="43" y="36"/>
                  </a:lnTo>
                  <a:lnTo>
                    <a:pt x="55" y="56"/>
                  </a:lnTo>
                  <a:lnTo>
                    <a:pt x="73" y="68"/>
                  </a:lnTo>
                  <a:lnTo>
                    <a:pt x="98" y="73"/>
                  </a:lnTo>
                  <a:lnTo>
                    <a:pt x="105" y="86"/>
                  </a:lnTo>
                  <a:lnTo>
                    <a:pt x="116" y="86"/>
                  </a:lnTo>
                  <a:lnTo>
                    <a:pt x="128" y="91"/>
                  </a:lnTo>
                  <a:lnTo>
                    <a:pt x="140" y="105"/>
                  </a:lnTo>
                  <a:lnTo>
                    <a:pt x="146" y="111"/>
                  </a:lnTo>
                  <a:lnTo>
                    <a:pt x="158" y="105"/>
                  </a:lnTo>
                  <a:lnTo>
                    <a:pt x="151" y="91"/>
                  </a:lnTo>
                  <a:lnTo>
                    <a:pt x="158" y="86"/>
                  </a:lnTo>
                  <a:lnTo>
                    <a:pt x="146" y="68"/>
                  </a:lnTo>
                  <a:lnTo>
                    <a:pt x="153" y="66"/>
                  </a:lnTo>
                  <a:lnTo>
                    <a:pt x="153" y="56"/>
                  </a:lnTo>
                  <a:lnTo>
                    <a:pt x="156" y="48"/>
                  </a:lnTo>
                  <a:lnTo>
                    <a:pt x="153" y="43"/>
                  </a:lnTo>
                  <a:lnTo>
                    <a:pt x="135" y="36"/>
                  </a:lnTo>
                  <a:lnTo>
                    <a:pt x="121" y="25"/>
                  </a:lnTo>
                  <a:lnTo>
                    <a:pt x="121" y="18"/>
                  </a:lnTo>
                  <a:lnTo>
                    <a:pt x="98" y="25"/>
                  </a:lnTo>
                  <a:lnTo>
                    <a:pt x="85" y="31"/>
                  </a:lnTo>
                  <a:lnTo>
                    <a:pt x="73" y="13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30" y="6"/>
                  </a:lnTo>
                  <a:lnTo>
                    <a:pt x="18" y="6"/>
                  </a:lnTo>
                  <a:lnTo>
                    <a:pt x="6" y="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8" name="Freeform 415"/>
            <p:cNvSpPr>
              <a:spLocks/>
            </p:cNvSpPr>
            <p:nvPr/>
          </p:nvSpPr>
          <p:spPr bwMode="auto">
            <a:xfrm>
              <a:off x="2756" y="2151"/>
              <a:ext cx="97" cy="45"/>
            </a:xfrm>
            <a:custGeom>
              <a:avLst/>
              <a:gdLst>
                <a:gd name="T0" fmla="*/ 0 w 115"/>
                <a:gd name="T1" fmla="*/ 14 h 55"/>
                <a:gd name="T2" fmla="*/ 2 w 115"/>
                <a:gd name="T3" fmla="*/ 16 h 55"/>
                <a:gd name="T4" fmla="*/ 8 w 115"/>
                <a:gd name="T5" fmla="*/ 18 h 55"/>
                <a:gd name="T6" fmla="*/ 11 w 115"/>
                <a:gd name="T7" fmla="*/ 13 h 55"/>
                <a:gd name="T8" fmla="*/ 21 w 115"/>
                <a:gd name="T9" fmla="*/ 16 h 55"/>
                <a:gd name="T10" fmla="*/ 21 w 115"/>
                <a:gd name="T11" fmla="*/ 18 h 55"/>
                <a:gd name="T12" fmla="*/ 19 w 115"/>
                <a:gd name="T13" fmla="*/ 20 h 55"/>
                <a:gd name="T14" fmla="*/ 33 w 115"/>
                <a:gd name="T15" fmla="*/ 20 h 55"/>
                <a:gd name="T16" fmla="*/ 37 w 115"/>
                <a:gd name="T17" fmla="*/ 19 h 55"/>
                <a:gd name="T18" fmla="*/ 40 w 115"/>
                <a:gd name="T19" fmla="*/ 19 h 55"/>
                <a:gd name="T20" fmla="*/ 43 w 115"/>
                <a:gd name="T21" fmla="*/ 13 h 55"/>
                <a:gd name="T22" fmla="*/ 49 w 115"/>
                <a:gd name="T23" fmla="*/ 9 h 55"/>
                <a:gd name="T24" fmla="*/ 47 w 115"/>
                <a:gd name="T25" fmla="*/ 5 h 55"/>
                <a:gd name="T26" fmla="*/ 45 w 115"/>
                <a:gd name="T27" fmla="*/ 2 h 55"/>
                <a:gd name="T28" fmla="*/ 43 w 115"/>
                <a:gd name="T29" fmla="*/ 2 h 55"/>
                <a:gd name="T30" fmla="*/ 37 w 115"/>
                <a:gd name="T31" fmla="*/ 0 h 55"/>
                <a:gd name="T32" fmla="*/ 32 w 115"/>
                <a:gd name="T33" fmla="*/ 2 h 55"/>
                <a:gd name="T34" fmla="*/ 25 w 115"/>
                <a:gd name="T35" fmla="*/ 2 h 55"/>
                <a:gd name="T36" fmla="*/ 19 w 115"/>
                <a:gd name="T37" fmla="*/ 5 h 55"/>
                <a:gd name="T38" fmla="*/ 19 w 115"/>
                <a:gd name="T39" fmla="*/ 9 h 55"/>
                <a:gd name="T40" fmla="*/ 17 w 115"/>
                <a:gd name="T41" fmla="*/ 9 h 55"/>
                <a:gd name="T42" fmla="*/ 7 w 115"/>
                <a:gd name="T43" fmla="*/ 9 h 55"/>
                <a:gd name="T44" fmla="*/ 3 w 115"/>
                <a:gd name="T45" fmla="*/ 11 h 55"/>
                <a:gd name="T46" fmla="*/ 0 w 115"/>
                <a:gd name="T47" fmla="*/ 14 h 55"/>
                <a:gd name="T48" fmla="*/ 0 w 115"/>
                <a:gd name="T49" fmla="*/ 14 h 5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5" h="55">
                  <a:moveTo>
                    <a:pt x="0" y="39"/>
                  </a:moveTo>
                  <a:lnTo>
                    <a:pt x="2" y="44"/>
                  </a:lnTo>
                  <a:lnTo>
                    <a:pt x="20" y="49"/>
                  </a:lnTo>
                  <a:lnTo>
                    <a:pt x="27" y="37"/>
                  </a:lnTo>
                  <a:lnTo>
                    <a:pt x="50" y="42"/>
                  </a:lnTo>
                  <a:lnTo>
                    <a:pt x="50" y="49"/>
                  </a:lnTo>
                  <a:lnTo>
                    <a:pt x="45" y="55"/>
                  </a:lnTo>
                  <a:lnTo>
                    <a:pt x="77" y="55"/>
                  </a:lnTo>
                  <a:lnTo>
                    <a:pt x="87" y="50"/>
                  </a:lnTo>
                  <a:lnTo>
                    <a:pt x="94" y="50"/>
                  </a:lnTo>
                  <a:lnTo>
                    <a:pt x="100" y="37"/>
                  </a:lnTo>
                  <a:lnTo>
                    <a:pt x="115" y="25"/>
                  </a:lnTo>
                  <a:lnTo>
                    <a:pt x="110" y="14"/>
                  </a:lnTo>
                  <a:lnTo>
                    <a:pt x="105" y="7"/>
                  </a:lnTo>
                  <a:lnTo>
                    <a:pt x="100" y="7"/>
                  </a:lnTo>
                  <a:lnTo>
                    <a:pt x="87" y="0"/>
                  </a:lnTo>
                  <a:lnTo>
                    <a:pt x="75" y="5"/>
                  </a:lnTo>
                  <a:lnTo>
                    <a:pt x="59" y="7"/>
                  </a:lnTo>
                  <a:lnTo>
                    <a:pt x="45" y="12"/>
                  </a:lnTo>
                  <a:lnTo>
                    <a:pt x="45" y="25"/>
                  </a:lnTo>
                  <a:lnTo>
                    <a:pt x="39" y="25"/>
                  </a:lnTo>
                  <a:lnTo>
                    <a:pt x="15" y="25"/>
                  </a:lnTo>
                  <a:lnTo>
                    <a:pt x="5" y="2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9" name="Freeform 416"/>
            <p:cNvSpPr>
              <a:spLocks/>
            </p:cNvSpPr>
            <p:nvPr/>
          </p:nvSpPr>
          <p:spPr bwMode="auto">
            <a:xfrm>
              <a:off x="2756" y="2151"/>
              <a:ext cx="97" cy="45"/>
            </a:xfrm>
            <a:custGeom>
              <a:avLst/>
              <a:gdLst>
                <a:gd name="T0" fmla="*/ 0 w 115"/>
                <a:gd name="T1" fmla="*/ 14 h 55"/>
                <a:gd name="T2" fmla="*/ 2 w 115"/>
                <a:gd name="T3" fmla="*/ 16 h 55"/>
                <a:gd name="T4" fmla="*/ 8 w 115"/>
                <a:gd name="T5" fmla="*/ 18 h 55"/>
                <a:gd name="T6" fmla="*/ 11 w 115"/>
                <a:gd name="T7" fmla="*/ 13 h 55"/>
                <a:gd name="T8" fmla="*/ 21 w 115"/>
                <a:gd name="T9" fmla="*/ 16 h 55"/>
                <a:gd name="T10" fmla="*/ 21 w 115"/>
                <a:gd name="T11" fmla="*/ 18 h 55"/>
                <a:gd name="T12" fmla="*/ 19 w 115"/>
                <a:gd name="T13" fmla="*/ 20 h 55"/>
                <a:gd name="T14" fmla="*/ 33 w 115"/>
                <a:gd name="T15" fmla="*/ 20 h 55"/>
                <a:gd name="T16" fmla="*/ 37 w 115"/>
                <a:gd name="T17" fmla="*/ 19 h 55"/>
                <a:gd name="T18" fmla="*/ 40 w 115"/>
                <a:gd name="T19" fmla="*/ 19 h 55"/>
                <a:gd name="T20" fmla="*/ 43 w 115"/>
                <a:gd name="T21" fmla="*/ 13 h 55"/>
                <a:gd name="T22" fmla="*/ 49 w 115"/>
                <a:gd name="T23" fmla="*/ 9 h 55"/>
                <a:gd name="T24" fmla="*/ 47 w 115"/>
                <a:gd name="T25" fmla="*/ 5 h 55"/>
                <a:gd name="T26" fmla="*/ 45 w 115"/>
                <a:gd name="T27" fmla="*/ 2 h 55"/>
                <a:gd name="T28" fmla="*/ 43 w 115"/>
                <a:gd name="T29" fmla="*/ 2 h 55"/>
                <a:gd name="T30" fmla="*/ 37 w 115"/>
                <a:gd name="T31" fmla="*/ 0 h 55"/>
                <a:gd name="T32" fmla="*/ 32 w 115"/>
                <a:gd name="T33" fmla="*/ 2 h 55"/>
                <a:gd name="T34" fmla="*/ 25 w 115"/>
                <a:gd name="T35" fmla="*/ 2 h 55"/>
                <a:gd name="T36" fmla="*/ 19 w 115"/>
                <a:gd name="T37" fmla="*/ 5 h 55"/>
                <a:gd name="T38" fmla="*/ 19 w 115"/>
                <a:gd name="T39" fmla="*/ 9 h 55"/>
                <a:gd name="T40" fmla="*/ 17 w 115"/>
                <a:gd name="T41" fmla="*/ 9 h 55"/>
                <a:gd name="T42" fmla="*/ 7 w 115"/>
                <a:gd name="T43" fmla="*/ 9 h 55"/>
                <a:gd name="T44" fmla="*/ 3 w 115"/>
                <a:gd name="T45" fmla="*/ 11 h 55"/>
                <a:gd name="T46" fmla="*/ 0 w 115"/>
                <a:gd name="T47" fmla="*/ 14 h 55"/>
                <a:gd name="T48" fmla="*/ 0 w 115"/>
                <a:gd name="T49" fmla="*/ 14 h 5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5" h="55">
                  <a:moveTo>
                    <a:pt x="0" y="39"/>
                  </a:moveTo>
                  <a:lnTo>
                    <a:pt x="2" y="44"/>
                  </a:lnTo>
                  <a:lnTo>
                    <a:pt x="20" y="49"/>
                  </a:lnTo>
                  <a:lnTo>
                    <a:pt x="27" y="37"/>
                  </a:lnTo>
                  <a:lnTo>
                    <a:pt x="50" y="42"/>
                  </a:lnTo>
                  <a:lnTo>
                    <a:pt x="50" y="49"/>
                  </a:lnTo>
                  <a:lnTo>
                    <a:pt x="45" y="55"/>
                  </a:lnTo>
                  <a:lnTo>
                    <a:pt x="77" y="55"/>
                  </a:lnTo>
                  <a:lnTo>
                    <a:pt x="87" y="50"/>
                  </a:lnTo>
                  <a:lnTo>
                    <a:pt x="94" y="50"/>
                  </a:lnTo>
                  <a:lnTo>
                    <a:pt x="100" y="37"/>
                  </a:lnTo>
                  <a:lnTo>
                    <a:pt x="115" y="25"/>
                  </a:lnTo>
                  <a:lnTo>
                    <a:pt x="110" y="14"/>
                  </a:lnTo>
                  <a:lnTo>
                    <a:pt x="105" y="7"/>
                  </a:lnTo>
                  <a:lnTo>
                    <a:pt x="100" y="7"/>
                  </a:lnTo>
                  <a:lnTo>
                    <a:pt x="87" y="0"/>
                  </a:lnTo>
                  <a:lnTo>
                    <a:pt x="75" y="5"/>
                  </a:lnTo>
                  <a:lnTo>
                    <a:pt x="59" y="7"/>
                  </a:lnTo>
                  <a:lnTo>
                    <a:pt x="45" y="12"/>
                  </a:lnTo>
                  <a:lnTo>
                    <a:pt x="45" y="25"/>
                  </a:lnTo>
                  <a:lnTo>
                    <a:pt x="39" y="25"/>
                  </a:lnTo>
                  <a:lnTo>
                    <a:pt x="15" y="25"/>
                  </a:lnTo>
                  <a:lnTo>
                    <a:pt x="5" y="29"/>
                  </a:lnTo>
                  <a:lnTo>
                    <a:pt x="0" y="39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0" name="Freeform 417"/>
            <p:cNvSpPr>
              <a:spLocks/>
            </p:cNvSpPr>
            <p:nvPr/>
          </p:nvSpPr>
          <p:spPr bwMode="auto">
            <a:xfrm>
              <a:off x="2833" y="2166"/>
              <a:ext cx="85" cy="49"/>
            </a:xfrm>
            <a:custGeom>
              <a:avLst/>
              <a:gdLst>
                <a:gd name="T0" fmla="*/ 13 w 100"/>
                <a:gd name="T1" fmla="*/ 2 h 60"/>
                <a:gd name="T2" fmla="*/ 5 w 100"/>
                <a:gd name="T3" fmla="*/ 7 h 60"/>
                <a:gd name="T4" fmla="*/ 0 w 100"/>
                <a:gd name="T5" fmla="*/ 11 h 60"/>
                <a:gd name="T6" fmla="*/ 9 w 100"/>
                <a:gd name="T7" fmla="*/ 16 h 60"/>
                <a:gd name="T8" fmla="*/ 13 w 100"/>
                <a:gd name="T9" fmla="*/ 20 h 60"/>
                <a:gd name="T10" fmla="*/ 14 w 100"/>
                <a:gd name="T11" fmla="*/ 22 h 60"/>
                <a:gd name="T12" fmla="*/ 21 w 100"/>
                <a:gd name="T13" fmla="*/ 20 h 60"/>
                <a:gd name="T14" fmla="*/ 25 w 100"/>
                <a:gd name="T15" fmla="*/ 19 h 60"/>
                <a:gd name="T16" fmla="*/ 29 w 100"/>
                <a:gd name="T17" fmla="*/ 17 h 60"/>
                <a:gd name="T18" fmla="*/ 31 w 100"/>
                <a:gd name="T19" fmla="*/ 16 h 60"/>
                <a:gd name="T20" fmla="*/ 37 w 100"/>
                <a:gd name="T21" fmla="*/ 11 h 60"/>
                <a:gd name="T22" fmla="*/ 42 w 100"/>
                <a:gd name="T23" fmla="*/ 6 h 60"/>
                <a:gd name="T24" fmla="*/ 44 w 100"/>
                <a:gd name="T25" fmla="*/ 0 h 60"/>
                <a:gd name="T26" fmla="*/ 31 w 100"/>
                <a:gd name="T27" fmla="*/ 0 h 60"/>
                <a:gd name="T28" fmla="*/ 24 w 100"/>
                <a:gd name="T29" fmla="*/ 2 h 60"/>
                <a:gd name="T30" fmla="*/ 13 w 100"/>
                <a:gd name="T31" fmla="*/ 2 h 60"/>
                <a:gd name="T32" fmla="*/ 13 w 100"/>
                <a:gd name="T33" fmla="*/ 2 h 6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60">
                  <a:moveTo>
                    <a:pt x="29" y="6"/>
                  </a:moveTo>
                  <a:lnTo>
                    <a:pt x="10" y="18"/>
                  </a:lnTo>
                  <a:lnTo>
                    <a:pt x="0" y="31"/>
                  </a:lnTo>
                  <a:lnTo>
                    <a:pt x="19" y="43"/>
                  </a:lnTo>
                  <a:lnTo>
                    <a:pt x="29" y="55"/>
                  </a:lnTo>
                  <a:lnTo>
                    <a:pt x="32" y="60"/>
                  </a:lnTo>
                  <a:lnTo>
                    <a:pt x="47" y="55"/>
                  </a:lnTo>
                  <a:lnTo>
                    <a:pt x="55" y="51"/>
                  </a:lnTo>
                  <a:lnTo>
                    <a:pt x="65" y="48"/>
                  </a:lnTo>
                  <a:lnTo>
                    <a:pt x="70" y="43"/>
                  </a:lnTo>
                  <a:lnTo>
                    <a:pt x="84" y="30"/>
                  </a:lnTo>
                  <a:lnTo>
                    <a:pt x="94" y="16"/>
                  </a:lnTo>
                  <a:lnTo>
                    <a:pt x="100" y="0"/>
                  </a:lnTo>
                  <a:lnTo>
                    <a:pt x="70" y="0"/>
                  </a:lnTo>
                  <a:lnTo>
                    <a:pt x="54" y="6"/>
                  </a:lnTo>
                  <a:lnTo>
                    <a:pt x="29" y="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1" name="Freeform 418"/>
            <p:cNvSpPr>
              <a:spLocks/>
            </p:cNvSpPr>
            <p:nvPr/>
          </p:nvSpPr>
          <p:spPr bwMode="auto">
            <a:xfrm>
              <a:off x="2833" y="2166"/>
              <a:ext cx="85" cy="49"/>
            </a:xfrm>
            <a:custGeom>
              <a:avLst/>
              <a:gdLst>
                <a:gd name="T0" fmla="*/ 13 w 100"/>
                <a:gd name="T1" fmla="*/ 2 h 60"/>
                <a:gd name="T2" fmla="*/ 5 w 100"/>
                <a:gd name="T3" fmla="*/ 7 h 60"/>
                <a:gd name="T4" fmla="*/ 0 w 100"/>
                <a:gd name="T5" fmla="*/ 11 h 60"/>
                <a:gd name="T6" fmla="*/ 9 w 100"/>
                <a:gd name="T7" fmla="*/ 16 h 60"/>
                <a:gd name="T8" fmla="*/ 13 w 100"/>
                <a:gd name="T9" fmla="*/ 20 h 60"/>
                <a:gd name="T10" fmla="*/ 14 w 100"/>
                <a:gd name="T11" fmla="*/ 22 h 60"/>
                <a:gd name="T12" fmla="*/ 21 w 100"/>
                <a:gd name="T13" fmla="*/ 20 h 60"/>
                <a:gd name="T14" fmla="*/ 25 w 100"/>
                <a:gd name="T15" fmla="*/ 19 h 60"/>
                <a:gd name="T16" fmla="*/ 29 w 100"/>
                <a:gd name="T17" fmla="*/ 17 h 60"/>
                <a:gd name="T18" fmla="*/ 31 w 100"/>
                <a:gd name="T19" fmla="*/ 16 h 60"/>
                <a:gd name="T20" fmla="*/ 37 w 100"/>
                <a:gd name="T21" fmla="*/ 11 h 60"/>
                <a:gd name="T22" fmla="*/ 42 w 100"/>
                <a:gd name="T23" fmla="*/ 6 h 60"/>
                <a:gd name="T24" fmla="*/ 44 w 100"/>
                <a:gd name="T25" fmla="*/ 0 h 60"/>
                <a:gd name="T26" fmla="*/ 31 w 100"/>
                <a:gd name="T27" fmla="*/ 0 h 60"/>
                <a:gd name="T28" fmla="*/ 24 w 100"/>
                <a:gd name="T29" fmla="*/ 2 h 60"/>
                <a:gd name="T30" fmla="*/ 13 w 100"/>
                <a:gd name="T31" fmla="*/ 2 h 60"/>
                <a:gd name="T32" fmla="*/ 13 w 100"/>
                <a:gd name="T33" fmla="*/ 2 h 6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60">
                  <a:moveTo>
                    <a:pt x="29" y="6"/>
                  </a:moveTo>
                  <a:lnTo>
                    <a:pt x="10" y="18"/>
                  </a:lnTo>
                  <a:lnTo>
                    <a:pt x="0" y="31"/>
                  </a:lnTo>
                  <a:lnTo>
                    <a:pt x="19" y="43"/>
                  </a:lnTo>
                  <a:lnTo>
                    <a:pt x="29" y="55"/>
                  </a:lnTo>
                  <a:lnTo>
                    <a:pt x="32" y="60"/>
                  </a:lnTo>
                  <a:lnTo>
                    <a:pt x="47" y="55"/>
                  </a:lnTo>
                  <a:lnTo>
                    <a:pt x="55" y="51"/>
                  </a:lnTo>
                  <a:lnTo>
                    <a:pt x="65" y="48"/>
                  </a:lnTo>
                  <a:lnTo>
                    <a:pt x="70" y="43"/>
                  </a:lnTo>
                  <a:lnTo>
                    <a:pt x="84" y="30"/>
                  </a:lnTo>
                  <a:lnTo>
                    <a:pt x="94" y="16"/>
                  </a:lnTo>
                  <a:lnTo>
                    <a:pt x="100" y="0"/>
                  </a:lnTo>
                  <a:lnTo>
                    <a:pt x="70" y="0"/>
                  </a:lnTo>
                  <a:lnTo>
                    <a:pt x="54" y="6"/>
                  </a:lnTo>
                  <a:lnTo>
                    <a:pt x="29" y="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2" name="Freeform 419"/>
            <p:cNvSpPr>
              <a:spLocks/>
            </p:cNvSpPr>
            <p:nvPr/>
          </p:nvSpPr>
          <p:spPr bwMode="auto">
            <a:xfrm>
              <a:off x="2746" y="2175"/>
              <a:ext cx="12" cy="8"/>
            </a:xfrm>
            <a:custGeom>
              <a:avLst/>
              <a:gdLst>
                <a:gd name="T0" fmla="*/ 7 w 14"/>
                <a:gd name="T1" fmla="*/ 0 h 10"/>
                <a:gd name="T2" fmla="*/ 0 w 14"/>
                <a:gd name="T3" fmla="*/ 0 h 10"/>
                <a:gd name="T4" fmla="*/ 2 w 14"/>
                <a:gd name="T5" fmla="*/ 2 h 10"/>
                <a:gd name="T6" fmla="*/ 5 w 14"/>
                <a:gd name="T7" fmla="*/ 3 h 10"/>
                <a:gd name="T8" fmla="*/ 7 w 14"/>
                <a:gd name="T9" fmla="*/ 0 h 10"/>
                <a:gd name="T10" fmla="*/ 7 w 14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10">
                  <a:moveTo>
                    <a:pt x="14" y="0"/>
                  </a:moveTo>
                  <a:lnTo>
                    <a:pt x="0" y="0"/>
                  </a:lnTo>
                  <a:lnTo>
                    <a:pt x="2" y="8"/>
                  </a:lnTo>
                  <a:lnTo>
                    <a:pt x="10" y="1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3" name="Freeform 420"/>
            <p:cNvSpPr>
              <a:spLocks/>
            </p:cNvSpPr>
            <p:nvPr/>
          </p:nvSpPr>
          <p:spPr bwMode="auto">
            <a:xfrm>
              <a:off x="2746" y="2175"/>
              <a:ext cx="12" cy="8"/>
            </a:xfrm>
            <a:custGeom>
              <a:avLst/>
              <a:gdLst>
                <a:gd name="T0" fmla="*/ 7 w 14"/>
                <a:gd name="T1" fmla="*/ 0 h 10"/>
                <a:gd name="T2" fmla="*/ 0 w 14"/>
                <a:gd name="T3" fmla="*/ 0 h 10"/>
                <a:gd name="T4" fmla="*/ 2 w 14"/>
                <a:gd name="T5" fmla="*/ 2 h 10"/>
                <a:gd name="T6" fmla="*/ 5 w 14"/>
                <a:gd name="T7" fmla="*/ 3 h 10"/>
                <a:gd name="T8" fmla="*/ 7 w 14"/>
                <a:gd name="T9" fmla="*/ 0 h 10"/>
                <a:gd name="T10" fmla="*/ 7 w 14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10">
                  <a:moveTo>
                    <a:pt x="14" y="0"/>
                  </a:moveTo>
                  <a:lnTo>
                    <a:pt x="0" y="0"/>
                  </a:lnTo>
                  <a:lnTo>
                    <a:pt x="2" y="8"/>
                  </a:lnTo>
                  <a:lnTo>
                    <a:pt x="10" y="10"/>
                  </a:lnTo>
                  <a:lnTo>
                    <a:pt x="14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4" name="Freeform 421"/>
            <p:cNvSpPr>
              <a:spLocks/>
            </p:cNvSpPr>
            <p:nvPr/>
          </p:nvSpPr>
          <p:spPr bwMode="auto">
            <a:xfrm>
              <a:off x="2705" y="2170"/>
              <a:ext cx="46" cy="37"/>
            </a:xfrm>
            <a:custGeom>
              <a:avLst/>
              <a:gdLst>
                <a:gd name="T0" fmla="*/ 26 w 52"/>
                <a:gd name="T1" fmla="*/ 3 h 43"/>
                <a:gd name="T2" fmla="*/ 13 w 52"/>
                <a:gd name="T3" fmla="*/ 0 h 43"/>
                <a:gd name="T4" fmla="*/ 7 w 52"/>
                <a:gd name="T5" fmla="*/ 3 h 43"/>
                <a:gd name="T6" fmla="*/ 0 w 52"/>
                <a:gd name="T7" fmla="*/ 9 h 43"/>
                <a:gd name="T8" fmla="*/ 4 w 52"/>
                <a:gd name="T9" fmla="*/ 18 h 43"/>
                <a:gd name="T10" fmla="*/ 10 w 52"/>
                <a:gd name="T11" fmla="*/ 21 h 43"/>
                <a:gd name="T12" fmla="*/ 17 w 52"/>
                <a:gd name="T13" fmla="*/ 18 h 43"/>
                <a:gd name="T14" fmla="*/ 18 w 52"/>
                <a:gd name="T15" fmla="*/ 12 h 43"/>
                <a:gd name="T16" fmla="*/ 20 w 52"/>
                <a:gd name="T17" fmla="*/ 12 h 43"/>
                <a:gd name="T18" fmla="*/ 24 w 52"/>
                <a:gd name="T19" fmla="*/ 9 h 43"/>
                <a:gd name="T20" fmla="*/ 26 w 52"/>
                <a:gd name="T21" fmla="*/ 9 h 43"/>
                <a:gd name="T22" fmla="*/ 28 w 52"/>
                <a:gd name="T23" fmla="*/ 7 h 43"/>
                <a:gd name="T24" fmla="*/ 26 w 52"/>
                <a:gd name="T25" fmla="*/ 3 h 43"/>
                <a:gd name="T26" fmla="*/ 26 w 52"/>
                <a:gd name="T27" fmla="*/ 3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2" h="43">
                  <a:moveTo>
                    <a:pt x="48" y="6"/>
                  </a:moveTo>
                  <a:lnTo>
                    <a:pt x="25" y="0"/>
                  </a:lnTo>
                  <a:lnTo>
                    <a:pt x="12" y="6"/>
                  </a:lnTo>
                  <a:lnTo>
                    <a:pt x="0" y="20"/>
                  </a:lnTo>
                  <a:lnTo>
                    <a:pt x="5" y="38"/>
                  </a:lnTo>
                  <a:lnTo>
                    <a:pt x="18" y="43"/>
                  </a:lnTo>
                  <a:lnTo>
                    <a:pt x="30" y="38"/>
                  </a:lnTo>
                  <a:lnTo>
                    <a:pt x="33" y="25"/>
                  </a:lnTo>
                  <a:lnTo>
                    <a:pt x="37" y="25"/>
                  </a:lnTo>
                  <a:lnTo>
                    <a:pt x="43" y="21"/>
                  </a:lnTo>
                  <a:lnTo>
                    <a:pt x="48" y="20"/>
                  </a:lnTo>
                  <a:lnTo>
                    <a:pt x="52" y="15"/>
                  </a:lnTo>
                  <a:lnTo>
                    <a:pt x="48" y="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5" name="Freeform 422"/>
            <p:cNvSpPr>
              <a:spLocks/>
            </p:cNvSpPr>
            <p:nvPr/>
          </p:nvSpPr>
          <p:spPr bwMode="auto">
            <a:xfrm>
              <a:off x="2705" y="2170"/>
              <a:ext cx="46" cy="37"/>
            </a:xfrm>
            <a:custGeom>
              <a:avLst/>
              <a:gdLst>
                <a:gd name="T0" fmla="*/ 26 w 52"/>
                <a:gd name="T1" fmla="*/ 3 h 43"/>
                <a:gd name="T2" fmla="*/ 13 w 52"/>
                <a:gd name="T3" fmla="*/ 0 h 43"/>
                <a:gd name="T4" fmla="*/ 7 w 52"/>
                <a:gd name="T5" fmla="*/ 3 h 43"/>
                <a:gd name="T6" fmla="*/ 0 w 52"/>
                <a:gd name="T7" fmla="*/ 9 h 43"/>
                <a:gd name="T8" fmla="*/ 4 w 52"/>
                <a:gd name="T9" fmla="*/ 18 h 43"/>
                <a:gd name="T10" fmla="*/ 10 w 52"/>
                <a:gd name="T11" fmla="*/ 21 h 43"/>
                <a:gd name="T12" fmla="*/ 17 w 52"/>
                <a:gd name="T13" fmla="*/ 18 h 43"/>
                <a:gd name="T14" fmla="*/ 18 w 52"/>
                <a:gd name="T15" fmla="*/ 12 h 43"/>
                <a:gd name="T16" fmla="*/ 20 w 52"/>
                <a:gd name="T17" fmla="*/ 12 h 43"/>
                <a:gd name="T18" fmla="*/ 24 w 52"/>
                <a:gd name="T19" fmla="*/ 9 h 43"/>
                <a:gd name="T20" fmla="*/ 26 w 52"/>
                <a:gd name="T21" fmla="*/ 9 h 43"/>
                <a:gd name="T22" fmla="*/ 28 w 52"/>
                <a:gd name="T23" fmla="*/ 7 h 43"/>
                <a:gd name="T24" fmla="*/ 26 w 52"/>
                <a:gd name="T25" fmla="*/ 3 h 43"/>
                <a:gd name="T26" fmla="*/ 26 w 52"/>
                <a:gd name="T27" fmla="*/ 3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2" h="43">
                  <a:moveTo>
                    <a:pt x="48" y="6"/>
                  </a:moveTo>
                  <a:lnTo>
                    <a:pt x="25" y="0"/>
                  </a:lnTo>
                  <a:lnTo>
                    <a:pt x="12" y="6"/>
                  </a:lnTo>
                  <a:lnTo>
                    <a:pt x="0" y="20"/>
                  </a:lnTo>
                  <a:lnTo>
                    <a:pt x="5" y="38"/>
                  </a:lnTo>
                  <a:lnTo>
                    <a:pt x="18" y="43"/>
                  </a:lnTo>
                  <a:lnTo>
                    <a:pt x="30" y="38"/>
                  </a:lnTo>
                  <a:lnTo>
                    <a:pt x="33" y="25"/>
                  </a:lnTo>
                  <a:lnTo>
                    <a:pt x="37" y="25"/>
                  </a:lnTo>
                  <a:lnTo>
                    <a:pt x="43" y="21"/>
                  </a:lnTo>
                  <a:lnTo>
                    <a:pt x="48" y="20"/>
                  </a:lnTo>
                  <a:lnTo>
                    <a:pt x="52" y="15"/>
                  </a:lnTo>
                  <a:lnTo>
                    <a:pt x="48" y="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6" name="Freeform 423"/>
            <p:cNvSpPr>
              <a:spLocks/>
            </p:cNvSpPr>
            <p:nvPr/>
          </p:nvSpPr>
          <p:spPr bwMode="auto">
            <a:xfrm>
              <a:off x="2700" y="2181"/>
              <a:ext cx="157" cy="148"/>
            </a:xfrm>
            <a:custGeom>
              <a:avLst/>
              <a:gdLst>
                <a:gd name="T0" fmla="*/ 7 w 184"/>
                <a:gd name="T1" fmla="*/ 11 h 177"/>
                <a:gd name="T2" fmla="*/ 6 w 184"/>
                <a:gd name="T3" fmla="*/ 14 h 177"/>
                <a:gd name="T4" fmla="*/ 3 w 184"/>
                <a:gd name="T5" fmla="*/ 15 h 177"/>
                <a:gd name="T6" fmla="*/ 2 w 184"/>
                <a:gd name="T7" fmla="*/ 19 h 177"/>
                <a:gd name="T8" fmla="*/ 0 w 184"/>
                <a:gd name="T9" fmla="*/ 23 h 177"/>
                <a:gd name="T10" fmla="*/ 0 w 184"/>
                <a:gd name="T11" fmla="*/ 28 h 177"/>
                <a:gd name="T12" fmla="*/ 4 w 184"/>
                <a:gd name="T13" fmla="*/ 26 h 177"/>
                <a:gd name="T14" fmla="*/ 8 w 184"/>
                <a:gd name="T15" fmla="*/ 24 h 177"/>
                <a:gd name="T16" fmla="*/ 15 w 184"/>
                <a:gd name="T17" fmla="*/ 23 h 177"/>
                <a:gd name="T18" fmla="*/ 22 w 184"/>
                <a:gd name="T19" fmla="*/ 19 h 177"/>
                <a:gd name="T20" fmla="*/ 33 w 184"/>
                <a:gd name="T21" fmla="*/ 23 h 177"/>
                <a:gd name="T22" fmla="*/ 36 w 184"/>
                <a:gd name="T23" fmla="*/ 28 h 177"/>
                <a:gd name="T24" fmla="*/ 36 w 184"/>
                <a:gd name="T25" fmla="*/ 32 h 177"/>
                <a:gd name="T26" fmla="*/ 52 w 184"/>
                <a:gd name="T27" fmla="*/ 48 h 177"/>
                <a:gd name="T28" fmla="*/ 61 w 184"/>
                <a:gd name="T29" fmla="*/ 48 h 177"/>
                <a:gd name="T30" fmla="*/ 69 w 184"/>
                <a:gd name="T31" fmla="*/ 55 h 177"/>
                <a:gd name="T32" fmla="*/ 72 w 184"/>
                <a:gd name="T33" fmla="*/ 62 h 177"/>
                <a:gd name="T34" fmla="*/ 67 w 184"/>
                <a:gd name="T35" fmla="*/ 67 h 177"/>
                <a:gd name="T36" fmla="*/ 69 w 184"/>
                <a:gd name="T37" fmla="*/ 73 h 177"/>
                <a:gd name="T38" fmla="*/ 77 w 184"/>
                <a:gd name="T39" fmla="*/ 64 h 177"/>
                <a:gd name="T40" fmla="*/ 74 w 184"/>
                <a:gd name="T41" fmla="*/ 56 h 177"/>
                <a:gd name="T42" fmla="*/ 74 w 184"/>
                <a:gd name="T43" fmla="*/ 50 h 177"/>
                <a:gd name="T44" fmla="*/ 79 w 184"/>
                <a:gd name="T45" fmla="*/ 55 h 177"/>
                <a:gd name="T46" fmla="*/ 83 w 184"/>
                <a:gd name="T47" fmla="*/ 58 h 177"/>
                <a:gd name="T48" fmla="*/ 83 w 184"/>
                <a:gd name="T49" fmla="*/ 52 h 177"/>
                <a:gd name="T50" fmla="*/ 74 w 184"/>
                <a:gd name="T51" fmla="*/ 45 h 177"/>
                <a:gd name="T52" fmla="*/ 72 w 184"/>
                <a:gd name="T53" fmla="*/ 45 h 177"/>
                <a:gd name="T54" fmla="*/ 69 w 184"/>
                <a:gd name="T55" fmla="*/ 40 h 177"/>
                <a:gd name="T56" fmla="*/ 63 w 184"/>
                <a:gd name="T57" fmla="*/ 38 h 177"/>
                <a:gd name="T58" fmla="*/ 58 w 184"/>
                <a:gd name="T59" fmla="*/ 34 h 177"/>
                <a:gd name="T60" fmla="*/ 52 w 184"/>
                <a:gd name="T61" fmla="*/ 31 h 177"/>
                <a:gd name="T62" fmla="*/ 47 w 184"/>
                <a:gd name="T63" fmla="*/ 25 h 177"/>
                <a:gd name="T64" fmla="*/ 44 w 184"/>
                <a:gd name="T65" fmla="*/ 19 h 177"/>
                <a:gd name="T66" fmla="*/ 44 w 184"/>
                <a:gd name="T67" fmla="*/ 18 h 177"/>
                <a:gd name="T68" fmla="*/ 44 w 184"/>
                <a:gd name="T69" fmla="*/ 13 h 177"/>
                <a:gd name="T70" fmla="*/ 47 w 184"/>
                <a:gd name="T71" fmla="*/ 13 h 177"/>
                <a:gd name="T72" fmla="*/ 49 w 184"/>
                <a:gd name="T73" fmla="*/ 8 h 177"/>
                <a:gd name="T74" fmla="*/ 52 w 184"/>
                <a:gd name="T75" fmla="*/ 5 h 177"/>
                <a:gd name="T76" fmla="*/ 52 w 184"/>
                <a:gd name="T77" fmla="*/ 3 h 177"/>
                <a:gd name="T78" fmla="*/ 42 w 184"/>
                <a:gd name="T79" fmla="*/ 0 h 177"/>
                <a:gd name="T80" fmla="*/ 38 w 184"/>
                <a:gd name="T81" fmla="*/ 5 h 177"/>
                <a:gd name="T82" fmla="*/ 31 w 184"/>
                <a:gd name="T83" fmla="*/ 3 h 177"/>
                <a:gd name="T84" fmla="*/ 27 w 184"/>
                <a:gd name="T85" fmla="*/ 0 h 177"/>
                <a:gd name="T86" fmla="*/ 22 w 184"/>
                <a:gd name="T87" fmla="*/ 5 h 177"/>
                <a:gd name="T88" fmla="*/ 17 w 184"/>
                <a:gd name="T89" fmla="*/ 5 h 177"/>
                <a:gd name="T90" fmla="*/ 16 w 184"/>
                <a:gd name="T91" fmla="*/ 9 h 177"/>
                <a:gd name="T92" fmla="*/ 13 w 184"/>
                <a:gd name="T93" fmla="*/ 13 h 177"/>
                <a:gd name="T94" fmla="*/ 9 w 184"/>
                <a:gd name="T95" fmla="*/ 13 h 177"/>
                <a:gd name="T96" fmla="*/ 7 w 184"/>
                <a:gd name="T97" fmla="*/ 11 h 177"/>
                <a:gd name="T98" fmla="*/ 7 w 184"/>
                <a:gd name="T99" fmla="*/ 11 h 17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84" h="177">
                  <a:moveTo>
                    <a:pt x="14" y="25"/>
                  </a:moveTo>
                  <a:lnTo>
                    <a:pt x="12" y="35"/>
                  </a:lnTo>
                  <a:lnTo>
                    <a:pt x="5" y="37"/>
                  </a:lnTo>
                  <a:lnTo>
                    <a:pt x="2" y="48"/>
                  </a:lnTo>
                  <a:lnTo>
                    <a:pt x="0" y="55"/>
                  </a:lnTo>
                  <a:lnTo>
                    <a:pt x="0" y="68"/>
                  </a:lnTo>
                  <a:lnTo>
                    <a:pt x="9" y="63"/>
                  </a:lnTo>
                  <a:lnTo>
                    <a:pt x="17" y="60"/>
                  </a:lnTo>
                  <a:lnTo>
                    <a:pt x="32" y="55"/>
                  </a:lnTo>
                  <a:lnTo>
                    <a:pt x="49" y="48"/>
                  </a:lnTo>
                  <a:lnTo>
                    <a:pt x="74" y="55"/>
                  </a:lnTo>
                  <a:lnTo>
                    <a:pt x="80" y="68"/>
                  </a:lnTo>
                  <a:lnTo>
                    <a:pt x="80" y="78"/>
                  </a:lnTo>
                  <a:lnTo>
                    <a:pt x="115" y="117"/>
                  </a:lnTo>
                  <a:lnTo>
                    <a:pt x="134" y="118"/>
                  </a:lnTo>
                  <a:lnTo>
                    <a:pt x="152" y="135"/>
                  </a:lnTo>
                  <a:lnTo>
                    <a:pt x="159" y="153"/>
                  </a:lnTo>
                  <a:lnTo>
                    <a:pt x="150" y="165"/>
                  </a:lnTo>
                  <a:lnTo>
                    <a:pt x="152" y="177"/>
                  </a:lnTo>
                  <a:lnTo>
                    <a:pt x="169" y="157"/>
                  </a:lnTo>
                  <a:lnTo>
                    <a:pt x="164" y="138"/>
                  </a:lnTo>
                  <a:lnTo>
                    <a:pt x="165" y="123"/>
                  </a:lnTo>
                  <a:lnTo>
                    <a:pt x="175" y="135"/>
                  </a:lnTo>
                  <a:lnTo>
                    <a:pt x="184" y="140"/>
                  </a:lnTo>
                  <a:lnTo>
                    <a:pt x="184" y="128"/>
                  </a:lnTo>
                  <a:lnTo>
                    <a:pt x="165" y="110"/>
                  </a:lnTo>
                  <a:lnTo>
                    <a:pt x="159" y="110"/>
                  </a:lnTo>
                  <a:lnTo>
                    <a:pt x="152" y="98"/>
                  </a:lnTo>
                  <a:lnTo>
                    <a:pt x="140" y="92"/>
                  </a:lnTo>
                  <a:lnTo>
                    <a:pt x="129" y="85"/>
                  </a:lnTo>
                  <a:lnTo>
                    <a:pt x="115" y="75"/>
                  </a:lnTo>
                  <a:lnTo>
                    <a:pt x="104" y="62"/>
                  </a:lnTo>
                  <a:lnTo>
                    <a:pt x="97" y="48"/>
                  </a:lnTo>
                  <a:lnTo>
                    <a:pt x="97" y="43"/>
                  </a:lnTo>
                  <a:lnTo>
                    <a:pt x="97" y="30"/>
                  </a:lnTo>
                  <a:lnTo>
                    <a:pt x="104" y="30"/>
                  </a:lnTo>
                  <a:lnTo>
                    <a:pt x="110" y="18"/>
                  </a:lnTo>
                  <a:lnTo>
                    <a:pt x="115" y="12"/>
                  </a:lnTo>
                  <a:lnTo>
                    <a:pt x="115" y="7"/>
                  </a:lnTo>
                  <a:lnTo>
                    <a:pt x="92" y="0"/>
                  </a:lnTo>
                  <a:lnTo>
                    <a:pt x="85" y="12"/>
                  </a:lnTo>
                  <a:lnTo>
                    <a:pt x="67" y="7"/>
                  </a:lnTo>
                  <a:lnTo>
                    <a:pt x="60" y="0"/>
                  </a:lnTo>
                  <a:lnTo>
                    <a:pt x="49" y="12"/>
                  </a:lnTo>
                  <a:lnTo>
                    <a:pt x="39" y="12"/>
                  </a:lnTo>
                  <a:lnTo>
                    <a:pt x="35" y="23"/>
                  </a:lnTo>
                  <a:lnTo>
                    <a:pt x="27" y="30"/>
                  </a:lnTo>
                  <a:lnTo>
                    <a:pt x="19" y="30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7" name="Freeform 424"/>
            <p:cNvSpPr>
              <a:spLocks/>
            </p:cNvSpPr>
            <p:nvPr/>
          </p:nvSpPr>
          <p:spPr bwMode="auto">
            <a:xfrm>
              <a:off x="2700" y="2181"/>
              <a:ext cx="157" cy="148"/>
            </a:xfrm>
            <a:custGeom>
              <a:avLst/>
              <a:gdLst>
                <a:gd name="T0" fmla="*/ 7 w 184"/>
                <a:gd name="T1" fmla="*/ 11 h 177"/>
                <a:gd name="T2" fmla="*/ 6 w 184"/>
                <a:gd name="T3" fmla="*/ 14 h 177"/>
                <a:gd name="T4" fmla="*/ 3 w 184"/>
                <a:gd name="T5" fmla="*/ 15 h 177"/>
                <a:gd name="T6" fmla="*/ 2 w 184"/>
                <a:gd name="T7" fmla="*/ 19 h 177"/>
                <a:gd name="T8" fmla="*/ 0 w 184"/>
                <a:gd name="T9" fmla="*/ 23 h 177"/>
                <a:gd name="T10" fmla="*/ 0 w 184"/>
                <a:gd name="T11" fmla="*/ 28 h 177"/>
                <a:gd name="T12" fmla="*/ 4 w 184"/>
                <a:gd name="T13" fmla="*/ 26 h 177"/>
                <a:gd name="T14" fmla="*/ 8 w 184"/>
                <a:gd name="T15" fmla="*/ 24 h 177"/>
                <a:gd name="T16" fmla="*/ 15 w 184"/>
                <a:gd name="T17" fmla="*/ 23 h 177"/>
                <a:gd name="T18" fmla="*/ 22 w 184"/>
                <a:gd name="T19" fmla="*/ 19 h 177"/>
                <a:gd name="T20" fmla="*/ 33 w 184"/>
                <a:gd name="T21" fmla="*/ 23 h 177"/>
                <a:gd name="T22" fmla="*/ 36 w 184"/>
                <a:gd name="T23" fmla="*/ 28 h 177"/>
                <a:gd name="T24" fmla="*/ 36 w 184"/>
                <a:gd name="T25" fmla="*/ 32 h 177"/>
                <a:gd name="T26" fmla="*/ 52 w 184"/>
                <a:gd name="T27" fmla="*/ 48 h 177"/>
                <a:gd name="T28" fmla="*/ 61 w 184"/>
                <a:gd name="T29" fmla="*/ 48 h 177"/>
                <a:gd name="T30" fmla="*/ 69 w 184"/>
                <a:gd name="T31" fmla="*/ 55 h 177"/>
                <a:gd name="T32" fmla="*/ 72 w 184"/>
                <a:gd name="T33" fmla="*/ 62 h 177"/>
                <a:gd name="T34" fmla="*/ 67 w 184"/>
                <a:gd name="T35" fmla="*/ 67 h 177"/>
                <a:gd name="T36" fmla="*/ 69 w 184"/>
                <a:gd name="T37" fmla="*/ 73 h 177"/>
                <a:gd name="T38" fmla="*/ 77 w 184"/>
                <a:gd name="T39" fmla="*/ 64 h 177"/>
                <a:gd name="T40" fmla="*/ 74 w 184"/>
                <a:gd name="T41" fmla="*/ 56 h 177"/>
                <a:gd name="T42" fmla="*/ 74 w 184"/>
                <a:gd name="T43" fmla="*/ 50 h 177"/>
                <a:gd name="T44" fmla="*/ 79 w 184"/>
                <a:gd name="T45" fmla="*/ 55 h 177"/>
                <a:gd name="T46" fmla="*/ 83 w 184"/>
                <a:gd name="T47" fmla="*/ 58 h 177"/>
                <a:gd name="T48" fmla="*/ 83 w 184"/>
                <a:gd name="T49" fmla="*/ 52 h 177"/>
                <a:gd name="T50" fmla="*/ 74 w 184"/>
                <a:gd name="T51" fmla="*/ 45 h 177"/>
                <a:gd name="T52" fmla="*/ 72 w 184"/>
                <a:gd name="T53" fmla="*/ 45 h 177"/>
                <a:gd name="T54" fmla="*/ 69 w 184"/>
                <a:gd name="T55" fmla="*/ 40 h 177"/>
                <a:gd name="T56" fmla="*/ 63 w 184"/>
                <a:gd name="T57" fmla="*/ 38 h 177"/>
                <a:gd name="T58" fmla="*/ 58 w 184"/>
                <a:gd name="T59" fmla="*/ 34 h 177"/>
                <a:gd name="T60" fmla="*/ 52 w 184"/>
                <a:gd name="T61" fmla="*/ 31 h 177"/>
                <a:gd name="T62" fmla="*/ 47 w 184"/>
                <a:gd name="T63" fmla="*/ 25 h 177"/>
                <a:gd name="T64" fmla="*/ 44 w 184"/>
                <a:gd name="T65" fmla="*/ 19 h 177"/>
                <a:gd name="T66" fmla="*/ 44 w 184"/>
                <a:gd name="T67" fmla="*/ 18 h 177"/>
                <a:gd name="T68" fmla="*/ 44 w 184"/>
                <a:gd name="T69" fmla="*/ 13 h 177"/>
                <a:gd name="T70" fmla="*/ 47 w 184"/>
                <a:gd name="T71" fmla="*/ 13 h 177"/>
                <a:gd name="T72" fmla="*/ 49 w 184"/>
                <a:gd name="T73" fmla="*/ 8 h 177"/>
                <a:gd name="T74" fmla="*/ 52 w 184"/>
                <a:gd name="T75" fmla="*/ 5 h 177"/>
                <a:gd name="T76" fmla="*/ 52 w 184"/>
                <a:gd name="T77" fmla="*/ 3 h 177"/>
                <a:gd name="T78" fmla="*/ 42 w 184"/>
                <a:gd name="T79" fmla="*/ 0 h 177"/>
                <a:gd name="T80" fmla="*/ 38 w 184"/>
                <a:gd name="T81" fmla="*/ 5 h 177"/>
                <a:gd name="T82" fmla="*/ 31 w 184"/>
                <a:gd name="T83" fmla="*/ 3 h 177"/>
                <a:gd name="T84" fmla="*/ 27 w 184"/>
                <a:gd name="T85" fmla="*/ 0 h 177"/>
                <a:gd name="T86" fmla="*/ 22 w 184"/>
                <a:gd name="T87" fmla="*/ 5 h 177"/>
                <a:gd name="T88" fmla="*/ 17 w 184"/>
                <a:gd name="T89" fmla="*/ 5 h 177"/>
                <a:gd name="T90" fmla="*/ 16 w 184"/>
                <a:gd name="T91" fmla="*/ 9 h 177"/>
                <a:gd name="T92" fmla="*/ 13 w 184"/>
                <a:gd name="T93" fmla="*/ 13 h 177"/>
                <a:gd name="T94" fmla="*/ 9 w 184"/>
                <a:gd name="T95" fmla="*/ 13 h 177"/>
                <a:gd name="T96" fmla="*/ 7 w 184"/>
                <a:gd name="T97" fmla="*/ 11 h 177"/>
                <a:gd name="T98" fmla="*/ 7 w 184"/>
                <a:gd name="T99" fmla="*/ 11 h 17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84" h="177">
                  <a:moveTo>
                    <a:pt x="14" y="25"/>
                  </a:moveTo>
                  <a:lnTo>
                    <a:pt x="12" y="35"/>
                  </a:lnTo>
                  <a:lnTo>
                    <a:pt x="5" y="37"/>
                  </a:lnTo>
                  <a:lnTo>
                    <a:pt x="2" y="48"/>
                  </a:lnTo>
                  <a:lnTo>
                    <a:pt x="0" y="55"/>
                  </a:lnTo>
                  <a:lnTo>
                    <a:pt x="0" y="68"/>
                  </a:lnTo>
                  <a:lnTo>
                    <a:pt x="9" y="63"/>
                  </a:lnTo>
                  <a:lnTo>
                    <a:pt x="17" y="60"/>
                  </a:lnTo>
                  <a:lnTo>
                    <a:pt x="32" y="55"/>
                  </a:lnTo>
                  <a:lnTo>
                    <a:pt x="49" y="48"/>
                  </a:lnTo>
                  <a:lnTo>
                    <a:pt x="74" y="55"/>
                  </a:lnTo>
                  <a:lnTo>
                    <a:pt x="80" y="68"/>
                  </a:lnTo>
                  <a:lnTo>
                    <a:pt x="80" y="78"/>
                  </a:lnTo>
                  <a:lnTo>
                    <a:pt x="115" y="117"/>
                  </a:lnTo>
                  <a:lnTo>
                    <a:pt x="134" y="118"/>
                  </a:lnTo>
                  <a:lnTo>
                    <a:pt x="152" y="135"/>
                  </a:lnTo>
                  <a:lnTo>
                    <a:pt x="159" y="153"/>
                  </a:lnTo>
                  <a:lnTo>
                    <a:pt x="150" y="165"/>
                  </a:lnTo>
                  <a:lnTo>
                    <a:pt x="152" y="177"/>
                  </a:lnTo>
                  <a:lnTo>
                    <a:pt x="169" y="157"/>
                  </a:lnTo>
                  <a:lnTo>
                    <a:pt x="164" y="138"/>
                  </a:lnTo>
                  <a:lnTo>
                    <a:pt x="165" y="123"/>
                  </a:lnTo>
                  <a:lnTo>
                    <a:pt x="175" y="135"/>
                  </a:lnTo>
                  <a:lnTo>
                    <a:pt x="184" y="140"/>
                  </a:lnTo>
                  <a:lnTo>
                    <a:pt x="184" y="128"/>
                  </a:lnTo>
                  <a:lnTo>
                    <a:pt x="165" y="110"/>
                  </a:lnTo>
                  <a:lnTo>
                    <a:pt x="159" y="110"/>
                  </a:lnTo>
                  <a:lnTo>
                    <a:pt x="152" y="98"/>
                  </a:lnTo>
                  <a:lnTo>
                    <a:pt x="140" y="92"/>
                  </a:lnTo>
                  <a:lnTo>
                    <a:pt x="129" y="85"/>
                  </a:lnTo>
                  <a:lnTo>
                    <a:pt x="115" y="75"/>
                  </a:lnTo>
                  <a:lnTo>
                    <a:pt x="104" y="62"/>
                  </a:lnTo>
                  <a:lnTo>
                    <a:pt x="97" y="48"/>
                  </a:lnTo>
                  <a:lnTo>
                    <a:pt x="97" y="43"/>
                  </a:lnTo>
                  <a:lnTo>
                    <a:pt x="97" y="30"/>
                  </a:lnTo>
                  <a:lnTo>
                    <a:pt x="104" y="30"/>
                  </a:lnTo>
                  <a:lnTo>
                    <a:pt x="110" y="18"/>
                  </a:lnTo>
                  <a:lnTo>
                    <a:pt x="115" y="12"/>
                  </a:lnTo>
                  <a:lnTo>
                    <a:pt x="115" y="7"/>
                  </a:lnTo>
                  <a:lnTo>
                    <a:pt x="92" y="0"/>
                  </a:lnTo>
                  <a:lnTo>
                    <a:pt x="85" y="12"/>
                  </a:lnTo>
                  <a:lnTo>
                    <a:pt x="67" y="7"/>
                  </a:lnTo>
                  <a:lnTo>
                    <a:pt x="60" y="0"/>
                  </a:lnTo>
                  <a:lnTo>
                    <a:pt x="49" y="12"/>
                  </a:lnTo>
                  <a:lnTo>
                    <a:pt x="39" y="12"/>
                  </a:lnTo>
                  <a:lnTo>
                    <a:pt x="35" y="23"/>
                  </a:lnTo>
                  <a:lnTo>
                    <a:pt x="27" y="30"/>
                  </a:lnTo>
                  <a:lnTo>
                    <a:pt x="19" y="30"/>
                  </a:lnTo>
                  <a:lnTo>
                    <a:pt x="14" y="2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8" name="Freeform 425"/>
            <p:cNvSpPr>
              <a:spLocks/>
            </p:cNvSpPr>
            <p:nvPr/>
          </p:nvSpPr>
          <p:spPr bwMode="auto">
            <a:xfrm>
              <a:off x="2780" y="2323"/>
              <a:ext cx="40" cy="24"/>
            </a:xfrm>
            <a:custGeom>
              <a:avLst/>
              <a:gdLst>
                <a:gd name="T0" fmla="*/ 30 w 43"/>
                <a:gd name="T1" fmla="*/ 3 h 28"/>
                <a:gd name="T2" fmla="*/ 26 w 43"/>
                <a:gd name="T3" fmla="*/ 6 h 28"/>
                <a:gd name="T4" fmla="*/ 28 w 43"/>
                <a:gd name="T5" fmla="*/ 13 h 28"/>
                <a:gd name="T6" fmla="*/ 13 w 43"/>
                <a:gd name="T7" fmla="*/ 11 h 28"/>
                <a:gd name="T8" fmla="*/ 0 w 43"/>
                <a:gd name="T9" fmla="*/ 11 h 28"/>
                <a:gd name="T10" fmla="*/ 0 w 43"/>
                <a:gd name="T11" fmla="*/ 8 h 28"/>
                <a:gd name="T12" fmla="*/ 7 w 43"/>
                <a:gd name="T13" fmla="*/ 3 h 28"/>
                <a:gd name="T14" fmla="*/ 13 w 43"/>
                <a:gd name="T15" fmla="*/ 3 h 28"/>
                <a:gd name="T16" fmla="*/ 22 w 43"/>
                <a:gd name="T17" fmla="*/ 0 h 28"/>
                <a:gd name="T18" fmla="*/ 26 w 43"/>
                <a:gd name="T19" fmla="*/ 0 h 28"/>
                <a:gd name="T20" fmla="*/ 30 w 43"/>
                <a:gd name="T21" fmla="*/ 3 h 28"/>
                <a:gd name="T22" fmla="*/ 30 w 43"/>
                <a:gd name="T23" fmla="*/ 3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28">
                  <a:moveTo>
                    <a:pt x="43" y="7"/>
                  </a:moveTo>
                  <a:lnTo>
                    <a:pt x="37" y="13"/>
                  </a:lnTo>
                  <a:lnTo>
                    <a:pt x="40" y="28"/>
                  </a:lnTo>
                  <a:lnTo>
                    <a:pt x="18" y="25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7" y="7"/>
                  </a:lnTo>
                  <a:lnTo>
                    <a:pt x="18" y="7"/>
                  </a:lnTo>
                  <a:lnTo>
                    <a:pt x="32" y="0"/>
                  </a:lnTo>
                  <a:lnTo>
                    <a:pt x="37" y="0"/>
                  </a:lnTo>
                  <a:lnTo>
                    <a:pt x="43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9" name="Freeform 426"/>
            <p:cNvSpPr>
              <a:spLocks/>
            </p:cNvSpPr>
            <p:nvPr/>
          </p:nvSpPr>
          <p:spPr bwMode="auto">
            <a:xfrm>
              <a:off x="2780" y="2323"/>
              <a:ext cx="40" cy="24"/>
            </a:xfrm>
            <a:custGeom>
              <a:avLst/>
              <a:gdLst>
                <a:gd name="T0" fmla="*/ 30 w 43"/>
                <a:gd name="T1" fmla="*/ 3 h 28"/>
                <a:gd name="T2" fmla="*/ 26 w 43"/>
                <a:gd name="T3" fmla="*/ 6 h 28"/>
                <a:gd name="T4" fmla="*/ 28 w 43"/>
                <a:gd name="T5" fmla="*/ 13 h 28"/>
                <a:gd name="T6" fmla="*/ 13 w 43"/>
                <a:gd name="T7" fmla="*/ 11 h 28"/>
                <a:gd name="T8" fmla="*/ 0 w 43"/>
                <a:gd name="T9" fmla="*/ 11 h 28"/>
                <a:gd name="T10" fmla="*/ 0 w 43"/>
                <a:gd name="T11" fmla="*/ 8 h 28"/>
                <a:gd name="T12" fmla="*/ 7 w 43"/>
                <a:gd name="T13" fmla="*/ 3 h 28"/>
                <a:gd name="T14" fmla="*/ 13 w 43"/>
                <a:gd name="T15" fmla="*/ 3 h 28"/>
                <a:gd name="T16" fmla="*/ 22 w 43"/>
                <a:gd name="T17" fmla="*/ 0 h 28"/>
                <a:gd name="T18" fmla="*/ 26 w 43"/>
                <a:gd name="T19" fmla="*/ 0 h 28"/>
                <a:gd name="T20" fmla="*/ 30 w 43"/>
                <a:gd name="T21" fmla="*/ 3 h 28"/>
                <a:gd name="T22" fmla="*/ 30 w 43"/>
                <a:gd name="T23" fmla="*/ 3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28">
                  <a:moveTo>
                    <a:pt x="43" y="7"/>
                  </a:moveTo>
                  <a:lnTo>
                    <a:pt x="37" y="13"/>
                  </a:lnTo>
                  <a:lnTo>
                    <a:pt x="40" y="28"/>
                  </a:lnTo>
                  <a:lnTo>
                    <a:pt x="18" y="25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7" y="7"/>
                  </a:lnTo>
                  <a:lnTo>
                    <a:pt x="18" y="7"/>
                  </a:lnTo>
                  <a:lnTo>
                    <a:pt x="32" y="0"/>
                  </a:lnTo>
                  <a:lnTo>
                    <a:pt x="37" y="0"/>
                  </a:lnTo>
                  <a:lnTo>
                    <a:pt x="43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0" name="Freeform 427"/>
            <p:cNvSpPr>
              <a:spLocks/>
            </p:cNvSpPr>
            <p:nvPr/>
          </p:nvSpPr>
          <p:spPr bwMode="auto">
            <a:xfrm>
              <a:off x="2576" y="2115"/>
              <a:ext cx="151" cy="151"/>
            </a:xfrm>
            <a:custGeom>
              <a:avLst/>
              <a:gdLst>
                <a:gd name="T0" fmla="*/ 66 w 177"/>
                <a:gd name="T1" fmla="*/ 56 h 183"/>
                <a:gd name="T2" fmla="*/ 57 w 177"/>
                <a:gd name="T3" fmla="*/ 56 h 183"/>
                <a:gd name="T4" fmla="*/ 57 w 177"/>
                <a:gd name="T5" fmla="*/ 61 h 183"/>
                <a:gd name="T6" fmla="*/ 52 w 177"/>
                <a:gd name="T7" fmla="*/ 61 h 183"/>
                <a:gd name="T8" fmla="*/ 49 w 177"/>
                <a:gd name="T9" fmla="*/ 63 h 183"/>
                <a:gd name="T10" fmla="*/ 47 w 177"/>
                <a:gd name="T11" fmla="*/ 70 h 183"/>
                <a:gd name="T12" fmla="*/ 32 w 177"/>
                <a:gd name="T13" fmla="*/ 61 h 183"/>
                <a:gd name="T14" fmla="*/ 31 w 177"/>
                <a:gd name="T15" fmla="*/ 59 h 183"/>
                <a:gd name="T16" fmla="*/ 14 w 177"/>
                <a:gd name="T17" fmla="*/ 56 h 183"/>
                <a:gd name="T18" fmla="*/ 9 w 177"/>
                <a:gd name="T19" fmla="*/ 52 h 183"/>
                <a:gd name="T20" fmla="*/ 14 w 177"/>
                <a:gd name="T21" fmla="*/ 46 h 183"/>
                <a:gd name="T22" fmla="*/ 16 w 177"/>
                <a:gd name="T23" fmla="*/ 33 h 183"/>
                <a:gd name="T24" fmla="*/ 14 w 177"/>
                <a:gd name="T25" fmla="*/ 28 h 183"/>
                <a:gd name="T26" fmla="*/ 9 w 177"/>
                <a:gd name="T27" fmla="*/ 24 h 183"/>
                <a:gd name="T28" fmla="*/ 0 w 177"/>
                <a:gd name="T29" fmla="*/ 19 h 183"/>
                <a:gd name="T30" fmla="*/ 0 w 177"/>
                <a:gd name="T31" fmla="*/ 17 h 183"/>
                <a:gd name="T32" fmla="*/ 6 w 177"/>
                <a:gd name="T33" fmla="*/ 14 h 183"/>
                <a:gd name="T34" fmla="*/ 11 w 177"/>
                <a:gd name="T35" fmla="*/ 12 h 183"/>
                <a:gd name="T36" fmla="*/ 25 w 177"/>
                <a:gd name="T37" fmla="*/ 7 h 183"/>
                <a:gd name="T38" fmla="*/ 32 w 177"/>
                <a:gd name="T39" fmla="*/ 7 h 183"/>
                <a:gd name="T40" fmla="*/ 44 w 177"/>
                <a:gd name="T41" fmla="*/ 0 h 183"/>
                <a:gd name="T42" fmla="*/ 52 w 177"/>
                <a:gd name="T43" fmla="*/ 5 h 183"/>
                <a:gd name="T44" fmla="*/ 66 w 177"/>
                <a:gd name="T45" fmla="*/ 12 h 183"/>
                <a:gd name="T46" fmla="*/ 70 w 177"/>
                <a:gd name="T47" fmla="*/ 14 h 183"/>
                <a:gd name="T48" fmla="*/ 74 w 177"/>
                <a:gd name="T49" fmla="*/ 14 h 183"/>
                <a:gd name="T50" fmla="*/ 78 w 177"/>
                <a:gd name="T51" fmla="*/ 17 h 183"/>
                <a:gd name="T52" fmla="*/ 78 w 177"/>
                <a:gd name="T53" fmla="*/ 21 h 183"/>
                <a:gd name="T54" fmla="*/ 80 w 177"/>
                <a:gd name="T55" fmla="*/ 26 h 183"/>
                <a:gd name="T56" fmla="*/ 71 w 177"/>
                <a:gd name="T57" fmla="*/ 31 h 183"/>
                <a:gd name="T58" fmla="*/ 69 w 177"/>
                <a:gd name="T59" fmla="*/ 33 h 183"/>
                <a:gd name="T60" fmla="*/ 71 w 177"/>
                <a:gd name="T61" fmla="*/ 42 h 183"/>
                <a:gd name="T62" fmla="*/ 71 w 177"/>
                <a:gd name="T63" fmla="*/ 45 h 183"/>
                <a:gd name="T64" fmla="*/ 69 w 177"/>
                <a:gd name="T65" fmla="*/ 45 h 183"/>
                <a:gd name="T66" fmla="*/ 66 w 177"/>
                <a:gd name="T67" fmla="*/ 52 h 183"/>
                <a:gd name="T68" fmla="*/ 66 w 177"/>
                <a:gd name="T69" fmla="*/ 56 h 183"/>
                <a:gd name="T70" fmla="*/ 66 w 177"/>
                <a:gd name="T71" fmla="*/ 56 h 18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77" h="183">
                  <a:moveTo>
                    <a:pt x="145" y="148"/>
                  </a:moveTo>
                  <a:lnTo>
                    <a:pt x="127" y="148"/>
                  </a:lnTo>
                  <a:lnTo>
                    <a:pt x="127" y="160"/>
                  </a:lnTo>
                  <a:lnTo>
                    <a:pt x="115" y="160"/>
                  </a:lnTo>
                  <a:lnTo>
                    <a:pt x="109" y="165"/>
                  </a:lnTo>
                  <a:lnTo>
                    <a:pt x="104" y="183"/>
                  </a:lnTo>
                  <a:lnTo>
                    <a:pt x="72" y="160"/>
                  </a:lnTo>
                  <a:lnTo>
                    <a:pt x="67" y="153"/>
                  </a:lnTo>
                  <a:lnTo>
                    <a:pt x="30" y="148"/>
                  </a:lnTo>
                  <a:lnTo>
                    <a:pt x="19" y="135"/>
                  </a:lnTo>
                  <a:lnTo>
                    <a:pt x="30" y="123"/>
                  </a:lnTo>
                  <a:lnTo>
                    <a:pt x="35" y="87"/>
                  </a:lnTo>
                  <a:lnTo>
                    <a:pt x="30" y="73"/>
                  </a:lnTo>
                  <a:lnTo>
                    <a:pt x="19" y="62"/>
                  </a:lnTo>
                  <a:lnTo>
                    <a:pt x="0" y="50"/>
                  </a:lnTo>
                  <a:lnTo>
                    <a:pt x="0" y="43"/>
                  </a:lnTo>
                  <a:lnTo>
                    <a:pt x="12" y="38"/>
                  </a:lnTo>
                  <a:lnTo>
                    <a:pt x="24" y="32"/>
                  </a:lnTo>
                  <a:lnTo>
                    <a:pt x="55" y="18"/>
                  </a:lnTo>
                  <a:lnTo>
                    <a:pt x="72" y="18"/>
                  </a:lnTo>
                  <a:lnTo>
                    <a:pt x="97" y="0"/>
                  </a:lnTo>
                  <a:lnTo>
                    <a:pt x="114" y="13"/>
                  </a:lnTo>
                  <a:lnTo>
                    <a:pt x="145" y="32"/>
                  </a:lnTo>
                  <a:lnTo>
                    <a:pt x="155" y="38"/>
                  </a:lnTo>
                  <a:lnTo>
                    <a:pt x="165" y="37"/>
                  </a:lnTo>
                  <a:lnTo>
                    <a:pt x="175" y="43"/>
                  </a:lnTo>
                  <a:lnTo>
                    <a:pt x="175" y="53"/>
                  </a:lnTo>
                  <a:lnTo>
                    <a:pt x="177" y="65"/>
                  </a:lnTo>
                  <a:lnTo>
                    <a:pt x="157" y="80"/>
                  </a:lnTo>
                  <a:lnTo>
                    <a:pt x="152" y="87"/>
                  </a:lnTo>
                  <a:lnTo>
                    <a:pt x="157" y="110"/>
                  </a:lnTo>
                  <a:lnTo>
                    <a:pt x="157" y="117"/>
                  </a:lnTo>
                  <a:lnTo>
                    <a:pt x="152" y="117"/>
                  </a:lnTo>
                  <a:lnTo>
                    <a:pt x="145" y="135"/>
                  </a:lnTo>
                  <a:lnTo>
                    <a:pt x="145" y="14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1" name="Freeform 428"/>
            <p:cNvSpPr>
              <a:spLocks/>
            </p:cNvSpPr>
            <p:nvPr/>
          </p:nvSpPr>
          <p:spPr bwMode="auto">
            <a:xfrm>
              <a:off x="2576" y="2115"/>
              <a:ext cx="151" cy="151"/>
            </a:xfrm>
            <a:custGeom>
              <a:avLst/>
              <a:gdLst>
                <a:gd name="T0" fmla="*/ 66 w 177"/>
                <a:gd name="T1" fmla="*/ 56 h 183"/>
                <a:gd name="T2" fmla="*/ 57 w 177"/>
                <a:gd name="T3" fmla="*/ 56 h 183"/>
                <a:gd name="T4" fmla="*/ 57 w 177"/>
                <a:gd name="T5" fmla="*/ 61 h 183"/>
                <a:gd name="T6" fmla="*/ 52 w 177"/>
                <a:gd name="T7" fmla="*/ 61 h 183"/>
                <a:gd name="T8" fmla="*/ 49 w 177"/>
                <a:gd name="T9" fmla="*/ 63 h 183"/>
                <a:gd name="T10" fmla="*/ 47 w 177"/>
                <a:gd name="T11" fmla="*/ 70 h 183"/>
                <a:gd name="T12" fmla="*/ 32 w 177"/>
                <a:gd name="T13" fmla="*/ 61 h 183"/>
                <a:gd name="T14" fmla="*/ 31 w 177"/>
                <a:gd name="T15" fmla="*/ 59 h 183"/>
                <a:gd name="T16" fmla="*/ 14 w 177"/>
                <a:gd name="T17" fmla="*/ 56 h 183"/>
                <a:gd name="T18" fmla="*/ 9 w 177"/>
                <a:gd name="T19" fmla="*/ 52 h 183"/>
                <a:gd name="T20" fmla="*/ 14 w 177"/>
                <a:gd name="T21" fmla="*/ 46 h 183"/>
                <a:gd name="T22" fmla="*/ 16 w 177"/>
                <a:gd name="T23" fmla="*/ 33 h 183"/>
                <a:gd name="T24" fmla="*/ 14 w 177"/>
                <a:gd name="T25" fmla="*/ 28 h 183"/>
                <a:gd name="T26" fmla="*/ 9 w 177"/>
                <a:gd name="T27" fmla="*/ 24 h 183"/>
                <a:gd name="T28" fmla="*/ 0 w 177"/>
                <a:gd name="T29" fmla="*/ 19 h 183"/>
                <a:gd name="T30" fmla="*/ 0 w 177"/>
                <a:gd name="T31" fmla="*/ 17 h 183"/>
                <a:gd name="T32" fmla="*/ 6 w 177"/>
                <a:gd name="T33" fmla="*/ 14 h 183"/>
                <a:gd name="T34" fmla="*/ 11 w 177"/>
                <a:gd name="T35" fmla="*/ 12 h 183"/>
                <a:gd name="T36" fmla="*/ 25 w 177"/>
                <a:gd name="T37" fmla="*/ 7 h 183"/>
                <a:gd name="T38" fmla="*/ 32 w 177"/>
                <a:gd name="T39" fmla="*/ 7 h 183"/>
                <a:gd name="T40" fmla="*/ 44 w 177"/>
                <a:gd name="T41" fmla="*/ 0 h 183"/>
                <a:gd name="T42" fmla="*/ 52 w 177"/>
                <a:gd name="T43" fmla="*/ 5 h 183"/>
                <a:gd name="T44" fmla="*/ 66 w 177"/>
                <a:gd name="T45" fmla="*/ 12 h 183"/>
                <a:gd name="T46" fmla="*/ 70 w 177"/>
                <a:gd name="T47" fmla="*/ 14 h 183"/>
                <a:gd name="T48" fmla="*/ 74 w 177"/>
                <a:gd name="T49" fmla="*/ 14 h 183"/>
                <a:gd name="T50" fmla="*/ 78 w 177"/>
                <a:gd name="T51" fmla="*/ 17 h 183"/>
                <a:gd name="T52" fmla="*/ 78 w 177"/>
                <a:gd name="T53" fmla="*/ 21 h 183"/>
                <a:gd name="T54" fmla="*/ 80 w 177"/>
                <a:gd name="T55" fmla="*/ 26 h 183"/>
                <a:gd name="T56" fmla="*/ 71 w 177"/>
                <a:gd name="T57" fmla="*/ 31 h 183"/>
                <a:gd name="T58" fmla="*/ 69 w 177"/>
                <a:gd name="T59" fmla="*/ 33 h 183"/>
                <a:gd name="T60" fmla="*/ 71 w 177"/>
                <a:gd name="T61" fmla="*/ 42 h 183"/>
                <a:gd name="T62" fmla="*/ 71 w 177"/>
                <a:gd name="T63" fmla="*/ 45 h 183"/>
                <a:gd name="T64" fmla="*/ 69 w 177"/>
                <a:gd name="T65" fmla="*/ 45 h 183"/>
                <a:gd name="T66" fmla="*/ 66 w 177"/>
                <a:gd name="T67" fmla="*/ 52 h 183"/>
                <a:gd name="T68" fmla="*/ 66 w 177"/>
                <a:gd name="T69" fmla="*/ 56 h 183"/>
                <a:gd name="T70" fmla="*/ 66 w 177"/>
                <a:gd name="T71" fmla="*/ 56 h 18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77" h="183">
                  <a:moveTo>
                    <a:pt x="145" y="148"/>
                  </a:moveTo>
                  <a:lnTo>
                    <a:pt x="127" y="148"/>
                  </a:lnTo>
                  <a:lnTo>
                    <a:pt x="127" y="160"/>
                  </a:lnTo>
                  <a:lnTo>
                    <a:pt x="115" y="160"/>
                  </a:lnTo>
                  <a:lnTo>
                    <a:pt x="109" y="165"/>
                  </a:lnTo>
                  <a:lnTo>
                    <a:pt x="104" y="183"/>
                  </a:lnTo>
                  <a:lnTo>
                    <a:pt x="72" y="160"/>
                  </a:lnTo>
                  <a:lnTo>
                    <a:pt x="67" y="153"/>
                  </a:lnTo>
                  <a:lnTo>
                    <a:pt x="30" y="148"/>
                  </a:lnTo>
                  <a:lnTo>
                    <a:pt x="19" y="135"/>
                  </a:lnTo>
                  <a:lnTo>
                    <a:pt x="30" y="123"/>
                  </a:lnTo>
                  <a:lnTo>
                    <a:pt x="35" y="87"/>
                  </a:lnTo>
                  <a:lnTo>
                    <a:pt x="30" y="73"/>
                  </a:lnTo>
                  <a:lnTo>
                    <a:pt x="19" y="62"/>
                  </a:lnTo>
                  <a:lnTo>
                    <a:pt x="0" y="50"/>
                  </a:lnTo>
                  <a:lnTo>
                    <a:pt x="0" y="43"/>
                  </a:lnTo>
                  <a:lnTo>
                    <a:pt x="12" y="38"/>
                  </a:lnTo>
                  <a:lnTo>
                    <a:pt x="24" y="32"/>
                  </a:lnTo>
                  <a:lnTo>
                    <a:pt x="55" y="18"/>
                  </a:lnTo>
                  <a:lnTo>
                    <a:pt x="72" y="18"/>
                  </a:lnTo>
                  <a:lnTo>
                    <a:pt x="97" y="0"/>
                  </a:lnTo>
                  <a:lnTo>
                    <a:pt x="114" y="13"/>
                  </a:lnTo>
                  <a:lnTo>
                    <a:pt x="145" y="32"/>
                  </a:lnTo>
                  <a:lnTo>
                    <a:pt x="155" y="38"/>
                  </a:lnTo>
                  <a:lnTo>
                    <a:pt x="165" y="37"/>
                  </a:lnTo>
                  <a:lnTo>
                    <a:pt x="175" y="43"/>
                  </a:lnTo>
                  <a:lnTo>
                    <a:pt x="175" y="53"/>
                  </a:lnTo>
                  <a:lnTo>
                    <a:pt x="177" y="65"/>
                  </a:lnTo>
                  <a:lnTo>
                    <a:pt x="157" y="80"/>
                  </a:lnTo>
                  <a:lnTo>
                    <a:pt x="152" y="87"/>
                  </a:lnTo>
                  <a:lnTo>
                    <a:pt x="157" y="110"/>
                  </a:lnTo>
                  <a:lnTo>
                    <a:pt x="157" y="117"/>
                  </a:lnTo>
                  <a:lnTo>
                    <a:pt x="152" y="117"/>
                  </a:lnTo>
                  <a:lnTo>
                    <a:pt x="145" y="135"/>
                  </a:lnTo>
                  <a:lnTo>
                    <a:pt x="145" y="14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2" name="Freeform 429"/>
            <p:cNvSpPr>
              <a:spLocks/>
            </p:cNvSpPr>
            <p:nvPr/>
          </p:nvSpPr>
          <p:spPr bwMode="auto">
            <a:xfrm>
              <a:off x="2510" y="2221"/>
              <a:ext cx="153" cy="151"/>
            </a:xfrm>
            <a:custGeom>
              <a:avLst/>
              <a:gdLst>
                <a:gd name="T0" fmla="*/ 43 w 179"/>
                <a:gd name="T1" fmla="*/ 3 h 180"/>
                <a:gd name="T2" fmla="*/ 37 w 179"/>
                <a:gd name="T3" fmla="*/ 3 h 180"/>
                <a:gd name="T4" fmla="*/ 32 w 179"/>
                <a:gd name="T5" fmla="*/ 3 h 180"/>
                <a:gd name="T6" fmla="*/ 23 w 179"/>
                <a:gd name="T7" fmla="*/ 0 h 180"/>
                <a:gd name="T8" fmla="*/ 15 w 179"/>
                <a:gd name="T9" fmla="*/ 0 h 180"/>
                <a:gd name="T10" fmla="*/ 9 w 179"/>
                <a:gd name="T11" fmla="*/ 0 h 180"/>
                <a:gd name="T12" fmla="*/ 0 w 179"/>
                <a:gd name="T13" fmla="*/ 6 h 180"/>
                <a:gd name="T14" fmla="*/ 0 w 179"/>
                <a:gd name="T15" fmla="*/ 13 h 180"/>
                <a:gd name="T16" fmla="*/ 8 w 179"/>
                <a:gd name="T17" fmla="*/ 16 h 180"/>
                <a:gd name="T18" fmla="*/ 15 w 179"/>
                <a:gd name="T19" fmla="*/ 16 h 180"/>
                <a:gd name="T20" fmla="*/ 20 w 179"/>
                <a:gd name="T21" fmla="*/ 20 h 180"/>
                <a:gd name="T22" fmla="*/ 15 w 179"/>
                <a:gd name="T23" fmla="*/ 29 h 180"/>
                <a:gd name="T24" fmla="*/ 15 w 179"/>
                <a:gd name="T25" fmla="*/ 39 h 180"/>
                <a:gd name="T26" fmla="*/ 9 w 179"/>
                <a:gd name="T27" fmla="*/ 51 h 180"/>
                <a:gd name="T28" fmla="*/ 15 w 179"/>
                <a:gd name="T29" fmla="*/ 56 h 180"/>
                <a:gd name="T30" fmla="*/ 15 w 179"/>
                <a:gd name="T31" fmla="*/ 60 h 180"/>
                <a:gd name="T32" fmla="*/ 20 w 179"/>
                <a:gd name="T33" fmla="*/ 76 h 180"/>
                <a:gd name="T34" fmla="*/ 30 w 179"/>
                <a:gd name="T35" fmla="*/ 70 h 180"/>
                <a:gd name="T36" fmla="*/ 43 w 179"/>
                <a:gd name="T37" fmla="*/ 71 h 180"/>
                <a:gd name="T38" fmla="*/ 50 w 179"/>
                <a:gd name="T39" fmla="*/ 66 h 180"/>
                <a:gd name="T40" fmla="*/ 56 w 179"/>
                <a:gd name="T41" fmla="*/ 64 h 180"/>
                <a:gd name="T42" fmla="*/ 61 w 179"/>
                <a:gd name="T43" fmla="*/ 50 h 180"/>
                <a:gd name="T44" fmla="*/ 71 w 179"/>
                <a:gd name="T45" fmla="*/ 33 h 180"/>
                <a:gd name="T46" fmla="*/ 82 w 179"/>
                <a:gd name="T47" fmla="*/ 23 h 180"/>
                <a:gd name="T48" fmla="*/ 64 w 179"/>
                <a:gd name="T49" fmla="*/ 11 h 180"/>
                <a:gd name="T50" fmla="*/ 57 w 179"/>
                <a:gd name="T51" fmla="*/ 9 h 180"/>
                <a:gd name="T52" fmla="*/ 46 w 179"/>
                <a:gd name="T53" fmla="*/ 7 h 180"/>
                <a:gd name="T54" fmla="*/ 43 w 179"/>
                <a:gd name="T55" fmla="*/ 3 h 180"/>
                <a:gd name="T56" fmla="*/ 43 w 179"/>
                <a:gd name="T57" fmla="*/ 3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9" h="180">
                  <a:moveTo>
                    <a:pt x="94" y="7"/>
                  </a:moveTo>
                  <a:lnTo>
                    <a:pt x="80" y="7"/>
                  </a:lnTo>
                  <a:lnTo>
                    <a:pt x="69" y="4"/>
                  </a:lnTo>
                  <a:lnTo>
                    <a:pt x="50" y="0"/>
                  </a:lnTo>
                  <a:lnTo>
                    <a:pt x="32" y="0"/>
                  </a:lnTo>
                  <a:lnTo>
                    <a:pt x="20" y="0"/>
                  </a:lnTo>
                  <a:lnTo>
                    <a:pt x="0" y="14"/>
                  </a:lnTo>
                  <a:lnTo>
                    <a:pt x="0" y="32"/>
                  </a:lnTo>
                  <a:lnTo>
                    <a:pt x="17" y="39"/>
                  </a:lnTo>
                  <a:lnTo>
                    <a:pt x="34" y="39"/>
                  </a:lnTo>
                  <a:lnTo>
                    <a:pt x="44" y="50"/>
                  </a:lnTo>
                  <a:lnTo>
                    <a:pt x="32" y="70"/>
                  </a:lnTo>
                  <a:lnTo>
                    <a:pt x="32" y="92"/>
                  </a:lnTo>
                  <a:lnTo>
                    <a:pt x="20" y="124"/>
                  </a:lnTo>
                  <a:lnTo>
                    <a:pt x="32" y="135"/>
                  </a:lnTo>
                  <a:lnTo>
                    <a:pt x="32" y="147"/>
                  </a:lnTo>
                  <a:lnTo>
                    <a:pt x="44" y="180"/>
                  </a:lnTo>
                  <a:lnTo>
                    <a:pt x="65" y="169"/>
                  </a:lnTo>
                  <a:lnTo>
                    <a:pt x="92" y="170"/>
                  </a:lnTo>
                  <a:lnTo>
                    <a:pt x="110" y="160"/>
                  </a:lnTo>
                  <a:lnTo>
                    <a:pt x="122" y="154"/>
                  </a:lnTo>
                  <a:lnTo>
                    <a:pt x="132" y="122"/>
                  </a:lnTo>
                  <a:lnTo>
                    <a:pt x="154" y="80"/>
                  </a:lnTo>
                  <a:lnTo>
                    <a:pt x="179" y="55"/>
                  </a:lnTo>
                  <a:lnTo>
                    <a:pt x="140" y="25"/>
                  </a:lnTo>
                  <a:lnTo>
                    <a:pt x="125" y="22"/>
                  </a:lnTo>
                  <a:lnTo>
                    <a:pt x="102" y="15"/>
                  </a:lnTo>
                  <a:lnTo>
                    <a:pt x="94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3" name="Freeform 430"/>
            <p:cNvSpPr>
              <a:spLocks/>
            </p:cNvSpPr>
            <p:nvPr/>
          </p:nvSpPr>
          <p:spPr bwMode="auto">
            <a:xfrm>
              <a:off x="2510" y="2221"/>
              <a:ext cx="153" cy="151"/>
            </a:xfrm>
            <a:custGeom>
              <a:avLst/>
              <a:gdLst>
                <a:gd name="T0" fmla="*/ 43 w 179"/>
                <a:gd name="T1" fmla="*/ 3 h 180"/>
                <a:gd name="T2" fmla="*/ 37 w 179"/>
                <a:gd name="T3" fmla="*/ 3 h 180"/>
                <a:gd name="T4" fmla="*/ 32 w 179"/>
                <a:gd name="T5" fmla="*/ 3 h 180"/>
                <a:gd name="T6" fmla="*/ 23 w 179"/>
                <a:gd name="T7" fmla="*/ 0 h 180"/>
                <a:gd name="T8" fmla="*/ 15 w 179"/>
                <a:gd name="T9" fmla="*/ 0 h 180"/>
                <a:gd name="T10" fmla="*/ 9 w 179"/>
                <a:gd name="T11" fmla="*/ 0 h 180"/>
                <a:gd name="T12" fmla="*/ 0 w 179"/>
                <a:gd name="T13" fmla="*/ 6 h 180"/>
                <a:gd name="T14" fmla="*/ 0 w 179"/>
                <a:gd name="T15" fmla="*/ 13 h 180"/>
                <a:gd name="T16" fmla="*/ 8 w 179"/>
                <a:gd name="T17" fmla="*/ 16 h 180"/>
                <a:gd name="T18" fmla="*/ 15 w 179"/>
                <a:gd name="T19" fmla="*/ 16 h 180"/>
                <a:gd name="T20" fmla="*/ 20 w 179"/>
                <a:gd name="T21" fmla="*/ 20 h 180"/>
                <a:gd name="T22" fmla="*/ 15 w 179"/>
                <a:gd name="T23" fmla="*/ 29 h 180"/>
                <a:gd name="T24" fmla="*/ 15 w 179"/>
                <a:gd name="T25" fmla="*/ 39 h 180"/>
                <a:gd name="T26" fmla="*/ 9 w 179"/>
                <a:gd name="T27" fmla="*/ 51 h 180"/>
                <a:gd name="T28" fmla="*/ 15 w 179"/>
                <a:gd name="T29" fmla="*/ 56 h 180"/>
                <a:gd name="T30" fmla="*/ 15 w 179"/>
                <a:gd name="T31" fmla="*/ 60 h 180"/>
                <a:gd name="T32" fmla="*/ 20 w 179"/>
                <a:gd name="T33" fmla="*/ 76 h 180"/>
                <a:gd name="T34" fmla="*/ 30 w 179"/>
                <a:gd name="T35" fmla="*/ 70 h 180"/>
                <a:gd name="T36" fmla="*/ 43 w 179"/>
                <a:gd name="T37" fmla="*/ 71 h 180"/>
                <a:gd name="T38" fmla="*/ 50 w 179"/>
                <a:gd name="T39" fmla="*/ 66 h 180"/>
                <a:gd name="T40" fmla="*/ 56 w 179"/>
                <a:gd name="T41" fmla="*/ 64 h 180"/>
                <a:gd name="T42" fmla="*/ 61 w 179"/>
                <a:gd name="T43" fmla="*/ 50 h 180"/>
                <a:gd name="T44" fmla="*/ 71 w 179"/>
                <a:gd name="T45" fmla="*/ 33 h 180"/>
                <a:gd name="T46" fmla="*/ 82 w 179"/>
                <a:gd name="T47" fmla="*/ 23 h 180"/>
                <a:gd name="T48" fmla="*/ 64 w 179"/>
                <a:gd name="T49" fmla="*/ 11 h 180"/>
                <a:gd name="T50" fmla="*/ 57 w 179"/>
                <a:gd name="T51" fmla="*/ 9 h 180"/>
                <a:gd name="T52" fmla="*/ 46 w 179"/>
                <a:gd name="T53" fmla="*/ 7 h 180"/>
                <a:gd name="T54" fmla="*/ 43 w 179"/>
                <a:gd name="T55" fmla="*/ 3 h 180"/>
                <a:gd name="T56" fmla="*/ 43 w 179"/>
                <a:gd name="T57" fmla="*/ 3 h 18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79" h="180">
                  <a:moveTo>
                    <a:pt x="94" y="7"/>
                  </a:moveTo>
                  <a:lnTo>
                    <a:pt x="80" y="7"/>
                  </a:lnTo>
                  <a:lnTo>
                    <a:pt x="69" y="4"/>
                  </a:lnTo>
                  <a:lnTo>
                    <a:pt x="50" y="0"/>
                  </a:lnTo>
                  <a:lnTo>
                    <a:pt x="32" y="0"/>
                  </a:lnTo>
                  <a:lnTo>
                    <a:pt x="20" y="0"/>
                  </a:lnTo>
                  <a:lnTo>
                    <a:pt x="0" y="14"/>
                  </a:lnTo>
                  <a:lnTo>
                    <a:pt x="0" y="32"/>
                  </a:lnTo>
                  <a:lnTo>
                    <a:pt x="17" y="39"/>
                  </a:lnTo>
                  <a:lnTo>
                    <a:pt x="34" y="39"/>
                  </a:lnTo>
                  <a:lnTo>
                    <a:pt x="44" y="50"/>
                  </a:lnTo>
                  <a:lnTo>
                    <a:pt x="32" y="70"/>
                  </a:lnTo>
                  <a:lnTo>
                    <a:pt x="32" y="92"/>
                  </a:lnTo>
                  <a:lnTo>
                    <a:pt x="20" y="124"/>
                  </a:lnTo>
                  <a:lnTo>
                    <a:pt x="32" y="135"/>
                  </a:lnTo>
                  <a:lnTo>
                    <a:pt x="32" y="147"/>
                  </a:lnTo>
                  <a:lnTo>
                    <a:pt x="44" y="180"/>
                  </a:lnTo>
                  <a:lnTo>
                    <a:pt x="65" y="169"/>
                  </a:lnTo>
                  <a:lnTo>
                    <a:pt x="92" y="170"/>
                  </a:lnTo>
                  <a:lnTo>
                    <a:pt x="110" y="160"/>
                  </a:lnTo>
                  <a:lnTo>
                    <a:pt x="122" y="154"/>
                  </a:lnTo>
                  <a:lnTo>
                    <a:pt x="132" y="122"/>
                  </a:lnTo>
                  <a:lnTo>
                    <a:pt x="154" y="80"/>
                  </a:lnTo>
                  <a:lnTo>
                    <a:pt x="179" y="55"/>
                  </a:lnTo>
                  <a:lnTo>
                    <a:pt x="140" y="25"/>
                  </a:lnTo>
                  <a:lnTo>
                    <a:pt x="125" y="22"/>
                  </a:lnTo>
                  <a:lnTo>
                    <a:pt x="102" y="15"/>
                  </a:lnTo>
                  <a:lnTo>
                    <a:pt x="94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4" name="Freeform 431"/>
            <p:cNvSpPr>
              <a:spLocks/>
            </p:cNvSpPr>
            <p:nvPr/>
          </p:nvSpPr>
          <p:spPr bwMode="auto">
            <a:xfrm>
              <a:off x="2642" y="2293"/>
              <a:ext cx="9" cy="16"/>
            </a:xfrm>
            <a:custGeom>
              <a:avLst/>
              <a:gdLst>
                <a:gd name="T0" fmla="*/ 4 w 11"/>
                <a:gd name="T1" fmla="*/ 0 h 18"/>
                <a:gd name="T2" fmla="*/ 0 w 11"/>
                <a:gd name="T3" fmla="*/ 7 h 18"/>
                <a:gd name="T4" fmla="*/ 4 w 11"/>
                <a:gd name="T5" fmla="*/ 10 h 18"/>
                <a:gd name="T6" fmla="*/ 4 w 11"/>
                <a:gd name="T7" fmla="*/ 4 h 18"/>
                <a:gd name="T8" fmla="*/ 4 w 11"/>
                <a:gd name="T9" fmla="*/ 0 h 18"/>
                <a:gd name="T10" fmla="*/ 4 w 11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8">
                  <a:moveTo>
                    <a:pt x="11" y="0"/>
                  </a:moveTo>
                  <a:lnTo>
                    <a:pt x="0" y="12"/>
                  </a:lnTo>
                  <a:lnTo>
                    <a:pt x="11" y="18"/>
                  </a:lnTo>
                  <a:lnTo>
                    <a:pt x="11" y="5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5" name="Freeform 432"/>
            <p:cNvSpPr>
              <a:spLocks/>
            </p:cNvSpPr>
            <p:nvPr/>
          </p:nvSpPr>
          <p:spPr bwMode="auto">
            <a:xfrm>
              <a:off x="2642" y="2293"/>
              <a:ext cx="9" cy="16"/>
            </a:xfrm>
            <a:custGeom>
              <a:avLst/>
              <a:gdLst>
                <a:gd name="T0" fmla="*/ 4 w 11"/>
                <a:gd name="T1" fmla="*/ 0 h 18"/>
                <a:gd name="T2" fmla="*/ 0 w 11"/>
                <a:gd name="T3" fmla="*/ 7 h 18"/>
                <a:gd name="T4" fmla="*/ 4 w 11"/>
                <a:gd name="T5" fmla="*/ 10 h 18"/>
                <a:gd name="T6" fmla="*/ 4 w 11"/>
                <a:gd name="T7" fmla="*/ 4 h 18"/>
                <a:gd name="T8" fmla="*/ 4 w 11"/>
                <a:gd name="T9" fmla="*/ 0 h 18"/>
                <a:gd name="T10" fmla="*/ 4 w 11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" h="18">
                  <a:moveTo>
                    <a:pt x="11" y="0"/>
                  </a:moveTo>
                  <a:lnTo>
                    <a:pt x="0" y="12"/>
                  </a:lnTo>
                  <a:lnTo>
                    <a:pt x="11" y="18"/>
                  </a:lnTo>
                  <a:lnTo>
                    <a:pt x="11" y="5"/>
                  </a:lnTo>
                  <a:lnTo>
                    <a:pt x="11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6" name="Freeform 433"/>
            <p:cNvSpPr>
              <a:spLocks/>
            </p:cNvSpPr>
            <p:nvPr/>
          </p:nvSpPr>
          <p:spPr bwMode="auto">
            <a:xfrm>
              <a:off x="2726" y="2252"/>
              <a:ext cx="20" cy="20"/>
            </a:xfrm>
            <a:custGeom>
              <a:avLst/>
              <a:gdLst>
                <a:gd name="T0" fmla="*/ 6 w 25"/>
                <a:gd name="T1" fmla="*/ 0 h 25"/>
                <a:gd name="T2" fmla="*/ 0 w 25"/>
                <a:gd name="T3" fmla="*/ 4 h 25"/>
                <a:gd name="T4" fmla="*/ 5 w 25"/>
                <a:gd name="T5" fmla="*/ 6 h 25"/>
                <a:gd name="T6" fmla="*/ 5 w 25"/>
                <a:gd name="T7" fmla="*/ 8 h 25"/>
                <a:gd name="T8" fmla="*/ 8 w 25"/>
                <a:gd name="T9" fmla="*/ 8 h 25"/>
                <a:gd name="T10" fmla="*/ 8 w 25"/>
                <a:gd name="T11" fmla="*/ 2 h 25"/>
                <a:gd name="T12" fmla="*/ 8 w 25"/>
                <a:gd name="T13" fmla="*/ 0 h 25"/>
                <a:gd name="T14" fmla="*/ 6 w 25"/>
                <a:gd name="T15" fmla="*/ 0 h 25"/>
                <a:gd name="T16" fmla="*/ 6 w 25"/>
                <a:gd name="T17" fmla="*/ 0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" h="25">
                  <a:moveTo>
                    <a:pt x="19" y="0"/>
                  </a:moveTo>
                  <a:lnTo>
                    <a:pt x="0" y="13"/>
                  </a:lnTo>
                  <a:lnTo>
                    <a:pt x="14" y="18"/>
                  </a:lnTo>
                  <a:lnTo>
                    <a:pt x="14" y="25"/>
                  </a:lnTo>
                  <a:lnTo>
                    <a:pt x="25" y="25"/>
                  </a:lnTo>
                  <a:lnTo>
                    <a:pt x="25" y="7"/>
                  </a:lnTo>
                  <a:lnTo>
                    <a:pt x="25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7" name="Freeform 434"/>
            <p:cNvSpPr>
              <a:spLocks/>
            </p:cNvSpPr>
            <p:nvPr/>
          </p:nvSpPr>
          <p:spPr bwMode="auto">
            <a:xfrm>
              <a:off x="2726" y="2252"/>
              <a:ext cx="20" cy="20"/>
            </a:xfrm>
            <a:custGeom>
              <a:avLst/>
              <a:gdLst>
                <a:gd name="T0" fmla="*/ 6 w 25"/>
                <a:gd name="T1" fmla="*/ 0 h 25"/>
                <a:gd name="T2" fmla="*/ 0 w 25"/>
                <a:gd name="T3" fmla="*/ 4 h 25"/>
                <a:gd name="T4" fmla="*/ 5 w 25"/>
                <a:gd name="T5" fmla="*/ 6 h 25"/>
                <a:gd name="T6" fmla="*/ 5 w 25"/>
                <a:gd name="T7" fmla="*/ 8 h 25"/>
                <a:gd name="T8" fmla="*/ 8 w 25"/>
                <a:gd name="T9" fmla="*/ 8 h 25"/>
                <a:gd name="T10" fmla="*/ 8 w 25"/>
                <a:gd name="T11" fmla="*/ 2 h 25"/>
                <a:gd name="T12" fmla="*/ 8 w 25"/>
                <a:gd name="T13" fmla="*/ 0 h 25"/>
                <a:gd name="T14" fmla="*/ 6 w 25"/>
                <a:gd name="T15" fmla="*/ 0 h 25"/>
                <a:gd name="T16" fmla="*/ 6 w 25"/>
                <a:gd name="T17" fmla="*/ 0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" h="25">
                  <a:moveTo>
                    <a:pt x="19" y="0"/>
                  </a:moveTo>
                  <a:lnTo>
                    <a:pt x="0" y="13"/>
                  </a:lnTo>
                  <a:lnTo>
                    <a:pt x="14" y="18"/>
                  </a:lnTo>
                  <a:lnTo>
                    <a:pt x="14" y="25"/>
                  </a:lnTo>
                  <a:lnTo>
                    <a:pt x="25" y="25"/>
                  </a:lnTo>
                  <a:lnTo>
                    <a:pt x="25" y="7"/>
                  </a:lnTo>
                  <a:lnTo>
                    <a:pt x="25" y="0"/>
                  </a:lnTo>
                  <a:lnTo>
                    <a:pt x="19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8" name="Freeform 435"/>
            <p:cNvSpPr>
              <a:spLocks/>
            </p:cNvSpPr>
            <p:nvPr/>
          </p:nvSpPr>
          <p:spPr bwMode="auto">
            <a:xfrm>
              <a:off x="2717" y="2279"/>
              <a:ext cx="29" cy="39"/>
            </a:xfrm>
            <a:custGeom>
              <a:avLst/>
              <a:gdLst>
                <a:gd name="T0" fmla="*/ 8 w 36"/>
                <a:gd name="T1" fmla="*/ 3 h 48"/>
                <a:gd name="T2" fmla="*/ 4 w 36"/>
                <a:gd name="T3" fmla="*/ 3 h 48"/>
                <a:gd name="T4" fmla="*/ 0 w 36"/>
                <a:gd name="T5" fmla="*/ 11 h 48"/>
                <a:gd name="T6" fmla="*/ 0 w 36"/>
                <a:gd name="T7" fmla="*/ 15 h 48"/>
                <a:gd name="T8" fmla="*/ 2 w 36"/>
                <a:gd name="T9" fmla="*/ 15 h 48"/>
                <a:gd name="T10" fmla="*/ 7 w 36"/>
                <a:gd name="T11" fmla="*/ 17 h 48"/>
                <a:gd name="T12" fmla="*/ 10 w 36"/>
                <a:gd name="T13" fmla="*/ 11 h 48"/>
                <a:gd name="T14" fmla="*/ 8 w 36"/>
                <a:gd name="T15" fmla="*/ 11 h 48"/>
                <a:gd name="T16" fmla="*/ 12 w 36"/>
                <a:gd name="T17" fmla="*/ 2 h 48"/>
                <a:gd name="T18" fmla="*/ 12 w 36"/>
                <a:gd name="T19" fmla="*/ 0 h 48"/>
                <a:gd name="T20" fmla="*/ 8 w 36"/>
                <a:gd name="T21" fmla="*/ 3 h 48"/>
                <a:gd name="T22" fmla="*/ 8 w 36"/>
                <a:gd name="T23" fmla="*/ 3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6" h="48">
                  <a:moveTo>
                    <a:pt x="25" y="8"/>
                  </a:moveTo>
                  <a:lnTo>
                    <a:pt x="13" y="8"/>
                  </a:lnTo>
                  <a:lnTo>
                    <a:pt x="0" y="30"/>
                  </a:lnTo>
                  <a:lnTo>
                    <a:pt x="0" y="41"/>
                  </a:lnTo>
                  <a:lnTo>
                    <a:pt x="6" y="41"/>
                  </a:lnTo>
                  <a:lnTo>
                    <a:pt x="21" y="48"/>
                  </a:lnTo>
                  <a:lnTo>
                    <a:pt x="30" y="30"/>
                  </a:lnTo>
                  <a:lnTo>
                    <a:pt x="25" y="30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5" y="8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9" name="Freeform 436"/>
            <p:cNvSpPr>
              <a:spLocks/>
            </p:cNvSpPr>
            <p:nvPr/>
          </p:nvSpPr>
          <p:spPr bwMode="auto">
            <a:xfrm>
              <a:off x="2717" y="2279"/>
              <a:ext cx="29" cy="39"/>
            </a:xfrm>
            <a:custGeom>
              <a:avLst/>
              <a:gdLst>
                <a:gd name="T0" fmla="*/ 8 w 36"/>
                <a:gd name="T1" fmla="*/ 3 h 48"/>
                <a:gd name="T2" fmla="*/ 4 w 36"/>
                <a:gd name="T3" fmla="*/ 3 h 48"/>
                <a:gd name="T4" fmla="*/ 0 w 36"/>
                <a:gd name="T5" fmla="*/ 11 h 48"/>
                <a:gd name="T6" fmla="*/ 0 w 36"/>
                <a:gd name="T7" fmla="*/ 15 h 48"/>
                <a:gd name="T8" fmla="*/ 2 w 36"/>
                <a:gd name="T9" fmla="*/ 15 h 48"/>
                <a:gd name="T10" fmla="*/ 7 w 36"/>
                <a:gd name="T11" fmla="*/ 17 h 48"/>
                <a:gd name="T12" fmla="*/ 10 w 36"/>
                <a:gd name="T13" fmla="*/ 11 h 48"/>
                <a:gd name="T14" fmla="*/ 8 w 36"/>
                <a:gd name="T15" fmla="*/ 11 h 48"/>
                <a:gd name="T16" fmla="*/ 12 w 36"/>
                <a:gd name="T17" fmla="*/ 2 h 48"/>
                <a:gd name="T18" fmla="*/ 12 w 36"/>
                <a:gd name="T19" fmla="*/ 0 h 48"/>
                <a:gd name="T20" fmla="*/ 8 w 36"/>
                <a:gd name="T21" fmla="*/ 3 h 48"/>
                <a:gd name="T22" fmla="*/ 8 w 36"/>
                <a:gd name="T23" fmla="*/ 3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6" h="48">
                  <a:moveTo>
                    <a:pt x="25" y="8"/>
                  </a:moveTo>
                  <a:lnTo>
                    <a:pt x="13" y="8"/>
                  </a:lnTo>
                  <a:lnTo>
                    <a:pt x="0" y="30"/>
                  </a:lnTo>
                  <a:lnTo>
                    <a:pt x="0" y="41"/>
                  </a:lnTo>
                  <a:lnTo>
                    <a:pt x="6" y="41"/>
                  </a:lnTo>
                  <a:lnTo>
                    <a:pt x="21" y="48"/>
                  </a:lnTo>
                  <a:lnTo>
                    <a:pt x="30" y="30"/>
                  </a:lnTo>
                  <a:lnTo>
                    <a:pt x="25" y="30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25" y="8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0" name="Freeform 437"/>
            <p:cNvSpPr>
              <a:spLocks/>
            </p:cNvSpPr>
            <p:nvPr/>
          </p:nvSpPr>
          <p:spPr bwMode="auto">
            <a:xfrm>
              <a:off x="2700" y="2131"/>
              <a:ext cx="17" cy="14"/>
            </a:xfrm>
            <a:custGeom>
              <a:avLst/>
              <a:gdLst>
                <a:gd name="T0" fmla="*/ 9 w 19"/>
                <a:gd name="T1" fmla="*/ 0 h 18"/>
                <a:gd name="T2" fmla="*/ 4 w 19"/>
                <a:gd name="T3" fmla="*/ 2 h 18"/>
                <a:gd name="T4" fmla="*/ 0 w 19"/>
                <a:gd name="T5" fmla="*/ 3 h 18"/>
                <a:gd name="T6" fmla="*/ 7 w 19"/>
                <a:gd name="T7" fmla="*/ 5 h 18"/>
                <a:gd name="T8" fmla="*/ 11 w 19"/>
                <a:gd name="T9" fmla="*/ 5 h 18"/>
                <a:gd name="T10" fmla="*/ 11 w 19"/>
                <a:gd name="T11" fmla="*/ 2 h 18"/>
                <a:gd name="T12" fmla="*/ 9 w 19"/>
                <a:gd name="T13" fmla="*/ 0 h 18"/>
                <a:gd name="T14" fmla="*/ 9 w 19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8">
                  <a:moveTo>
                    <a:pt x="15" y="0"/>
                  </a:moveTo>
                  <a:lnTo>
                    <a:pt x="7" y="5"/>
                  </a:lnTo>
                  <a:lnTo>
                    <a:pt x="0" y="10"/>
                  </a:lnTo>
                  <a:lnTo>
                    <a:pt x="12" y="18"/>
                  </a:lnTo>
                  <a:lnTo>
                    <a:pt x="19" y="17"/>
                  </a:lnTo>
                  <a:lnTo>
                    <a:pt x="19" y="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1" name="Freeform 438"/>
            <p:cNvSpPr>
              <a:spLocks/>
            </p:cNvSpPr>
            <p:nvPr/>
          </p:nvSpPr>
          <p:spPr bwMode="auto">
            <a:xfrm>
              <a:off x="2700" y="2131"/>
              <a:ext cx="17" cy="14"/>
            </a:xfrm>
            <a:custGeom>
              <a:avLst/>
              <a:gdLst>
                <a:gd name="T0" fmla="*/ 9 w 19"/>
                <a:gd name="T1" fmla="*/ 0 h 18"/>
                <a:gd name="T2" fmla="*/ 4 w 19"/>
                <a:gd name="T3" fmla="*/ 2 h 18"/>
                <a:gd name="T4" fmla="*/ 0 w 19"/>
                <a:gd name="T5" fmla="*/ 3 h 18"/>
                <a:gd name="T6" fmla="*/ 7 w 19"/>
                <a:gd name="T7" fmla="*/ 5 h 18"/>
                <a:gd name="T8" fmla="*/ 11 w 19"/>
                <a:gd name="T9" fmla="*/ 5 h 18"/>
                <a:gd name="T10" fmla="*/ 11 w 19"/>
                <a:gd name="T11" fmla="*/ 2 h 18"/>
                <a:gd name="T12" fmla="*/ 9 w 19"/>
                <a:gd name="T13" fmla="*/ 0 h 18"/>
                <a:gd name="T14" fmla="*/ 9 w 19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" h="18">
                  <a:moveTo>
                    <a:pt x="15" y="0"/>
                  </a:moveTo>
                  <a:lnTo>
                    <a:pt x="7" y="5"/>
                  </a:lnTo>
                  <a:lnTo>
                    <a:pt x="0" y="10"/>
                  </a:lnTo>
                  <a:lnTo>
                    <a:pt x="12" y="18"/>
                  </a:lnTo>
                  <a:lnTo>
                    <a:pt x="19" y="17"/>
                  </a:lnTo>
                  <a:lnTo>
                    <a:pt x="19" y="5"/>
                  </a:lnTo>
                  <a:lnTo>
                    <a:pt x="1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2" name="Freeform 439"/>
            <p:cNvSpPr>
              <a:spLocks/>
            </p:cNvSpPr>
            <p:nvPr/>
          </p:nvSpPr>
          <p:spPr bwMode="auto">
            <a:xfrm>
              <a:off x="2708" y="2054"/>
              <a:ext cx="112" cy="121"/>
            </a:xfrm>
            <a:custGeom>
              <a:avLst/>
              <a:gdLst>
                <a:gd name="T0" fmla="*/ 0 w 128"/>
                <a:gd name="T1" fmla="*/ 31 h 144"/>
                <a:gd name="T2" fmla="*/ 0 w 128"/>
                <a:gd name="T3" fmla="*/ 35 h 144"/>
                <a:gd name="T4" fmla="*/ 4 w 128"/>
                <a:gd name="T5" fmla="*/ 41 h 144"/>
                <a:gd name="T6" fmla="*/ 4 w 128"/>
                <a:gd name="T7" fmla="*/ 43 h 144"/>
                <a:gd name="T8" fmla="*/ 10 w 128"/>
                <a:gd name="T9" fmla="*/ 49 h 144"/>
                <a:gd name="T10" fmla="*/ 10 w 128"/>
                <a:gd name="T11" fmla="*/ 56 h 144"/>
                <a:gd name="T12" fmla="*/ 13 w 128"/>
                <a:gd name="T13" fmla="*/ 59 h 144"/>
                <a:gd name="T14" fmla="*/ 19 w 128"/>
                <a:gd name="T15" fmla="*/ 61 h 144"/>
                <a:gd name="T16" fmla="*/ 27 w 128"/>
                <a:gd name="T17" fmla="*/ 61 h 144"/>
                <a:gd name="T18" fmla="*/ 35 w 128"/>
                <a:gd name="T19" fmla="*/ 59 h 144"/>
                <a:gd name="T20" fmla="*/ 40 w 128"/>
                <a:gd name="T21" fmla="*/ 59 h 144"/>
                <a:gd name="T22" fmla="*/ 51 w 128"/>
                <a:gd name="T23" fmla="*/ 59 h 144"/>
                <a:gd name="T24" fmla="*/ 52 w 128"/>
                <a:gd name="T25" fmla="*/ 54 h 144"/>
                <a:gd name="T26" fmla="*/ 58 w 128"/>
                <a:gd name="T27" fmla="*/ 51 h 144"/>
                <a:gd name="T28" fmla="*/ 57 w 128"/>
                <a:gd name="T29" fmla="*/ 46 h 144"/>
                <a:gd name="T30" fmla="*/ 51 w 128"/>
                <a:gd name="T31" fmla="*/ 41 h 144"/>
                <a:gd name="T32" fmla="*/ 54 w 128"/>
                <a:gd name="T33" fmla="*/ 38 h 144"/>
                <a:gd name="T34" fmla="*/ 64 w 128"/>
                <a:gd name="T35" fmla="*/ 32 h 144"/>
                <a:gd name="T36" fmla="*/ 66 w 128"/>
                <a:gd name="T37" fmla="*/ 29 h 144"/>
                <a:gd name="T38" fmla="*/ 66 w 128"/>
                <a:gd name="T39" fmla="*/ 20 h 144"/>
                <a:gd name="T40" fmla="*/ 60 w 128"/>
                <a:gd name="T41" fmla="*/ 17 h 144"/>
                <a:gd name="T42" fmla="*/ 63 w 128"/>
                <a:gd name="T43" fmla="*/ 10 h 144"/>
                <a:gd name="T44" fmla="*/ 63 w 128"/>
                <a:gd name="T45" fmla="*/ 5 h 144"/>
                <a:gd name="T46" fmla="*/ 51 w 128"/>
                <a:gd name="T47" fmla="*/ 3 h 144"/>
                <a:gd name="T48" fmla="*/ 38 w 128"/>
                <a:gd name="T49" fmla="*/ 3 h 144"/>
                <a:gd name="T50" fmla="*/ 30 w 128"/>
                <a:gd name="T51" fmla="*/ 0 h 144"/>
                <a:gd name="T52" fmla="*/ 22 w 128"/>
                <a:gd name="T53" fmla="*/ 0 h 144"/>
                <a:gd name="T54" fmla="*/ 22 w 128"/>
                <a:gd name="T55" fmla="*/ 5 h 144"/>
                <a:gd name="T56" fmla="*/ 17 w 128"/>
                <a:gd name="T57" fmla="*/ 8 h 144"/>
                <a:gd name="T58" fmla="*/ 10 w 128"/>
                <a:gd name="T59" fmla="*/ 10 h 144"/>
                <a:gd name="T60" fmla="*/ 13 w 128"/>
                <a:gd name="T61" fmla="*/ 15 h 144"/>
                <a:gd name="T62" fmla="*/ 7 w 128"/>
                <a:gd name="T63" fmla="*/ 20 h 144"/>
                <a:gd name="T64" fmla="*/ 10 w 128"/>
                <a:gd name="T65" fmla="*/ 24 h 144"/>
                <a:gd name="T66" fmla="*/ 10 w 128"/>
                <a:gd name="T67" fmla="*/ 28 h 144"/>
                <a:gd name="T68" fmla="*/ 7 w 128"/>
                <a:gd name="T69" fmla="*/ 28 h 144"/>
                <a:gd name="T70" fmla="*/ 0 w 128"/>
                <a:gd name="T71" fmla="*/ 31 h 144"/>
                <a:gd name="T72" fmla="*/ 0 w 128"/>
                <a:gd name="T73" fmla="*/ 31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8" h="144">
                  <a:moveTo>
                    <a:pt x="0" y="74"/>
                  </a:moveTo>
                  <a:lnTo>
                    <a:pt x="0" y="85"/>
                  </a:lnTo>
                  <a:lnTo>
                    <a:pt x="7" y="97"/>
                  </a:lnTo>
                  <a:lnTo>
                    <a:pt x="7" y="104"/>
                  </a:lnTo>
                  <a:lnTo>
                    <a:pt x="18" y="115"/>
                  </a:lnTo>
                  <a:lnTo>
                    <a:pt x="18" y="134"/>
                  </a:lnTo>
                  <a:lnTo>
                    <a:pt x="25" y="140"/>
                  </a:lnTo>
                  <a:lnTo>
                    <a:pt x="38" y="144"/>
                  </a:lnTo>
                  <a:lnTo>
                    <a:pt x="53" y="144"/>
                  </a:lnTo>
                  <a:lnTo>
                    <a:pt x="68" y="140"/>
                  </a:lnTo>
                  <a:lnTo>
                    <a:pt x="80" y="140"/>
                  </a:lnTo>
                  <a:lnTo>
                    <a:pt x="98" y="140"/>
                  </a:lnTo>
                  <a:lnTo>
                    <a:pt x="100" y="129"/>
                  </a:lnTo>
                  <a:lnTo>
                    <a:pt x="112" y="124"/>
                  </a:lnTo>
                  <a:lnTo>
                    <a:pt x="110" y="110"/>
                  </a:lnTo>
                  <a:lnTo>
                    <a:pt x="98" y="97"/>
                  </a:lnTo>
                  <a:lnTo>
                    <a:pt x="105" y="90"/>
                  </a:lnTo>
                  <a:lnTo>
                    <a:pt x="123" y="75"/>
                  </a:lnTo>
                  <a:lnTo>
                    <a:pt x="128" y="70"/>
                  </a:lnTo>
                  <a:lnTo>
                    <a:pt x="128" y="49"/>
                  </a:lnTo>
                  <a:lnTo>
                    <a:pt x="117" y="42"/>
                  </a:lnTo>
                  <a:lnTo>
                    <a:pt x="122" y="24"/>
                  </a:lnTo>
                  <a:lnTo>
                    <a:pt x="122" y="12"/>
                  </a:lnTo>
                  <a:lnTo>
                    <a:pt x="98" y="7"/>
                  </a:lnTo>
                  <a:lnTo>
                    <a:pt x="73" y="7"/>
                  </a:lnTo>
                  <a:lnTo>
                    <a:pt x="57" y="0"/>
                  </a:lnTo>
                  <a:lnTo>
                    <a:pt x="43" y="0"/>
                  </a:lnTo>
                  <a:lnTo>
                    <a:pt x="43" y="12"/>
                  </a:lnTo>
                  <a:lnTo>
                    <a:pt x="32" y="19"/>
                  </a:lnTo>
                  <a:lnTo>
                    <a:pt x="18" y="24"/>
                  </a:lnTo>
                  <a:lnTo>
                    <a:pt x="25" y="37"/>
                  </a:lnTo>
                  <a:lnTo>
                    <a:pt x="13" y="49"/>
                  </a:lnTo>
                  <a:lnTo>
                    <a:pt x="18" y="60"/>
                  </a:lnTo>
                  <a:lnTo>
                    <a:pt x="18" y="67"/>
                  </a:lnTo>
                  <a:lnTo>
                    <a:pt x="13" y="67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3" name="Freeform 440"/>
            <p:cNvSpPr>
              <a:spLocks/>
            </p:cNvSpPr>
            <p:nvPr/>
          </p:nvSpPr>
          <p:spPr bwMode="auto">
            <a:xfrm>
              <a:off x="2708" y="2054"/>
              <a:ext cx="112" cy="121"/>
            </a:xfrm>
            <a:custGeom>
              <a:avLst/>
              <a:gdLst>
                <a:gd name="T0" fmla="*/ 0 w 128"/>
                <a:gd name="T1" fmla="*/ 31 h 144"/>
                <a:gd name="T2" fmla="*/ 0 w 128"/>
                <a:gd name="T3" fmla="*/ 35 h 144"/>
                <a:gd name="T4" fmla="*/ 4 w 128"/>
                <a:gd name="T5" fmla="*/ 41 h 144"/>
                <a:gd name="T6" fmla="*/ 4 w 128"/>
                <a:gd name="T7" fmla="*/ 43 h 144"/>
                <a:gd name="T8" fmla="*/ 10 w 128"/>
                <a:gd name="T9" fmla="*/ 49 h 144"/>
                <a:gd name="T10" fmla="*/ 10 w 128"/>
                <a:gd name="T11" fmla="*/ 56 h 144"/>
                <a:gd name="T12" fmla="*/ 13 w 128"/>
                <a:gd name="T13" fmla="*/ 59 h 144"/>
                <a:gd name="T14" fmla="*/ 19 w 128"/>
                <a:gd name="T15" fmla="*/ 61 h 144"/>
                <a:gd name="T16" fmla="*/ 27 w 128"/>
                <a:gd name="T17" fmla="*/ 61 h 144"/>
                <a:gd name="T18" fmla="*/ 35 w 128"/>
                <a:gd name="T19" fmla="*/ 59 h 144"/>
                <a:gd name="T20" fmla="*/ 40 w 128"/>
                <a:gd name="T21" fmla="*/ 59 h 144"/>
                <a:gd name="T22" fmla="*/ 51 w 128"/>
                <a:gd name="T23" fmla="*/ 59 h 144"/>
                <a:gd name="T24" fmla="*/ 52 w 128"/>
                <a:gd name="T25" fmla="*/ 54 h 144"/>
                <a:gd name="T26" fmla="*/ 58 w 128"/>
                <a:gd name="T27" fmla="*/ 51 h 144"/>
                <a:gd name="T28" fmla="*/ 57 w 128"/>
                <a:gd name="T29" fmla="*/ 46 h 144"/>
                <a:gd name="T30" fmla="*/ 51 w 128"/>
                <a:gd name="T31" fmla="*/ 41 h 144"/>
                <a:gd name="T32" fmla="*/ 54 w 128"/>
                <a:gd name="T33" fmla="*/ 38 h 144"/>
                <a:gd name="T34" fmla="*/ 64 w 128"/>
                <a:gd name="T35" fmla="*/ 32 h 144"/>
                <a:gd name="T36" fmla="*/ 66 w 128"/>
                <a:gd name="T37" fmla="*/ 29 h 144"/>
                <a:gd name="T38" fmla="*/ 66 w 128"/>
                <a:gd name="T39" fmla="*/ 20 h 144"/>
                <a:gd name="T40" fmla="*/ 60 w 128"/>
                <a:gd name="T41" fmla="*/ 17 h 144"/>
                <a:gd name="T42" fmla="*/ 63 w 128"/>
                <a:gd name="T43" fmla="*/ 10 h 144"/>
                <a:gd name="T44" fmla="*/ 63 w 128"/>
                <a:gd name="T45" fmla="*/ 5 h 144"/>
                <a:gd name="T46" fmla="*/ 51 w 128"/>
                <a:gd name="T47" fmla="*/ 3 h 144"/>
                <a:gd name="T48" fmla="*/ 38 w 128"/>
                <a:gd name="T49" fmla="*/ 3 h 144"/>
                <a:gd name="T50" fmla="*/ 30 w 128"/>
                <a:gd name="T51" fmla="*/ 0 h 144"/>
                <a:gd name="T52" fmla="*/ 22 w 128"/>
                <a:gd name="T53" fmla="*/ 0 h 144"/>
                <a:gd name="T54" fmla="*/ 22 w 128"/>
                <a:gd name="T55" fmla="*/ 5 h 144"/>
                <a:gd name="T56" fmla="*/ 17 w 128"/>
                <a:gd name="T57" fmla="*/ 8 h 144"/>
                <a:gd name="T58" fmla="*/ 10 w 128"/>
                <a:gd name="T59" fmla="*/ 10 h 144"/>
                <a:gd name="T60" fmla="*/ 13 w 128"/>
                <a:gd name="T61" fmla="*/ 15 h 144"/>
                <a:gd name="T62" fmla="*/ 7 w 128"/>
                <a:gd name="T63" fmla="*/ 20 h 144"/>
                <a:gd name="T64" fmla="*/ 10 w 128"/>
                <a:gd name="T65" fmla="*/ 24 h 144"/>
                <a:gd name="T66" fmla="*/ 10 w 128"/>
                <a:gd name="T67" fmla="*/ 28 h 144"/>
                <a:gd name="T68" fmla="*/ 7 w 128"/>
                <a:gd name="T69" fmla="*/ 28 h 144"/>
                <a:gd name="T70" fmla="*/ 0 w 128"/>
                <a:gd name="T71" fmla="*/ 31 h 144"/>
                <a:gd name="T72" fmla="*/ 0 w 128"/>
                <a:gd name="T73" fmla="*/ 31 h 1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8" h="144">
                  <a:moveTo>
                    <a:pt x="0" y="74"/>
                  </a:moveTo>
                  <a:lnTo>
                    <a:pt x="0" y="85"/>
                  </a:lnTo>
                  <a:lnTo>
                    <a:pt x="7" y="97"/>
                  </a:lnTo>
                  <a:lnTo>
                    <a:pt x="7" y="104"/>
                  </a:lnTo>
                  <a:lnTo>
                    <a:pt x="18" y="115"/>
                  </a:lnTo>
                  <a:lnTo>
                    <a:pt x="18" y="134"/>
                  </a:lnTo>
                  <a:lnTo>
                    <a:pt x="25" y="140"/>
                  </a:lnTo>
                  <a:lnTo>
                    <a:pt x="38" y="144"/>
                  </a:lnTo>
                  <a:lnTo>
                    <a:pt x="53" y="144"/>
                  </a:lnTo>
                  <a:lnTo>
                    <a:pt x="68" y="140"/>
                  </a:lnTo>
                  <a:lnTo>
                    <a:pt x="80" y="140"/>
                  </a:lnTo>
                  <a:lnTo>
                    <a:pt x="98" y="140"/>
                  </a:lnTo>
                  <a:lnTo>
                    <a:pt x="100" y="129"/>
                  </a:lnTo>
                  <a:lnTo>
                    <a:pt x="112" y="124"/>
                  </a:lnTo>
                  <a:lnTo>
                    <a:pt x="110" y="110"/>
                  </a:lnTo>
                  <a:lnTo>
                    <a:pt x="98" y="97"/>
                  </a:lnTo>
                  <a:lnTo>
                    <a:pt x="105" y="90"/>
                  </a:lnTo>
                  <a:lnTo>
                    <a:pt x="123" y="75"/>
                  </a:lnTo>
                  <a:lnTo>
                    <a:pt x="128" y="70"/>
                  </a:lnTo>
                  <a:lnTo>
                    <a:pt x="128" y="49"/>
                  </a:lnTo>
                  <a:lnTo>
                    <a:pt x="117" y="42"/>
                  </a:lnTo>
                  <a:lnTo>
                    <a:pt x="122" y="24"/>
                  </a:lnTo>
                  <a:lnTo>
                    <a:pt x="122" y="12"/>
                  </a:lnTo>
                  <a:lnTo>
                    <a:pt x="98" y="7"/>
                  </a:lnTo>
                  <a:lnTo>
                    <a:pt x="73" y="7"/>
                  </a:lnTo>
                  <a:lnTo>
                    <a:pt x="57" y="0"/>
                  </a:lnTo>
                  <a:lnTo>
                    <a:pt x="43" y="0"/>
                  </a:lnTo>
                  <a:lnTo>
                    <a:pt x="43" y="12"/>
                  </a:lnTo>
                  <a:lnTo>
                    <a:pt x="32" y="19"/>
                  </a:lnTo>
                  <a:lnTo>
                    <a:pt x="18" y="24"/>
                  </a:lnTo>
                  <a:lnTo>
                    <a:pt x="25" y="37"/>
                  </a:lnTo>
                  <a:lnTo>
                    <a:pt x="13" y="49"/>
                  </a:lnTo>
                  <a:lnTo>
                    <a:pt x="18" y="60"/>
                  </a:lnTo>
                  <a:lnTo>
                    <a:pt x="18" y="67"/>
                  </a:lnTo>
                  <a:lnTo>
                    <a:pt x="13" y="67"/>
                  </a:lnTo>
                  <a:lnTo>
                    <a:pt x="0" y="74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4" name="Freeform 441"/>
            <p:cNvSpPr>
              <a:spLocks/>
            </p:cNvSpPr>
            <p:nvPr/>
          </p:nvSpPr>
          <p:spPr bwMode="auto">
            <a:xfrm>
              <a:off x="2656" y="2105"/>
              <a:ext cx="55" cy="34"/>
            </a:xfrm>
            <a:custGeom>
              <a:avLst/>
              <a:gdLst>
                <a:gd name="T0" fmla="*/ 18 w 63"/>
                <a:gd name="T1" fmla="*/ 0 h 42"/>
                <a:gd name="T2" fmla="*/ 30 w 63"/>
                <a:gd name="T3" fmla="*/ 6 h 42"/>
                <a:gd name="T4" fmla="*/ 30 w 63"/>
                <a:gd name="T5" fmla="*/ 9 h 42"/>
                <a:gd name="T6" fmla="*/ 32 w 63"/>
                <a:gd name="T7" fmla="*/ 11 h 42"/>
                <a:gd name="T8" fmla="*/ 28 w 63"/>
                <a:gd name="T9" fmla="*/ 12 h 42"/>
                <a:gd name="T10" fmla="*/ 23 w 63"/>
                <a:gd name="T11" fmla="*/ 15 h 42"/>
                <a:gd name="T12" fmla="*/ 3 w 63"/>
                <a:gd name="T13" fmla="*/ 6 h 42"/>
                <a:gd name="T14" fmla="*/ 0 w 63"/>
                <a:gd name="T15" fmla="*/ 5 h 42"/>
                <a:gd name="T16" fmla="*/ 6 w 63"/>
                <a:gd name="T17" fmla="*/ 2 h 42"/>
                <a:gd name="T18" fmla="*/ 9 w 63"/>
                <a:gd name="T19" fmla="*/ 2 h 42"/>
                <a:gd name="T20" fmla="*/ 11 w 63"/>
                <a:gd name="T21" fmla="*/ 0 h 42"/>
                <a:gd name="T22" fmla="*/ 18 w 63"/>
                <a:gd name="T23" fmla="*/ 0 h 42"/>
                <a:gd name="T24" fmla="*/ 18 w 63"/>
                <a:gd name="T25" fmla="*/ 0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" h="42">
                  <a:moveTo>
                    <a:pt x="37" y="0"/>
                  </a:moveTo>
                  <a:lnTo>
                    <a:pt x="60" y="19"/>
                  </a:lnTo>
                  <a:lnTo>
                    <a:pt x="60" y="25"/>
                  </a:lnTo>
                  <a:lnTo>
                    <a:pt x="63" y="32"/>
                  </a:lnTo>
                  <a:lnTo>
                    <a:pt x="55" y="37"/>
                  </a:lnTo>
                  <a:lnTo>
                    <a:pt x="45" y="42"/>
                  </a:lnTo>
                  <a:lnTo>
                    <a:pt x="7" y="19"/>
                  </a:lnTo>
                  <a:lnTo>
                    <a:pt x="0" y="14"/>
                  </a:lnTo>
                  <a:lnTo>
                    <a:pt x="12" y="7"/>
                  </a:lnTo>
                  <a:lnTo>
                    <a:pt x="18" y="7"/>
                  </a:lnTo>
                  <a:lnTo>
                    <a:pt x="23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5" name="Freeform 442"/>
            <p:cNvSpPr>
              <a:spLocks/>
            </p:cNvSpPr>
            <p:nvPr/>
          </p:nvSpPr>
          <p:spPr bwMode="auto">
            <a:xfrm>
              <a:off x="2656" y="2105"/>
              <a:ext cx="55" cy="34"/>
            </a:xfrm>
            <a:custGeom>
              <a:avLst/>
              <a:gdLst>
                <a:gd name="T0" fmla="*/ 18 w 63"/>
                <a:gd name="T1" fmla="*/ 0 h 42"/>
                <a:gd name="T2" fmla="*/ 30 w 63"/>
                <a:gd name="T3" fmla="*/ 6 h 42"/>
                <a:gd name="T4" fmla="*/ 30 w 63"/>
                <a:gd name="T5" fmla="*/ 9 h 42"/>
                <a:gd name="T6" fmla="*/ 32 w 63"/>
                <a:gd name="T7" fmla="*/ 11 h 42"/>
                <a:gd name="T8" fmla="*/ 28 w 63"/>
                <a:gd name="T9" fmla="*/ 12 h 42"/>
                <a:gd name="T10" fmla="*/ 23 w 63"/>
                <a:gd name="T11" fmla="*/ 15 h 42"/>
                <a:gd name="T12" fmla="*/ 3 w 63"/>
                <a:gd name="T13" fmla="*/ 6 h 42"/>
                <a:gd name="T14" fmla="*/ 0 w 63"/>
                <a:gd name="T15" fmla="*/ 5 h 42"/>
                <a:gd name="T16" fmla="*/ 6 w 63"/>
                <a:gd name="T17" fmla="*/ 2 h 42"/>
                <a:gd name="T18" fmla="*/ 9 w 63"/>
                <a:gd name="T19" fmla="*/ 2 h 42"/>
                <a:gd name="T20" fmla="*/ 11 w 63"/>
                <a:gd name="T21" fmla="*/ 0 h 42"/>
                <a:gd name="T22" fmla="*/ 18 w 63"/>
                <a:gd name="T23" fmla="*/ 0 h 42"/>
                <a:gd name="T24" fmla="*/ 18 w 63"/>
                <a:gd name="T25" fmla="*/ 0 h 4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3" h="42">
                  <a:moveTo>
                    <a:pt x="37" y="0"/>
                  </a:moveTo>
                  <a:lnTo>
                    <a:pt x="60" y="19"/>
                  </a:lnTo>
                  <a:lnTo>
                    <a:pt x="60" y="25"/>
                  </a:lnTo>
                  <a:lnTo>
                    <a:pt x="63" y="32"/>
                  </a:lnTo>
                  <a:lnTo>
                    <a:pt x="55" y="37"/>
                  </a:lnTo>
                  <a:lnTo>
                    <a:pt x="45" y="42"/>
                  </a:lnTo>
                  <a:lnTo>
                    <a:pt x="7" y="19"/>
                  </a:lnTo>
                  <a:lnTo>
                    <a:pt x="0" y="14"/>
                  </a:lnTo>
                  <a:lnTo>
                    <a:pt x="12" y="7"/>
                  </a:lnTo>
                  <a:lnTo>
                    <a:pt x="18" y="7"/>
                  </a:lnTo>
                  <a:lnTo>
                    <a:pt x="23" y="0"/>
                  </a:lnTo>
                  <a:lnTo>
                    <a:pt x="3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6" name="Freeform 443"/>
            <p:cNvSpPr>
              <a:spLocks/>
            </p:cNvSpPr>
            <p:nvPr/>
          </p:nvSpPr>
          <p:spPr bwMode="auto">
            <a:xfrm>
              <a:off x="2685" y="2070"/>
              <a:ext cx="47" cy="50"/>
            </a:xfrm>
            <a:custGeom>
              <a:avLst/>
              <a:gdLst>
                <a:gd name="T0" fmla="*/ 0 w 57"/>
                <a:gd name="T1" fmla="*/ 16 h 60"/>
                <a:gd name="T2" fmla="*/ 5 w 57"/>
                <a:gd name="T3" fmla="*/ 19 h 60"/>
                <a:gd name="T4" fmla="*/ 12 w 57"/>
                <a:gd name="T5" fmla="*/ 24 h 60"/>
                <a:gd name="T6" fmla="*/ 12 w 57"/>
                <a:gd name="T7" fmla="*/ 22 h 60"/>
                <a:gd name="T8" fmla="*/ 16 w 57"/>
                <a:gd name="T9" fmla="*/ 20 h 60"/>
                <a:gd name="T10" fmla="*/ 18 w 57"/>
                <a:gd name="T11" fmla="*/ 20 h 60"/>
                <a:gd name="T12" fmla="*/ 19 w 57"/>
                <a:gd name="T13" fmla="*/ 16 h 60"/>
                <a:gd name="T14" fmla="*/ 16 w 57"/>
                <a:gd name="T15" fmla="*/ 13 h 60"/>
                <a:gd name="T16" fmla="*/ 21 w 57"/>
                <a:gd name="T17" fmla="*/ 8 h 60"/>
                <a:gd name="T18" fmla="*/ 21 w 57"/>
                <a:gd name="T19" fmla="*/ 5 h 60"/>
                <a:gd name="T20" fmla="*/ 20 w 57"/>
                <a:gd name="T21" fmla="*/ 3 h 60"/>
                <a:gd name="T22" fmla="*/ 21 w 57"/>
                <a:gd name="T23" fmla="*/ 0 h 60"/>
                <a:gd name="T24" fmla="*/ 10 w 57"/>
                <a:gd name="T25" fmla="*/ 5 h 60"/>
                <a:gd name="T26" fmla="*/ 10 w 57"/>
                <a:gd name="T27" fmla="*/ 9 h 60"/>
                <a:gd name="T28" fmla="*/ 5 w 57"/>
                <a:gd name="T29" fmla="*/ 13 h 60"/>
                <a:gd name="T30" fmla="*/ 2 w 57"/>
                <a:gd name="T31" fmla="*/ 13 h 60"/>
                <a:gd name="T32" fmla="*/ 0 w 57"/>
                <a:gd name="T33" fmla="*/ 16 h 60"/>
                <a:gd name="T34" fmla="*/ 0 w 57"/>
                <a:gd name="T35" fmla="*/ 16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7" h="60">
                  <a:moveTo>
                    <a:pt x="0" y="41"/>
                  </a:moveTo>
                  <a:lnTo>
                    <a:pt x="13" y="48"/>
                  </a:lnTo>
                  <a:lnTo>
                    <a:pt x="30" y="60"/>
                  </a:lnTo>
                  <a:lnTo>
                    <a:pt x="32" y="53"/>
                  </a:lnTo>
                  <a:lnTo>
                    <a:pt x="42" y="50"/>
                  </a:lnTo>
                  <a:lnTo>
                    <a:pt x="48" y="50"/>
                  </a:lnTo>
                  <a:lnTo>
                    <a:pt x="50" y="41"/>
                  </a:lnTo>
                  <a:lnTo>
                    <a:pt x="43" y="30"/>
                  </a:lnTo>
                  <a:lnTo>
                    <a:pt x="55" y="18"/>
                  </a:lnTo>
                  <a:lnTo>
                    <a:pt x="55" y="11"/>
                  </a:lnTo>
                  <a:lnTo>
                    <a:pt x="52" y="6"/>
                  </a:lnTo>
                  <a:lnTo>
                    <a:pt x="57" y="0"/>
                  </a:lnTo>
                  <a:lnTo>
                    <a:pt x="25" y="11"/>
                  </a:lnTo>
                  <a:lnTo>
                    <a:pt x="25" y="23"/>
                  </a:lnTo>
                  <a:lnTo>
                    <a:pt x="13" y="30"/>
                  </a:lnTo>
                  <a:lnTo>
                    <a:pt x="2" y="3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7" name="Freeform 444"/>
            <p:cNvSpPr>
              <a:spLocks/>
            </p:cNvSpPr>
            <p:nvPr/>
          </p:nvSpPr>
          <p:spPr bwMode="auto">
            <a:xfrm>
              <a:off x="2685" y="2070"/>
              <a:ext cx="47" cy="50"/>
            </a:xfrm>
            <a:custGeom>
              <a:avLst/>
              <a:gdLst>
                <a:gd name="T0" fmla="*/ 0 w 57"/>
                <a:gd name="T1" fmla="*/ 16 h 60"/>
                <a:gd name="T2" fmla="*/ 5 w 57"/>
                <a:gd name="T3" fmla="*/ 19 h 60"/>
                <a:gd name="T4" fmla="*/ 12 w 57"/>
                <a:gd name="T5" fmla="*/ 24 h 60"/>
                <a:gd name="T6" fmla="*/ 12 w 57"/>
                <a:gd name="T7" fmla="*/ 22 h 60"/>
                <a:gd name="T8" fmla="*/ 16 w 57"/>
                <a:gd name="T9" fmla="*/ 20 h 60"/>
                <a:gd name="T10" fmla="*/ 18 w 57"/>
                <a:gd name="T11" fmla="*/ 20 h 60"/>
                <a:gd name="T12" fmla="*/ 19 w 57"/>
                <a:gd name="T13" fmla="*/ 16 h 60"/>
                <a:gd name="T14" fmla="*/ 16 w 57"/>
                <a:gd name="T15" fmla="*/ 13 h 60"/>
                <a:gd name="T16" fmla="*/ 21 w 57"/>
                <a:gd name="T17" fmla="*/ 8 h 60"/>
                <a:gd name="T18" fmla="*/ 21 w 57"/>
                <a:gd name="T19" fmla="*/ 5 h 60"/>
                <a:gd name="T20" fmla="*/ 20 w 57"/>
                <a:gd name="T21" fmla="*/ 3 h 60"/>
                <a:gd name="T22" fmla="*/ 21 w 57"/>
                <a:gd name="T23" fmla="*/ 0 h 60"/>
                <a:gd name="T24" fmla="*/ 10 w 57"/>
                <a:gd name="T25" fmla="*/ 5 h 60"/>
                <a:gd name="T26" fmla="*/ 10 w 57"/>
                <a:gd name="T27" fmla="*/ 9 h 60"/>
                <a:gd name="T28" fmla="*/ 5 w 57"/>
                <a:gd name="T29" fmla="*/ 13 h 60"/>
                <a:gd name="T30" fmla="*/ 2 w 57"/>
                <a:gd name="T31" fmla="*/ 13 h 60"/>
                <a:gd name="T32" fmla="*/ 0 w 57"/>
                <a:gd name="T33" fmla="*/ 16 h 60"/>
                <a:gd name="T34" fmla="*/ 0 w 57"/>
                <a:gd name="T35" fmla="*/ 16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7" h="60">
                  <a:moveTo>
                    <a:pt x="0" y="41"/>
                  </a:moveTo>
                  <a:lnTo>
                    <a:pt x="13" y="48"/>
                  </a:lnTo>
                  <a:lnTo>
                    <a:pt x="30" y="60"/>
                  </a:lnTo>
                  <a:lnTo>
                    <a:pt x="32" y="53"/>
                  </a:lnTo>
                  <a:lnTo>
                    <a:pt x="42" y="50"/>
                  </a:lnTo>
                  <a:lnTo>
                    <a:pt x="48" y="50"/>
                  </a:lnTo>
                  <a:lnTo>
                    <a:pt x="50" y="41"/>
                  </a:lnTo>
                  <a:lnTo>
                    <a:pt x="43" y="30"/>
                  </a:lnTo>
                  <a:lnTo>
                    <a:pt x="55" y="18"/>
                  </a:lnTo>
                  <a:lnTo>
                    <a:pt x="55" y="11"/>
                  </a:lnTo>
                  <a:lnTo>
                    <a:pt x="52" y="6"/>
                  </a:lnTo>
                  <a:lnTo>
                    <a:pt x="57" y="0"/>
                  </a:lnTo>
                  <a:lnTo>
                    <a:pt x="25" y="11"/>
                  </a:lnTo>
                  <a:lnTo>
                    <a:pt x="25" y="23"/>
                  </a:lnTo>
                  <a:lnTo>
                    <a:pt x="13" y="30"/>
                  </a:lnTo>
                  <a:lnTo>
                    <a:pt x="2" y="31"/>
                  </a:lnTo>
                  <a:lnTo>
                    <a:pt x="0" y="4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8" name="Freeform 445"/>
            <p:cNvSpPr>
              <a:spLocks/>
            </p:cNvSpPr>
            <p:nvPr/>
          </p:nvSpPr>
          <p:spPr bwMode="auto">
            <a:xfrm>
              <a:off x="2746" y="1994"/>
              <a:ext cx="26" cy="61"/>
            </a:xfrm>
            <a:custGeom>
              <a:avLst/>
              <a:gdLst>
                <a:gd name="T0" fmla="*/ 0 w 30"/>
                <a:gd name="T1" fmla="*/ 26 h 75"/>
                <a:gd name="T2" fmla="*/ 0 w 30"/>
                <a:gd name="T3" fmla="*/ 20 h 75"/>
                <a:gd name="T4" fmla="*/ 3 w 30"/>
                <a:gd name="T5" fmla="*/ 11 h 75"/>
                <a:gd name="T6" fmla="*/ 0 w 30"/>
                <a:gd name="T7" fmla="*/ 7 h 75"/>
                <a:gd name="T8" fmla="*/ 6 w 30"/>
                <a:gd name="T9" fmla="*/ 0 h 75"/>
                <a:gd name="T10" fmla="*/ 12 w 30"/>
                <a:gd name="T11" fmla="*/ 7 h 75"/>
                <a:gd name="T12" fmla="*/ 15 w 30"/>
                <a:gd name="T13" fmla="*/ 11 h 75"/>
                <a:gd name="T14" fmla="*/ 9 w 30"/>
                <a:gd name="T15" fmla="*/ 17 h 75"/>
                <a:gd name="T16" fmla="*/ 9 w 30"/>
                <a:gd name="T17" fmla="*/ 24 h 75"/>
                <a:gd name="T18" fmla="*/ 12 w 30"/>
                <a:gd name="T19" fmla="*/ 27 h 75"/>
                <a:gd name="T20" fmla="*/ 6 w 30"/>
                <a:gd name="T21" fmla="*/ 26 h 75"/>
                <a:gd name="T22" fmla="*/ 0 w 30"/>
                <a:gd name="T23" fmla="*/ 26 h 75"/>
                <a:gd name="T24" fmla="*/ 0 w 30"/>
                <a:gd name="T25" fmla="*/ 26 h 7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75">
                  <a:moveTo>
                    <a:pt x="0" y="73"/>
                  </a:moveTo>
                  <a:lnTo>
                    <a:pt x="0" y="55"/>
                  </a:lnTo>
                  <a:lnTo>
                    <a:pt x="5" y="30"/>
                  </a:lnTo>
                  <a:lnTo>
                    <a:pt x="0" y="18"/>
                  </a:lnTo>
                  <a:lnTo>
                    <a:pt x="12" y="0"/>
                  </a:lnTo>
                  <a:lnTo>
                    <a:pt x="25" y="18"/>
                  </a:lnTo>
                  <a:lnTo>
                    <a:pt x="30" y="30"/>
                  </a:lnTo>
                  <a:lnTo>
                    <a:pt x="19" y="48"/>
                  </a:lnTo>
                  <a:lnTo>
                    <a:pt x="19" y="67"/>
                  </a:lnTo>
                  <a:lnTo>
                    <a:pt x="25" y="75"/>
                  </a:lnTo>
                  <a:lnTo>
                    <a:pt x="12" y="73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9" name="Freeform 446"/>
            <p:cNvSpPr>
              <a:spLocks/>
            </p:cNvSpPr>
            <p:nvPr/>
          </p:nvSpPr>
          <p:spPr bwMode="auto">
            <a:xfrm>
              <a:off x="2746" y="1994"/>
              <a:ext cx="26" cy="61"/>
            </a:xfrm>
            <a:custGeom>
              <a:avLst/>
              <a:gdLst>
                <a:gd name="T0" fmla="*/ 0 w 30"/>
                <a:gd name="T1" fmla="*/ 26 h 75"/>
                <a:gd name="T2" fmla="*/ 0 w 30"/>
                <a:gd name="T3" fmla="*/ 20 h 75"/>
                <a:gd name="T4" fmla="*/ 3 w 30"/>
                <a:gd name="T5" fmla="*/ 11 h 75"/>
                <a:gd name="T6" fmla="*/ 0 w 30"/>
                <a:gd name="T7" fmla="*/ 7 h 75"/>
                <a:gd name="T8" fmla="*/ 6 w 30"/>
                <a:gd name="T9" fmla="*/ 0 h 75"/>
                <a:gd name="T10" fmla="*/ 12 w 30"/>
                <a:gd name="T11" fmla="*/ 7 h 75"/>
                <a:gd name="T12" fmla="*/ 15 w 30"/>
                <a:gd name="T13" fmla="*/ 11 h 75"/>
                <a:gd name="T14" fmla="*/ 9 w 30"/>
                <a:gd name="T15" fmla="*/ 17 h 75"/>
                <a:gd name="T16" fmla="*/ 9 w 30"/>
                <a:gd name="T17" fmla="*/ 24 h 75"/>
                <a:gd name="T18" fmla="*/ 12 w 30"/>
                <a:gd name="T19" fmla="*/ 27 h 75"/>
                <a:gd name="T20" fmla="*/ 6 w 30"/>
                <a:gd name="T21" fmla="*/ 26 h 75"/>
                <a:gd name="T22" fmla="*/ 0 w 30"/>
                <a:gd name="T23" fmla="*/ 26 h 75"/>
                <a:gd name="T24" fmla="*/ 0 w 30"/>
                <a:gd name="T25" fmla="*/ 26 h 7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75">
                  <a:moveTo>
                    <a:pt x="0" y="73"/>
                  </a:moveTo>
                  <a:lnTo>
                    <a:pt x="0" y="55"/>
                  </a:lnTo>
                  <a:lnTo>
                    <a:pt x="5" y="30"/>
                  </a:lnTo>
                  <a:lnTo>
                    <a:pt x="0" y="18"/>
                  </a:lnTo>
                  <a:lnTo>
                    <a:pt x="12" y="0"/>
                  </a:lnTo>
                  <a:lnTo>
                    <a:pt x="25" y="18"/>
                  </a:lnTo>
                  <a:lnTo>
                    <a:pt x="30" y="30"/>
                  </a:lnTo>
                  <a:lnTo>
                    <a:pt x="19" y="48"/>
                  </a:lnTo>
                  <a:lnTo>
                    <a:pt x="19" y="67"/>
                  </a:lnTo>
                  <a:lnTo>
                    <a:pt x="25" y="75"/>
                  </a:lnTo>
                  <a:lnTo>
                    <a:pt x="12" y="73"/>
                  </a:lnTo>
                  <a:lnTo>
                    <a:pt x="0" y="7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0" name="Freeform 447"/>
            <p:cNvSpPr>
              <a:spLocks/>
            </p:cNvSpPr>
            <p:nvPr/>
          </p:nvSpPr>
          <p:spPr bwMode="auto">
            <a:xfrm>
              <a:off x="3182" y="1617"/>
              <a:ext cx="79" cy="79"/>
            </a:xfrm>
            <a:custGeom>
              <a:avLst/>
              <a:gdLst>
                <a:gd name="T0" fmla="*/ 21 w 91"/>
                <a:gd name="T1" fmla="*/ 0 h 97"/>
                <a:gd name="T2" fmla="*/ 21 w 91"/>
                <a:gd name="T3" fmla="*/ 9 h 97"/>
                <a:gd name="T4" fmla="*/ 23 w 91"/>
                <a:gd name="T5" fmla="*/ 20 h 97"/>
                <a:gd name="T6" fmla="*/ 39 w 91"/>
                <a:gd name="T7" fmla="*/ 30 h 97"/>
                <a:gd name="T8" fmla="*/ 45 w 91"/>
                <a:gd name="T9" fmla="*/ 34 h 97"/>
                <a:gd name="T10" fmla="*/ 27 w 91"/>
                <a:gd name="T11" fmla="*/ 32 h 97"/>
                <a:gd name="T12" fmla="*/ 17 w 91"/>
                <a:gd name="T13" fmla="*/ 24 h 97"/>
                <a:gd name="T14" fmla="*/ 6 w 91"/>
                <a:gd name="T15" fmla="*/ 22 h 97"/>
                <a:gd name="T16" fmla="*/ 3 w 91"/>
                <a:gd name="T17" fmla="*/ 22 h 97"/>
                <a:gd name="T18" fmla="*/ 0 w 91"/>
                <a:gd name="T19" fmla="*/ 15 h 97"/>
                <a:gd name="T20" fmla="*/ 3 w 91"/>
                <a:gd name="T21" fmla="*/ 15 h 97"/>
                <a:gd name="T22" fmla="*/ 3 w 91"/>
                <a:gd name="T23" fmla="*/ 11 h 97"/>
                <a:gd name="T24" fmla="*/ 9 w 91"/>
                <a:gd name="T25" fmla="*/ 7 h 97"/>
                <a:gd name="T26" fmla="*/ 6 w 91"/>
                <a:gd name="T27" fmla="*/ 0 h 97"/>
                <a:gd name="T28" fmla="*/ 15 w 91"/>
                <a:gd name="T29" fmla="*/ 0 h 97"/>
                <a:gd name="T30" fmla="*/ 21 w 91"/>
                <a:gd name="T31" fmla="*/ 0 h 97"/>
                <a:gd name="T32" fmla="*/ 21 w 91"/>
                <a:gd name="T33" fmla="*/ 0 h 9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1" h="97">
                  <a:moveTo>
                    <a:pt x="43" y="0"/>
                  </a:moveTo>
                  <a:lnTo>
                    <a:pt x="43" y="24"/>
                  </a:lnTo>
                  <a:lnTo>
                    <a:pt x="48" y="55"/>
                  </a:lnTo>
                  <a:lnTo>
                    <a:pt x="80" y="85"/>
                  </a:lnTo>
                  <a:lnTo>
                    <a:pt x="91" y="97"/>
                  </a:lnTo>
                  <a:lnTo>
                    <a:pt x="55" y="90"/>
                  </a:lnTo>
                  <a:lnTo>
                    <a:pt x="36" y="67"/>
                  </a:lnTo>
                  <a:lnTo>
                    <a:pt x="11" y="60"/>
                  </a:lnTo>
                  <a:lnTo>
                    <a:pt x="5" y="60"/>
                  </a:lnTo>
                  <a:lnTo>
                    <a:pt x="0" y="42"/>
                  </a:lnTo>
                  <a:lnTo>
                    <a:pt x="5" y="42"/>
                  </a:lnTo>
                  <a:lnTo>
                    <a:pt x="5" y="30"/>
                  </a:lnTo>
                  <a:lnTo>
                    <a:pt x="18" y="19"/>
                  </a:lnTo>
                  <a:lnTo>
                    <a:pt x="11" y="0"/>
                  </a:lnTo>
                  <a:lnTo>
                    <a:pt x="30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1" name="Freeform 448"/>
            <p:cNvSpPr>
              <a:spLocks/>
            </p:cNvSpPr>
            <p:nvPr/>
          </p:nvSpPr>
          <p:spPr bwMode="auto">
            <a:xfrm>
              <a:off x="3182" y="1617"/>
              <a:ext cx="79" cy="79"/>
            </a:xfrm>
            <a:custGeom>
              <a:avLst/>
              <a:gdLst>
                <a:gd name="T0" fmla="*/ 21 w 91"/>
                <a:gd name="T1" fmla="*/ 0 h 97"/>
                <a:gd name="T2" fmla="*/ 21 w 91"/>
                <a:gd name="T3" fmla="*/ 9 h 97"/>
                <a:gd name="T4" fmla="*/ 23 w 91"/>
                <a:gd name="T5" fmla="*/ 20 h 97"/>
                <a:gd name="T6" fmla="*/ 39 w 91"/>
                <a:gd name="T7" fmla="*/ 30 h 97"/>
                <a:gd name="T8" fmla="*/ 45 w 91"/>
                <a:gd name="T9" fmla="*/ 34 h 97"/>
                <a:gd name="T10" fmla="*/ 27 w 91"/>
                <a:gd name="T11" fmla="*/ 32 h 97"/>
                <a:gd name="T12" fmla="*/ 17 w 91"/>
                <a:gd name="T13" fmla="*/ 24 h 97"/>
                <a:gd name="T14" fmla="*/ 6 w 91"/>
                <a:gd name="T15" fmla="*/ 22 h 97"/>
                <a:gd name="T16" fmla="*/ 3 w 91"/>
                <a:gd name="T17" fmla="*/ 22 h 97"/>
                <a:gd name="T18" fmla="*/ 0 w 91"/>
                <a:gd name="T19" fmla="*/ 15 h 97"/>
                <a:gd name="T20" fmla="*/ 3 w 91"/>
                <a:gd name="T21" fmla="*/ 15 h 97"/>
                <a:gd name="T22" fmla="*/ 3 w 91"/>
                <a:gd name="T23" fmla="*/ 11 h 97"/>
                <a:gd name="T24" fmla="*/ 9 w 91"/>
                <a:gd name="T25" fmla="*/ 7 h 97"/>
                <a:gd name="T26" fmla="*/ 6 w 91"/>
                <a:gd name="T27" fmla="*/ 0 h 97"/>
                <a:gd name="T28" fmla="*/ 15 w 91"/>
                <a:gd name="T29" fmla="*/ 0 h 97"/>
                <a:gd name="T30" fmla="*/ 21 w 91"/>
                <a:gd name="T31" fmla="*/ 0 h 97"/>
                <a:gd name="T32" fmla="*/ 21 w 91"/>
                <a:gd name="T33" fmla="*/ 0 h 9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91" h="97">
                  <a:moveTo>
                    <a:pt x="43" y="0"/>
                  </a:moveTo>
                  <a:lnTo>
                    <a:pt x="43" y="24"/>
                  </a:lnTo>
                  <a:lnTo>
                    <a:pt x="48" y="55"/>
                  </a:lnTo>
                  <a:lnTo>
                    <a:pt x="80" y="85"/>
                  </a:lnTo>
                  <a:lnTo>
                    <a:pt x="91" y="97"/>
                  </a:lnTo>
                  <a:lnTo>
                    <a:pt x="55" y="90"/>
                  </a:lnTo>
                  <a:lnTo>
                    <a:pt x="36" y="67"/>
                  </a:lnTo>
                  <a:lnTo>
                    <a:pt x="11" y="60"/>
                  </a:lnTo>
                  <a:lnTo>
                    <a:pt x="5" y="60"/>
                  </a:lnTo>
                  <a:lnTo>
                    <a:pt x="0" y="42"/>
                  </a:lnTo>
                  <a:lnTo>
                    <a:pt x="5" y="42"/>
                  </a:lnTo>
                  <a:lnTo>
                    <a:pt x="5" y="30"/>
                  </a:lnTo>
                  <a:lnTo>
                    <a:pt x="18" y="19"/>
                  </a:lnTo>
                  <a:lnTo>
                    <a:pt x="11" y="0"/>
                  </a:lnTo>
                  <a:lnTo>
                    <a:pt x="30" y="0"/>
                  </a:lnTo>
                  <a:lnTo>
                    <a:pt x="43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2" name="Freeform 449"/>
            <p:cNvSpPr>
              <a:spLocks/>
            </p:cNvSpPr>
            <p:nvPr/>
          </p:nvSpPr>
          <p:spPr bwMode="auto">
            <a:xfrm>
              <a:off x="3266" y="1693"/>
              <a:ext cx="14" cy="10"/>
            </a:xfrm>
            <a:custGeom>
              <a:avLst/>
              <a:gdLst>
                <a:gd name="T0" fmla="*/ 0 w 19"/>
                <a:gd name="T1" fmla="*/ 0 h 14"/>
                <a:gd name="T2" fmla="*/ 1 w 19"/>
                <a:gd name="T3" fmla="*/ 3 h 14"/>
                <a:gd name="T4" fmla="*/ 3 w 19"/>
                <a:gd name="T5" fmla="*/ 3 h 14"/>
                <a:gd name="T6" fmla="*/ 4 w 19"/>
                <a:gd name="T7" fmla="*/ 1 h 14"/>
                <a:gd name="T8" fmla="*/ 4 w 19"/>
                <a:gd name="T9" fmla="*/ 0 h 14"/>
                <a:gd name="T10" fmla="*/ 0 w 19"/>
                <a:gd name="T11" fmla="*/ 0 h 14"/>
                <a:gd name="T12" fmla="*/ 0 w 19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4">
                  <a:moveTo>
                    <a:pt x="0" y="0"/>
                  </a:moveTo>
                  <a:lnTo>
                    <a:pt x="7" y="14"/>
                  </a:lnTo>
                  <a:lnTo>
                    <a:pt x="14" y="14"/>
                  </a:lnTo>
                  <a:lnTo>
                    <a:pt x="19" y="7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3" name="Freeform 450"/>
            <p:cNvSpPr>
              <a:spLocks/>
            </p:cNvSpPr>
            <p:nvPr/>
          </p:nvSpPr>
          <p:spPr bwMode="auto">
            <a:xfrm>
              <a:off x="3266" y="1693"/>
              <a:ext cx="14" cy="10"/>
            </a:xfrm>
            <a:custGeom>
              <a:avLst/>
              <a:gdLst>
                <a:gd name="T0" fmla="*/ 0 w 19"/>
                <a:gd name="T1" fmla="*/ 0 h 14"/>
                <a:gd name="T2" fmla="*/ 1 w 19"/>
                <a:gd name="T3" fmla="*/ 3 h 14"/>
                <a:gd name="T4" fmla="*/ 3 w 19"/>
                <a:gd name="T5" fmla="*/ 3 h 14"/>
                <a:gd name="T6" fmla="*/ 4 w 19"/>
                <a:gd name="T7" fmla="*/ 1 h 14"/>
                <a:gd name="T8" fmla="*/ 4 w 19"/>
                <a:gd name="T9" fmla="*/ 0 h 14"/>
                <a:gd name="T10" fmla="*/ 0 w 19"/>
                <a:gd name="T11" fmla="*/ 0 h 14"/>
                <a:gd name="T12" fmla="*/ 0 w 19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4">
                  <a:moveTo>
                    <a:pt x="0" y="0"/>
                  </a:moveTo>
                  <a:lnTo>
                    <a:pt x="7" y="14"/>
                  </a:lnTo>
                  <a:lnTo>
                    <a:pt x="14" y="14"/>
                  </a:lnTo>
                  <a:lnTo>
                    <a:pt x="19" y="7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4" name="Freeform 451"/>
            <p:cNvSpPr>
              <a:spLocks/>
            </p:cNvSpPr>
            <p:nvPr/>
          </p:nvSpPr>
          <p:spPr bwMode="auto">
            <a:xfrm>
              <a:off x="3198" y="1478"/>
              <a:ext cx="111" cy="127"/>
            </a:xfrm>
            <a:custGeom>
              <a:avLst/>
              <a:gdLst>
                <a:gd name="T0" fmla="*/ 12 w 128"/>
                <a:gd name="T1" fmla="*/ 62 h 152"/>
                <a:gd name="T2" fmla="*/ 20 w 128"/>
                <a:gd name="T3" fmla="*/ 47 h 152"/>
                <a:gd name="T4" fmla="*/ 27 w 128"/>
                <a:gd name="T5" fmla="*/ 44 h 152"/>
                <a:gd name="T6" fmla="*/ 31 w 128"/>
                <a:gd name="T7" fmla="*/ 40 h 152"/>
                <a:gd name="T8" fmla="*/ 36 w 128"/>
                <a:gd name="T9" fmla="*/ 33 h 152"/>
                <a:gd name="T10" fmla="*/ 56 w 128"/>
                <a:gd name="T11" fmla="*/ 19 h 152"/>
                <a:gd name="T12" fmla="*/ 62 w 128"/>
                <a:gd name="T13" fmla="*/ 11 h 152"/>
                <a:gd name="T14" fmla="*/ 60 w 128"/>
                <a:gd name="T15" fmla="*/ 3 h 152"/>
                <a:gd name="T16" fmla="*/ 56 w 128"/>
                <a:gd name="T17" fmla="*/ 0 h 152"/>
                <a:gd name="T18" fmla="*/ 50 w 128"/>
                <a:gd name="T19" fmla="*/ 3 h 152"/>
                <a:gd name="T20" fmla="*/ 45 w 128"/>
                <a:gd name="T21" fmla="*/ 3 h 152"/>
                <a:gd name="T22" fmla="*/ 32 w 128"/>
                <a:gd name="T23" fmla="*/ 13 h 152"/>
                <a:gd name="T24" fmla="*/ 32 w 128"/>
                <a:gd name="T25" fmla="*/ 15 h 152"/>
                <a:gd name="T26" fmla="*/ 20 w 128"/>
                <a:gd name="T27" fmla="*/ 19 h 152"/>
                <a:gd name="T28" fmla="*/ 18 w 128"/>
                <a:gd name="T29" fmla="*/ 28 h 152"/>
                <a:gd name="T30" fmla="*/ 18 w 128"/>
                <a:gd name="T31" fmla="*/ 34 h 152"/>
                <a:gd name="T32" fmla="*/ 12 w 128"/>
                <a:gd name="T33" fmla="*/ 37 h 152"/>
                <a:gd name="T34" fmla="*/ 3 w 128"/>
                <a:gd name="T35" fmla="*/ 37 h 152"/>
                <a:gd name="T36" fmla="*/ 0 w 128"/>
                <a:gd name="T37" fmla="*/ 40 h 152"/>
                <a:gd name="T38" fmla="*/ 6 w 128"/>
                <a:gd name="T39" fmla="*/ 43 h 152"/>
                <a:gd name="T40" fmla="*/ 3 w 128"/>
                <a:gd name="T41" fmla="*/ 49 h 152"/>
                <a:gd name="T42" fmla="*/ 9 w 128"/>
                <a:gd name="T43" fmla="*/ 55 h 152"/>
                <a:gd name="T44" fmla="*/ 3 w 128"/>
                <a:gd name="T45" fmla="*/ 60 h 152"/>
                <a:gd name="T46" fmla="*/ 6 w 128"/>
                <a:gd name="T47" fmla="*/ 62 h 152"/>
                <a:gd name="T48" fmla="*/ 12 w 128"/>
                <a:gd name="T49" fmla="*/ 62 h 152"/>
                <a:gd name="T50" fmla="*/ 12 w 128"/>
                <a:gd name="T51" fmla="*/ 62 h 1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8" h="152">
                  <a:moveTo>
                    <a:pt x="25" y="152"/>
                  </a:moveTo>
                  <a:lnTo>
                    <a:pt x="42" y="115"/>
                  </a:lnTo>
                  <a:lnTo>
                    <a:pt x="55" y="110"/>
                  </a:lnTo>
                  <a:lnTo>
                    <a:pt x="62" y="97"/>
                  </a:lnTo>
                  <a:lnTo>
                    <a:pt x="73" y="80"/>
                  </a:lnTo>
                  <a:lnTo>
                    <a:pt x="115" y="49"/>
                  </a:lnTo>
                  <a:lnTo>
                    <a:pt x="128" y="25"/>
                  </a:lnTo>
                  <a:lnTo>
                    <a:pt x="122" y="7"/>
                  </a:lnTo>
                  <a:lnTo>
                    <a:pt x="115" y="0"/>
                  </a:lnTo>
                  <a:lnTo>
                    <a:pt x="103" y="7"/>
                  </a:lnTo>
                  <a:lnTo>
                    <a:pt x="92" y="7"/>
                  </a:lnTo>
                  <a:lnTo>
                    <a:pt x="67" y="30"/>
                  </a:lnTo>
                  <a:lnTo>
                    <a:pt x="67" y="37"/>
                  </a:lnTo>
                  <a:lnTo>
                    <a:pt x="42" y="49"/>
                  </a:lnTo>
                  <a:lnTo>
                    <a:pt x="37" y="67"/>
                  </a:lnTo>
                  <a:lnTo>
                    <a:pt x="37" y="85"/>
                  </a:lnTo>
                  <a:lnTo>
                    <a:pt x="25" y="92"/>
                  </a:lnTo>
                  <a:lnTo>
                    <a:pt x="7" y="92"/>
                  </a:lnTo>
                  <a:lnTo>
                    <a:pt x="0" y="97"/>
                  </a:lnTo>
                  <a:lnTo>
                    <a:pt x="12" y="104"/>
                  </a:lnTo>
                  <a:lnTo>
                    <a:pt x="7" y="122"/>
                  </a:lnTo>
                  <a:lnTo>
                    <a:pt x="18" y="134"/>
                  </a:lnTo>
                  <a:lnTo>
                    <a:pt x="7" y="147"/>
                  </a:lnTo>
                  <a:lnTo>
                    <a:pt x="12" y="152"/>
                  </a:lnTo>
                  <a:lnTo>
                    <a:pt x="25" y="15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5" name="Freeform 452"/>
            <p:cNvSpPr>
              <a:spLocks/>
            </p:cNvSpPr>
            <p:nvPr/>
          </p:nvSpPr>
          <p:spPr bwMode="auto">
            <a:xfrm>
              <a:off x="3198" y="1478"/>
              <a:ext cx="111" cy="127"/>
            </a:xfrm>
            <a:custGeom>
              <a:avLst/>
              <a:gdLst>
                <a:gd name="T0" fmla="*/ 12 w 128"/>
                <a:gd name="T1" fmla="*/ 62 h 152"/>
                <a:gd name="T2" fmla="*/ 20 w 128"/>
                <a:gd name="T3" fmla="*/ 47 h 152"/>
                <a:gd name="T4" fmla="*/ 27 w 128"/>
                <a:gd name="T5" fmla="*/ 44 h 152"/>
                <a:gd name="T6" fmla="*/ 31 w 128"/>
                <a:gd name="T7" fmla="*/ 40 h 152"/>
                <a:gd name="T8" fmla="*/ 36 w 128"/>
                <a:gd name="T9" fmla="*/ 33 h 152"/>
                <a:gd name="T10" fmla="*/ 56 w 128"/>
                <a:gd name="T11" fmla="*/ 19 h 152"/>
                <a:gd name="T12" fmla="*/ 62 w 128"/>
                <a:gd name="T13" fmla="*/ 11 h 152"/>
                <a:gd name="T14" fmla="*/ 60 w 128"/>
                <a:gd name="T15" fmla="*/ 3 h 152"/>
                <a:gd name="T16" fmla="*/ 56 w 128"/>
                <a:gd name="T17" fmla="*/ 0 h 152"/>
                <a:gd name="T18" fmla="*/ 50 w 128"/>
                <a:gd name="T19" fmla="*/ 3 h 152"/>
                <a:gd name="T20" fmla="*/ 45 w 128"/>
                <a:gd name="T21" fmla="*/ 3 h 152"/>
                <a:gd name="T22" fmla="*/ 32 w 128"/>
                <a:gd name="T23" fmla="*/ 13 h 152"/>
                <a:gd name="T24" fmla="*/ 32 w 128"/>
                <a:gd name="T25" fmla="*/ 15 h 152"/>
                <a:gd name="T26" fmla="*/ 20 w 128"/>
                <a:gd name="T27" fmla="*/ 19 h 152"/>
                <a:gd name="T28" fmla="*/ 18 w 128"/>
                <a:gd name="T29" fmla="*/ 28 h 152"/>
                <a:gd name="T30" fmla="*/ 18 w 128"/>
                <a:gd name="T31" fmla="*/ 34 h 152"/>
                <a:gd name="T32" fmla="*/ 12 w 128"/>
                <a:gd name="T33" fmla="*/ 37 h 152"/>
                <a:gd name="T34" fmla="*/ 3 w 128"/>
                <a:gd name="T35" fmla="*/ 37 h 152"/>
                <a:gd name="T36" fmla="*/ 0 w 128"/>
                <a:gd name="T37" fmla="*/ 40 h 152"/>
                <a:gd name="T38" fmla="*/ 6 w 128"/>
                <a:gd name="T39" fmla="*/ 43 h 152"/>
                <a:gd name="T40" fmla="*/ 3 w 128"/>
                <a:gd name="T41" fmla="*/ 49 h 152"/>
                <a:gd name="T42" fmla="*/ 9 w 128"/>
                <a:gd name="T43" fmla="*/ 55 h 152"/>
                <a:gd name="T44" fmla="*/ 3 w 128"/>
                <a:gd name="T45" fmla="*/ 60 h 152"/>
                <a:gd name="T46" fmla="*/ 6 w 128"/>
                <a:gd name="T47" fmla="*/ 62 h 152"/>
                <a:gd name="T48" fmla="*/ 12 w 128"/>
                <a:gd name="T49" fmla="*/ 62 h 152"/>
                <a:gd name="T50" fmla="*/ 12 w 128"/>
                <a:gd name="T51" fmla="*/ 62 h 1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8" h="152">
                  <a:moveTo>
                    <a:pt x="25" y="152"/>
                  </a:moveTo>
                  <a:lnTo>
                    <a:pt x="42" y="115"/>
                  </a:lnTo>
                  <a:lnTo>
                    <a:pt x="55" y="110"/>
                  </a:lnTo>
                  <a:lnTo>
                    <a:pt x="62" y="97"/>
                  </a:lnTo>
                  <a:lnTo>
                    <a:pt x="73" y="80"/>
                  </a:lnTo>
                  <a:lnTo>
                    <a:pt x="115" y="49"/>
                  </a:lnTo>
                  <a:lnTo>
                    <a:pt x="128" y="25"/>
                  </a:lnTo>
                  <a:lnTo>
                    <a:pt x="122" y="7"/>
                  </a:lnTo>
                  <a:lnTo>
                    <a:pt x="115" y="0"/>
                  </a:lnTo>
                  <a:lnTo>
                    <a:pt x="103" y="7"/>
                  </a:lnTo>
                  <a:lnTo>
                    <a:pt x="92" y="7"/>
                  </a:lnTo>
                  <a:lnTo>
                    <a:pt x="67" y="30"/>
                  </a:lnTo>
                  <a:lnTo>
                    <a:pt x="67" y="37"/>
                  </a:lnTo>
                  <a:lnTo>
                    <a:pt x="42" y="49"/>
                  </a:lnTo>
                  <a:lnTo>
                    <a:pt x="37" y="67"/>
                  </a:lnTo>
                  <a:lnTo>
                    <a:pt x="37" y="85"/>
                  </a:lnTo>
                  <a:lnTo>
                    <a:pt x="25" y="92"/>
                  </a:lnTo>
                  <a:lnTo>
                    <a:pt x="7" y="92"/>
                  </a:lnTo>
                  <a:lnTo>
                    <a:pt x="0" y="97"/>
                  </a:lnTo>
                  <a:lnTo>
                    <a:pt x="12" y="104"/>
                  </a:lnTo>
                  <a:lnTo>
                    <a:pt x="7" y="122"/>
                  </a:lnTo>
                  <a:lnTo>
                    <a:pt x="18" y="134"/>
                  </a:lnTo>
                  <a:lnTo>
                    <a:pt x="7" y="147"/>
                  </a:lnTo>
                  <a:lnTo>
                    <a:pt x="12" y="152"/>
                  </a:lnTo>
                  <a:lnTo>
                    <a:pt x="25" y="15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6" name="Freeform 453"/>
            <p:cNvSpPr>
              <a:spLocks/>
            </p:cNvSpPr>
            <p:nvPr/>
          </p:nvSpPr>
          <p:spPr bwMode="auto">
            <a:xfrm>
              <a:off x="3433" y="1270"/>
              <a:ext cx="42" cy="51"/>
            </a:xfrm>
            <a:custGeom>
              <a:avLst/>
              <a:gdLst>
                <a:gd name="T0" fmla="*/ 0 w 49"/>
                <a:gd name="T1" fmla="*/ 10 h 62"/>
                <a:gd name="T2" fmla="*/ 3 w 49"/>
                <a:gd name="T3" fmla="*/ 12 h 62"/>
                <a:gd name="T4" fmla="*/ 3 w 49"/>
                <a:gd name="T5" fmla="*/ 17 h 62"/>
                <a:gd name="T6" fmla="*/ 15 w 49"/>
                <a:gd name="T7" fmla="*/ 19 h 62"/>
                <a:gd name="T8" fmla="*/ 17 w 49"/>
                <a:gd name="T9" fmla="*/ 24 h 62"/>
                <a:gd name="T10" fmla="*/ 21 w 49"/>
                <a:gd name="T11" fmla="*/ 24 h 62"/>
                <a:gd name="T12" fmla="*/ 21 w 49"/>
                <a:gd name="T13" fmla="*/ 21 h 62"/>
                <a:gd name="T14" fmla="*/ 21 w 49"/>
                <a:gd name="T15" fmla="*/ 14 h 62"/>
                <a:gd name="T16" fmla="*/ 23 w 49"/>
                <a:gd name="T17" fmla="*/ 12 h 62"/>
                <a:gd name="T18" fmla="*/ 23 w 49"/>
                <a:gd name="T19" fmla="*/ 7 h 62"/>
                <a:gd name="T20" fmla="*/ 15 w 49"/>
                <a:gd name="T21" fmla="*/ 0 h 62"/>
                <a:gd name="T22" fmla="*/ 9 w 49"/>
                <a:gd name="T23" fmla="*/ 2 h 62"/>
                <a:gd name="T24" fmla="*/ 6 w 49"/>
                <a:gd name="T25" fmla="*/ 0 h 62"/>
                <a:gd name="T26" fmla="*/ 3 w 49"/>
                <a:gd name="T27" fmla="*/ 7 h 62"/>
                <a:gd name="T28" fmla="*/ 0 w 49"/>
                <a:gd name="T29" fmla="*/ 10 h 62"/>
                <a:gd name="T30" fmla="*/ 0 w 49"/>
                <a:gd name="T31" fmla="*/ 10 h 6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9" h="62">
                  <a:moveTo>
                    <a:pt x="0" y="25"/>
                  </a:moveTo>
                  <a:lnTo>
                    <a:pt x="7" y="32"/>
                  </a:lnTo>
                  <a:lnTo>
                    <a:pt x="7" y="44"/>
                  </a:lnTo>
                  <a:lnTo>
                    <a:pt x="32" y="50"/>
                  </a:lnTo>
                  <a:lnTo>
                    <a:pt x="37" y="62"/>
                  </a:lnTo>
                  <a:lnTo>
                    <a:pt x="44" y="62"/>
                  </a:lnTo>
                  <a:lnTo>
                    <a:pt x="44" y="55"/>
                  </a:lnTo>
                  <a:lnTo>
                    <a:pt x="44" y="37"/>
                  </a:lnTo>
                  <a:lnTo>
                    <a:pt x="49" y="32"/>
                  </a:lnTo>
                  <a:lnTo>
                    <a:pt x="49" y="19"/>
                  </a:lnTo>
                  <a:lnTo>
                    <a:pt x="32" y="0"/>
                  </a:lnTo>
                  <a:lnTo>
                    <a:pt x="19" y="7"/>
                  </a:lnTo>
                  <a:lnTo>
                    <a:pt x="12" y="0"/>
                  </a:lnTo>
                  <a:lnTo>
                    <a:pt x="7" y="19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7" name="Freeform 454"/>
            <p:cNvSpPr>
              <a:spLocks/>
            </p:cNvSpPr>
            <p:nvPr/>
          </p:nvSpPr>
          <p:spPr bwMode="auto">
            <a:xfrm>
              <a:off x="3433" y="1270"/>
              <a:ext cx="42" cy="51"/>
            </a:xfrm>
            <a:custGeom>
              <a:avLst/>
              <a:gdLst>
                <a:gd name="T0" fmla="*/ 0 w 49"/>
                <a:gd name="T1" fmla="*/ 10 h 62"/>
                <a:gd name="T2" fmla="*/ 3 w 49"/>
                <a:gd name="T3" fmla="*/ 12 h 62"/>
                <a:gd name="T4" fmla="*/ 3 w 49"/>
                <a:gd name="T5" fmla="*/ 17 h 62"/>
                <a:gd name="T6" fmla="*/ 15 w 49"/>
                <a:gd name="T7" fmla="*/ 19 h 62"/>
                <a:gd name="T8" fmla="*/ 17 w 49"/>
                <a:gd name="T9" fmla="*/ 24 h 62"/>
                <a:gd name="T10" fmla="*/ 21 w 49"/>
                <a:gd name="T11" fmla="*/ 24 h 62"/>
                <a:gd name="T12" fmla="*/ 21 w 49"/>
                <a:gd name="T13" fmla="*/ 21 h 62"/>
                <a:gd name="T14" fmla="*/ 21 w 49"/>
                <a:gd name="T15" fmla="*/ 14 h 62"/>
                <a:gd name="T16" fmla="*/ 23 w 49"/>
                <a:gd name="T17" fmla="*/ 12 h 62"/>
                <a:gd name="T18" fmla="*/ 23 w 49"/>
                <a:gd name="T19" fmla="*/ 7 h 62"/>
                <a:gd name="T20" fmla="*/ 15 w 49"/>
                <a:gd name="T21" fmla="*/ 0 h 62"/>
                <a:gd name="T22" fmla="*/ 9 w 49"/>
                <a:gd name="T23" fmla="*/ 2 h 62"/>
                <a:gd name="T24" fmla="*/ 6 w 49"/>
                <a:gd name="T25" fmla="*/ 0 h 62"/>
                <a:gd name="T26" fmla="*/ 3 w 49"/>
                <a:gd name="T27" fmla="*/ 7 h 62"/>
                <a:gd name="T28" fmla="*/ 0 w 49"/>
                <a:gd name="T29" fmla="*/ 10 h 62"/>
                <a:gd name="T30" fmla="*/ 0 w 49"/>
                <a:gd name="T31" fmla="*/ 10 h 6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9" h="62">
                  <a:moveTo>
                    <a:pt x="0" y="25"/>
                  </a:moveTo>
                  <a:lnTo>
                    <a:pt x="7" y="32"/>
                  </a:lnTo>
                  <a:lnTo>
                    <a:pt x="7" y="44"/>
                  </a:lnTo>
                  <a:lnTo>
                    <a:pt x="32" y="50"/>
                  </a:lnTo>
                  <a:lnTo>
                    <a:pt x="37" y="62"/>
                  </a:lnTo>
                  <a:lnTo>
                    <a:pt x="44" y="62"/>
                  </a:lnTo>
                  <a:lnTo>
                    <a:pt x="44" y="55"/>
                  </a:lnTo>
                  <a:lnTo>
                    <a:pt x="44" y="37"/>
                  </a:lnTo>
                  <a:lnTo>
                    <a:pt x="49" y="32"/>
                  </a:lnTo>
                  <a:lnTo>
                    <a:pt x="49" y="19"/>
                  </a:lnTo>
                  <a:lnTo>
                    <a:pt x="32" y="0"/>
                  </a:lnTo>
                  <a:lnTo>
                    <a:pt x="19" y="7"/>
                  </a:lnTo>
                  <a:lnTo>
                    <a:pt x="12" y="0"/>
                  </a:lnTo>
                  <a:lnTo>
                    <a:pt x="7" y="19"/>
                  </a:lnTo>
                  <a:lnTo>
                    <a:pt x="0" y="2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8" name="Freeform 455"/>
            <p:cNvSpPr>
              <a:spLocks/>
            </p:cNvSpPr>
            <p:nvPr/>
          </p:nvSpPr>
          <p:spPr bwMode="auto">
            <a:xfrm>
              <a:off x="3408" y="1313"/>
              <a:ext cx="58" cy="54"/>
            </a:xfrm>
            <a:custGeom>
              <a:avLst/>
              <a:gdLst>
                <a:gd name="T0" fmla="*/ 0 w 67"/>
                <a:gd name="T1" fmla="*/ 2 h 67"/>
                <a:gd name="T2" fmla="*/ 0 w 67"/>
                <a:gd name="T3" fmla="*/ 8 h 67"/>
                <a:gd name="T4" fmla="*/ 3 w 67"/>
                <a:gd name="T5" fmla="*/ 15 h 67"/>
                <a:gd name="T6" fmla="*/ 18 w 67"/>
                <a:gd name="T7" fmla="*/ 16 h 67"/>
                <a:gd name="T8" fmla="*/ 30 w 67"/>
                <a:gd name="T9" fmla="*/ 23 h 67"/>
                <a:gd name="T10" fmla="*/ 32 w 67"/>
                <a:gd name="T11" fmla="*/ 19 h 67"/>
                <a:gd name="T12" fmla="*/ 23 w 67"/>
                <a:gd name="T13" fmla="*/ 12 h 67"/>
                <a:gd name="T14" fmla="*/ 27 w 67"/>
                <a:gd name="T15" fmla="*/ 4 h 67"/>
                <a:gd name="T16" fmla="*/ 23 w 67"/>
                <a:gd name="T17" fmla="*/ 0 h 67"/>
                <a:gd name="T18" fmla="*/ 12 w 67"/>
                <a:gd name="T19" fmla="*/ 0 h 67"/>
                <a:gd name="T20" fmla="*/ 9 w 67"/>
                <a:gd name="T21" fmla="*/ 0 h 67"/>
                <a:gd name="T22" fmla="*/ 0 w 67"/>
                <a:gd name="T23" fmla="*/ 2 h 67"/>
                <a:gd name="T24" fmla="*/ 0 w 67"/>
                <a:gd name="T25" fmla="*/ 2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7" h="67">
                  <a:moveTo>
                    <a:pt x="0" y="5"/>
                  </a:moveTo>
                  <a:lnTo>
                    <a:pt x="0" y="24"/>
                  </a:lnTo>
                  <a:lnTo>
                    <a:pt x="7" y="42"/>
                  </a:lnTo>
                  <a:lnTo>
                    <a:pt x="37" y="49"/>
                  </a:lnTo>
                  <a:lnTo>
                    <a:pt x="62" y="67"/>
                  </a:lnTo>
                  <a:lnTo>
                    <a:pt x="67" y="54"/>
                  </a:lnTo>
                  <a:lnTo>
                    <a:pt x="49" y="35"/>
                  </a:lnTo>
                  <a:lnTo>
                    <a:pt x="55" y="12"/>
                  </a:lnTo>
                  <a:lnTo>
                    <a:pt x="49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9" name="Freeform 456"/>
            <p:cNvSpPr>
              <a:spLocks/>
            </p:cNvSpPr>
            <p:nvPr/>
          </p:nvSpPr>
          <p:spPr bwMode="auto">
            <a:xfrm>
              <a:off x="3408" y="1313"/>
              <a:ext cx="58" cy="54"/>
            </a:xfrm>
            <a:custGeom>
              <a:avLst/>
              <a:gdLst>
                <a:gd name="T0" fmla="*/ 0 w 67"/>
                <a:gd name="T1" fmla="*/ 2 h 67"/>
                <a:gd name="T2" fmla="*/ 0 w 67"/>
                <a:gd name="T3" fmla="*/ 8 h 67"/>
                <a:gd name="T4" fmla="*/ 3 w 67"/>
                <a:gd name="T5" fmla="*/ 15 h 67"/>
                <a:gd name="T6" fmla="*/ 18 w 67"/>
                <a:gd name="T7" fmla="*/ 16 h 67"/>
                <a:gd name="T8" fmla="*/ 30 w 67"/>
                <a:gd name="T9" fmla="*/ 23 h 67"/>
                <a:gd name="T10" fmla="*/ 32 w 67"/>
                <a:gd name="T11" fmla="*/ 19 h 67"/>
                <a:gd name="T12" fmla="*/ 23 w 67"/>
                <a:gd name="T13" fmla="*/ 12 h 67"/>
                <a:gd name="T14" fmla="*/ 27 w 67"/>
                <a:gd name="T15" fmla="*/ 4 h 67"/>
                <a:gd name="T16" fmla="*/ 23 w 67"/>
                <a:gd name="T17" fmla="*/ 0 h 67"/>
                <a:gd name="T18" fmla="*/ 12 w 67"/>
                <a:gd name="T19" fmla="*/ 0 h 67"/>
                <a:gd name="T20" fmla="*/ 9 w 67"/>
                <a:gd name="T21" fmla="*/ 0 h 67"/>
                <a:gd name="T22" fmla="*/ 0 w 67"/>
                <a:gd name="T23" fmla="*/ 2 h 67"/>
                <a:gd name="T24" fmla="*/ 0 w 67"/>
                <a:gd name="T25" fmla="*/ 2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7" h="67">
                  <a:moveTo>
                    <a:pt x="0" y="5"/>
                  </a:moveTo>
                  <a:lnTo>
                    <a:pt x="0" y="24"/>
                  </a:lnTo>
                  <a:lnTo>
                    <a:pt x="7" y="42"/>
                  </a:lnTo>
                  <a:lnTo>
                    <a:pt x="37" y="49"/>
                  </a:lnTo>
                  <a:lnTo>
                    <a:pt x="62" y="67"/>
                  </a:lnTo>
                  <a:lnTo>
                    <a:pt x="67" y="54"/>
                  </a:lnTo>
                  <a:lnTo>
                    <a:pt x="49" y="35"/>
                  </a:lnTo>
                  <a:lnTo>
                    <a:pt x="55" y="12"/>
                  </a:lnTo>
                  <a:lnTo>
                    <a:pt x="49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0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0" name="Freeform 457"/>
            <p:cNvSpPr>
              <a:spLocks/>
            </p:cNvSpPr>
            <p:nvPr/>
          </p:nvSpPr>
          <p:spPr bwMode="auto">
            <a:xfrm>
              <a:off x="3479" y="1327"/>
              <a:ext cx="56" cy="57"/>
            </a:xfrm>
            <a:custGeom>
              <a:avLst/>
              <a:gdLst>
                <a:gd name="T0" fmla="*/ 0 w 62"/>
                <a:gd name="T1" fmla="*/ 3 h 68"/>
                <a:gd name="T2" fmla="*/ 0 w 62"/>
                <a:gd name="T3" fmla="*/ 11 h 68"/>
                <a:gd name="T4" fmla="*/ 7 w 62"/>
                <a:gd name="T5" fmla="*/ 13 h 68"/>
                <a:gd name="T6" fmla="*/ 7 w 62"/>
                <a:gd name="T7" fmla="*/ 20 h 68"/>
                <a:gd name="T8" fmla="*/ 7 w 62"/>
                <a:gd name="T9" fmla="*/ 29 h 68"/>
                <a:gd name="T10" fmla="*/ 22 w 62"/>
                <a:gd name="T11" fmla="*/ 26 h 68"/>
                <a:gd name="T12" fmla="*/ 34 w 62"/>
                <a:gd name="T13" fmla="*/ 23 h 68"/>
                <a:gd name="T14" fmla="*/ 38 w 62"/>
                <a:gd name="T15" fmla="*/ 18 h 68"/>
                <a:gd name="T16" fmla="*/ 38 w 62"/>
                <a:gd name="T17" fmla="*/ 13 h 68"/>
                <a:gd name="T18" fmla="*/ 27 w 62"/>
                <a:gd name="T19" fmla="*/ 8 h 68"/>
                <a:gd name="T20" fmla="*/ 22 w 62"/>
                <a:gd name="T21" fmla="*/ 3 h 68"/>
                <a:gd name="T22" fmla="*/ 14 w 62"/>
                <a:gd name="T23" fmla="*/ 0 h 68"/>
                <a:gd name="T24" fmla="*/ 7 w 62"/>
                <a:gd name="T25" fmla="*/ 6 h 68"/>
                <a:gd name="T26" fmla="*/ 7 w 62"/>
                <a:gd name="T27" fmla="*/ 3 h 68"/>
                <a:gd name="T28" fmla="*/ 0 w 62"/>
                <a:gd name="T29" fmla="*/ 3 h 68"/>
                <a:gd name="T30" fmla="*/ 0 w 62"/>
                <a:gd name="T31" fmla="*/ 3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2" h="68">
                  <a:moveTo>
                    <a:pt x="0" y="7"/>
                  </a:moveTo>
                  <a:lnTo>
                    <a:pt x="0" y="25"/>
                  </a:lnTo>
                  <a:lnTo>
                    <a:pt x="12" y="32"/>
                  </a:lnTo>
                  <a:lnTo>
                    <a:pt x="12" y="50"/>
                  </a:lnTo>
                  <a:lnTo>
                    <a:pt x="12" y="68"/>
                  </a:lnTo>
                  <a:lnTo>
                    <a:pt x="37" y="62"/>
                  </a:lnTo>
                  <a:lnTo>
                    <a:pt x="56" y="55"/>
                  </a:lnTo>
                  <a:lnTo>
                    <a:pt x="62" y="43"/>
                  </a:lnTo>
                  <a:lnTo>
                    <a:pt x="62" y="32"/>
                  </a:lnTo>
                  <a:lnTo>
                    <a:pt x="44" y="18"/>
                  </a:lnTo>
                  <a:lnTo>
                    <a:pt x="37" y="7"/>
                  </a:lnTo>
                  <a:lnTo>
                    <a:pt x="24" y="0"/>
                  </a:lnTo>
                  <a:lnTo>
                    <a:pt x="12" y="13"/>
                  </a:lnTo>
                  <a:lnTo>
                    <a:pt x="12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1" name="Freeform 458"/>
            <p:cNvSpPr>
              <a:spLocks/>
            </p:cNvSpPr>
            <p:nvPr/>
          </p:nvSpPr>
          <p:spPr bwMode="auto">
            <a:xfrm>
              <a:off x="3479" y="1327"/>
              <a:ext cx="56" cy="57"/>
            </a:xfrm>
            <a:custGeom>
              <a:avLst/>
              <a:gdLst>
                <a:gd name="T0" fmla="*/ 0 w 62"/>
                <a:gd name="T1" fmla="*/ 3 h 68"/>
                <a:gd name="T2" fmla="*/ 0 w 62"/>
                <a:gd name="T3" fmla="*/ 11 h 68"/>
                <a:gd name="T4" fmla="*/ 7 w 62"/>
                <a:gd name="T5" fmla="*/ 13 h 68"/>
                <a:gd name="T6" fmla="*/ 7 w 62"/>
                <a:gd name="T7" fmla="*/ 20 h 68"/>
                <a:gd name="T8" fmla="*/ 7 w 62"/>
                <a:gd name="T9" fmla="*/ 29 h 68"/>
                <a:gd name="T10" fmla="*/ 22 w 62"/>
                <a:gd name="T11" fmla="*/ 26 h 68"/>
                <a:gd name="T12" fmla="*/ 34 w 62"/>
                <a:gd name="T13" fmla="*/ 23 h 68"/>
                <a:gd name="T14" fmla="*/ 38 w 62"/>
                <a:gd name="T15" fmla="*/ 18 h 68"/>
                <a:gd name="T16" fmla="*/ 38 w 62"/>
                <a:gd name="T17" fmla="*/ 13 h 68"/>
                <a:gd name="T18" fmla="*/ 27 w 62"/>
                <a:gd name="T19" fmla="*/ 8 h 68"/>
                <a:gd name="T20" fmla="*/ 22 w 62"/>
                <a:gd name="T21" fmla="*/ 3 h 68"/>
                <a:gd name="T22" fmla="*/ 14 w 62"/>
                <a:gd name="T23" fmla="*/ 0 h 68"/>
                <a:gd name="T24" fmla="*/ 7 w 62"/>
                <a:gd name="T25" fmla="*/ 6 h 68"/>
                <a:gd name="T26" fmla="*/ 7 w 62"/>
                <a:gd name="T27" fmla="*/ 3 h 68"/>
                <a:gd name="T28" fmla="*/ 0 w 62"/>
                <a:gd name="T29" fmla="*/ 3 h 68"/>
                <a:gd name="T30" fmla="*/ 0 w 62"/>
                <a:gd name="T31" fmla="*/ 3 h 6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2" h="68">
                  <a:moveTo>
                    <a:pt x="0" y="7"/>
                  </a:moveTo>
                  <a:lnTo>
                    <a:pt x="0" y="25"/>
                  </a:lnTo>
                  <a:lnTo>
                    <a:pt x="12" y="32"/>
                  </a:lnTo>
                  <a:lnTo>
                    <a:pt x="12" y="50"/>
                  </a:lnTo>
                  <a:lnTo>
                    <a:pt x="12" y="68"/>
                  </a:lnTo>
                  <a:lnTo>
                    <a:pt x="37" y="62"/>
                  </a:lnTo>
                  <a:lnTo>
                    <a:pt x="56" y="55"/>
                  </a:lnTo>
                  <a:lnTo>
                    <a:pt x="62" y="43"/>
                  </a:lnTo>
                  <a:lnTo>
                    <a:pt x="62" y="32"/>
                  </a:lnTo>
                  <a:lnTo>
                    <a:pt x="44" y="18"/>
                  </a:lnTo>
                  <a:lnTo>
                    <a:pt x="37" y="7"/>
                  </a:lnTo>
                  <a:lnTo>
                    <a:pt x="24" y="0"/>
                  </a:lnTo>
                  <a:lnTo>
                    <a:pt x="12" y="13"/>
                  </a:lnTo>
                  <a:lnTo>
                    <a:pt x="12" y="7"/>
                  </a:lnTo>
                  <a:lnTo>
                    <a:pt x="0" y="7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2" name="Freeform 459"/>
            <p:cNvSpPr>
              <a:spLocks/>
            </p:cNvSpPr>
            <p:nvPr/>
          </p:nvSpPr>
          <p:spPr bwMode="auto">
            <a:xfrm>
              <a:off x="3438" y="1327"/>
              <a:ext cx="28" cy="14"/>
            </a:xfrm>
            <a:custGeom>
              <a:avLst/>
              <a:gdLst>
                <a:gd name="T0" fmla="*/ 18 w 30"/>
                <a:gd name="T1" fmla="*/ 0 h 18"/>
                <a:gd name="T2" fmla="*/ 0 w 30"/>
                <a:gd name="T3" fmla="*/ 2 h 18"/>
                <a:gd name="T4" fmla="*/ 18 w 30"/>
                <a:gd name="T5" fmla="*/ 5 h 18"/>
                <a:gd name="T6" fmla="*/ 21 w 30"/>
                <a:gd name="T7" fmla="*/ 4 h 18"/>
                <a:gd name="T8" fmla="*/ 18 w 30"/>
                <a:gd name="T9" fmla="*/ 0 h 18"/>
                <a:gd name="T10" fmla="*/ 18 w 3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" h="18">
                  <a:moveTo>
                    <a:pt x="25" y="0"/>
                  </a:moveTo>
                  <a:lnTo>
                    <a:pt x="0" y="7"/>
                  </a:lnTo>
                  <a:lnTo>
                    <a:pt x="25" y="18"/>
                  </a:lnTo>
                  <a:lnTo>
                    <a:pt x="30" y="1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3" name="Freeform 460"/>
            <p:cNvSpPr>
              <a:spLocks/>
            </p:cNvSpPr>
            <p:nvPr/>
          </p:nvSpPr>
          <p:spPr bwMode="auto">
            <a:xfrm>
              <a:off x="3438" y="1327"/>
              <a:ext cx="28" cy="14"/>
            </a:xfrm>
            <a:custGeom>
              <a:avLst/>
              <a:gdLst>
                <a:gd name="T0" fmla="*/ 18 w 30"/>
                <a:gd name="T1" fmla="*/ 0 h 18"/>
                <a:gd name="T2" fmla="*/ 0 w 30"/>
                <a:gd name="T3" fmla="*/ 2 h 18"/>
                <a:gd name="T4" fmla="*/ 18 w 30"/>
                <a:gd name="T5" fmla="*/ 5 h 18"/>
                <a:gd name="T6" fmla="*/ 21 w 30"/>
                <a:gd name="T7" fmla="*/ 4 h 18"/>
                <a:gd name="T8" fmla="*/ 18 w 30"/>
                <a:gd name="T9" fmla="*/ 0 h 18"/>
                <a:gd name="T10" fmla="*/ 18 w 3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" h="18">
                  <a:moveTo>
                    <a:pt x="25" y="0"/>
                  </a:moveTo>
                  <a:lnTo>
                    <a:pt x="0" y="7"/>
                  </a:lnTo>
                  <a:lnTo>
                    <a:pt x="25" y="18"/>
                  </a:lnTo>
                  <a:lnTo>
                    <a:pt x="30" y="13"/>
                  </a:lnTo>
                  <a:lnTo>
                    <a:pt x="2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4" name="Freeform 461"/>
            <p:cNvSpPr>
              <a:spLocks/>
            </p:cNvSpPr>
            <p:nvPr/>
          </p:nvSpPr>
          <p:spPr bwMode="auto">
            <a:xfrm>
              <a:off x="2989" y="1872"/>
              <a:ext cx="28" cy="51"/>
            </a:xfrm>
            <a:custGeom>
              <a:avLst/>
              <a:gdLst>
                <a:gd name="T0" fmla="*/ 7 w 35"/>
                <a:gd name="T1" fmla="*/ 0 h 60"/>
                <a:gd name="T2" fmla="*/ 11 w 35"/>
                <a:gd name="T3" fmla="*/ 10 h 60"/>
                <a:gd name="T4" fmla="*/ 7 w 35"/>
                <a:gd name="T5" fmla="*/ 23 h 60"/>
                <a:gd name="T6" fmla="*/ 0 w 35"/>
                <a:gd name="T7" fmla="*/ 26 h 6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5" h="60">
                  <a:moveTo>
                    <a:pt x="22" y="0"/>
                  </a:moveTo>
                  <a:lnTo>
                    <a:pt x="35" y="22"/>
                  </a:lnTo>
                  <a:lnTo>
                    <a:pt x="22" y="53"/>
                  </a:lnTo>
                  <a:lnTo>
                    <a:pt x="0" y="6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5" name="Freeform 462"/>
            <p:cNvSpPr>
              <a:spLocks/>
            </p:cNvSpPr>
            <p:nvPr/>
          </p:nvSpPr>
          <p:spPr bwMode="auto">
            <a:xfrm>
              <a:off x="2880" y="2263"/>
              <a:ext cx="33" cy="29"/>
            </a:xfrm>
            <a:custGeom>
              <a:avLst/>
              <a:gdLst>
                <a:gd name="T0" fmla="*/ 0 w 40"/>
                <a:gd name="T1" fmla="*/ 2 h 35"/>
                <a:gd name="T2" fmla="*/ 4 w 40"/>
                <a:gd name="T3" fmla="*/ 0 h 35"/>
                <a:gd name="T4" fmla="*/ 9 w 40"/>
                <a:gd name="T5" fmla="*/ 2 h 35"/>
                <a:gd name="T6" fmla="*/ 15 w 40"/>
                <a:gd name="T7" fmla="*/ 10 h 35"/>
                <a:gd name="T8" fmla="*/ 12 w 40"/>
                <a:gd name="T9" fmla="*/ 13 h 35"/>
                <a:gd name="T10" fmla="*/ 8 w 40"/>
                <a:gd name="T11" fmla="*/ 14 h 35"/>
                <a:gd name="T12" fmla="*/ 2 w 40"/>
                <a:gd name="T13" fmla="*/ 12 h 35"/>
                <a:gd name="T14" fmla="*/ 2 w 40"/>
                <a:gd name="T15" fmla="*/ 6 h 35"/>
                <a:gd name="T16" fmla="*/ 0 w 40"/>
                <a:gd name="T17" fmla="*/ 2 h 35"/>
                <a:gd name="T18" fmla="*/ 0 w 40"/>
                <a:gd name="T19" fmla="*/ 2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35">
                  <a:moveTo>
                    <a:pt x="0" y="2"/>
                  </a:moveTo>
                  <a:lnTo>
                    <a:pt x="10" y="0"/>
                  </a:lnTo>
                  <a:lnTo>
                    <a:pt x="23" y="4"/>
                  </a:lnTo>
                  <a:lnTo>
                    <a:pt x="40" y="25"/>
                  </a:lnTo>
                  <a:lnTo>
                    <a:pt x="30" y="34"/>
                  </a:lnTo>
                  <a:lnTo>
                    <a:pt x="21" y="35"/>
                  </a:lnTo>
                  <a:lnTo>
                    <a:pt x="5" y="29"/>
                  </a:lnTo>
                  <a:lnTo>
                    <a:pt x="5" y="15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6" name="Freeform 463"/>
            <p:cNvSpPr>
              <a:spLocks/>
            </p:cNvSpPr>
            <p:nvPr/>
          </p:nvSpPr>
          <p:spPr bwMode="auto">
            <a:xfrm>
              <a:off x="2880" y="2263"/>
              <a:ext cx="33" cy="29"/>
            </a:xfrm>
            <a:custGeom>
              <a:avLst/>
              <a:gdLst>
                <a:gd name="T0" fmla="*/ 0 w 40"/>
                <a:gd name="T1" fmla="*/ 2 h 35"/>
                <a:gd name="T2" fmla="*/ 4 w 40"/>
                <a:gd name="T3" fmla="*/ 0 h 35"/>
                <a:gd name="T4" fmla="*/ 9 w 40"/>
                <a:gd name="T5" fmla="*/ 2 h 35"/>
                <a:gd name="T6" fmla="*/ 15 w 40"/>
                <a:gd name="T7" fmla="*/ 10 h 35"/>
                <a:gd name="T8" fmla="*/ 12 w 40"/>
                <a:gd name="T9" fmla="*/ 13 h 35"/>
                <a:gd name="T10" fmla="*/ 8 w 40"/>
                <a:gd name="T11" fmla="*/ 14 h 35"/>
                <a:gd name="T12" fmla="*/ 2 w 40"/>
                <a:gd name="T13" fmla="*/ 12 h 35"/>
                <a:gd name="T14" fmla="*/ 2 w 40"/>
                <a:gd name="T15" fmla="*/ 6 h 35"/>
                <a:gd name="T16" fmla="*/ 0 w 40"/>
                <a:gd name="T17" fmla="*/ 2 h 35"/>
                <a:gd name="T18" fmla="*/ 0 w 40"/>
                <a:gd name="T19" fmla="*/ 2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35">
                  <a:moveTo>
                    <a:pt x="0" y="2"/>
                  </a:moveTo>
                  <a:lnTo>
                    <a:pt x="10" y="0"/>
                  </a:lnTo>
                  <a:lnTo>
                    <a:pt x="23" y="4"/>
                  </a:lnTo>
                  <a:lnTo>
                    <a:pt x="40" y="25"/>
                  </a:lnTo>
                  <a:lnTo>
                    <a:pt x="30" y="34"/>
                  </a:lnTo>
                  <a:lnTo>
                    <a:pt x="21" y="35"/>
                  </a:lnTo>
                  <a:lnTo>
                    <a:pt x="5" y="29"/>
                  </a:lnTo>
                  <a:lnTo>
                    <a:pt x="5" y="15"/>
                  </a:lnTo>
                  <a:lnTo>
                    <a:pt x="0" y="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7" name="Freeform 464"/>
            <p:cNvSpPr>
              <a:spLocks/>
            </p:cNvSpPr>
            <p:nvPr/>
          </p:nvSpPr>
          <p:spPr bwMode="auto">
            <a:xfrm>
              <a:off x="2309" y="1753"/>
              <a:ext cx="124" cy="86"/>
            </a:xfrm>
            <a:custGeom>
              <a:avLst/>
              <a:gdLst>
                <a:gd name="T0" fmla="*/ 27 w 143"/>
                <a:gd name="T1" fmla="*/ 9 h 101"/>
                <a:gd name="T2" fmla="*/ 25 w 143"/>
                <a:gd name="T3" fmla="*/ 14 h 101"/>
                <a:gd name="T4" fmla="*/ 20 w 143"/>
                <a:gd name="T5" fmla="*/ 14 h 101"/>
                <a:gd name="T6" fmla="*/ 19 w 143"/>
                <a:gd name="T7" fmla="*/ 9 h 101"/>
                <a:gd name="T8" fmla="*/ 12 w 143"/>
                <a:gd name="T9" fmla="*/ 3 h 101"/>
                <a:gd name="T10" fmla="*/ 8 w 143"/>
                <a:gd name="T11" fmla="*/ 0 h 101"/>
                <a:gd name="T12" fmla="*/ 8 w 143"/>
                <a:gd name="T13" fmla="*/ 5 h 101"/>
                <a:gd name="T14" fmla="*/ 9 w 143"/>
                <a:gd name="T15" fmla="*/ 8 h 101"/>
                <a:gd name="T16" fmla="*/ 9 w 143"/>
                <a:gd name="T17" fmla="*/ 9 h 101"/>
                <a:gd name="T18" fmla="*/ 3 w 143"/>
                <a:gd name="T19" fmla="*/ 9 h 101"/>
                <a:gd name="T20" fmla="*/ 0 w 143"/>
                <a:gd name="T21" fmla="*/ 9 h 101"/>
                <a:gd name="T22" fmla="*/ 0 w 143"/>
                <a:gd name="T23" fmla="*/ 14 h 101"/>
                <a:gd name="T24" fmla="*/ 5 w 143"/>
                <a:gd name="T25" fmla="*/ 16 h 101"/>
                <a:gd name="T26" fmla="*/ 14 w 143"/>
                <a:gd name="T27" fmla="*/ 20 h 101"/>
                <a:gd name="T28" fmla="*/ 19 w 143"/>
                <a:gd name="T29" fmla="*/ 23 h 101"/>
                <a:gd name="T30" fmla="*/ 17 w 143"/>
                <a:gd name="T31" fmla="*/ 23 h 101"/>
                <a:gd name="T32" fmla="*/ 13 w 143"/>
                <a:gd name="T33" fmla="*/ 23 h 101"/>
                <a:gd name="T34" fmla="*/ 3 w 143"/>
                <a:gd name="T35" fmla="*/ 26 h 101"/>
                <a:gd name="T36" fmla="*/ 3 w 143"/>
                <a:gd name="T37" fmla="*/ 26 h 101"/>
                <a:gd name="T38" fmla="*/ 10 w 143"/>
                <a:gd name="T39" fmla="*/ 29 h 101"/>
                <a:gd name="T40" fmla="*/ 14 w 143"/>
                <a:gd name="T41" fmla="*/ 31 h 101"/>
                <a:gd name="T42" fmla="*/ 17 w 143"/>
                <a:gd name="T43" fmla="*/ 32 h 101"/>
                <a:gd name="T44" fmla="*/ 15 w 143"/>
                <a:gd name="T45" fmla="*/ 35 h 101"/>
                <a:gd name="T46" fmla="*/ 13 w 143"/>
                <a:gd name="T47" fmla="*/ 38 h 101"/>
                <a:gd name="T48" fmla="*/ 19 w 143"/>
                <a:gd name="T49" fmla="*/ 43 h 101"/>
                <a:gd name="T50" fmla="*/ 27 w 143"/>
                <a:gd name="T51" fmla="*/ 45 h 101"/>
                <a:gd name="T52" fmla="*/ 33 w 143"/>
                <a:gd name="T53" fmla="*/ 43 h 101"/>
                <a:gd name="T54" fmla="*/ 41 w 143"/>
                <a:gd name="T55" fmla="*/ 41 h 101"/>
                <a:gd name="T56" fmla="*/ 49 w 143"/>
                <a:gd name="T57" fmla="*/ 41 h 101"/>
                <a:gd name="T58" fmla="*/ 56 w 143"/>
                <a:gd name="T59" fmla="*/ 37 h 101"/>
                <a:gd name="T60" fmla="*/ 60 w 143"/>
                <a:gd name="T61" fmla="*/ 34 h 101"/>
                <a:gd name="T62" fmla="*/ 65 w 143"/>
                <a:gd name="T63" fmla="*/ 32 h 101"/>
                <a:gd name="T64" fmla="*/ 68 w 143"/>
                <a:gd name="T65" fmla="*/ 27 h 101"/>
                <a:gd name="T66" fmla="*/ 70 w 143"/>
                <a:gd name="T67" fmla="*/ 23 h 101"/>
                <a:gd name="T68" fmla="*/ 71 w 143"/>
                <a:gd name="T69" fmla="*/ 20 h 101"/>
                <a:gd name="T70" fmla="*/ 68 w 143"/>
                <a:gd name="T71" fmla="*/ 17 h 101"/>
                <a:gd name="T72" fmla="*/ 65 w 143"/>
                <a:gd name="T73" fmla="*/ 16 h 101"/>
                <a:gd name="T74" fmla="*/ 61 w 143"/>
                <a:gd name="T75" fmla="*/ 16 h 101"/>
                <a:gd name="T76" fmla="*/ 65 w 143"/>
                <a:gd name="T77" fmla="*/ 10 h 101"/>
                <a:gd name="T78" fmla="*/ 62 w 143"/>
                <a:gd name="T79" fmla="*/ 7 h 101"/>
                <a:gd name="T80" fmla="*/ 59 w 143"/>
                <a:gd name="T81" fmla="*/ 7 h 101"/>
                <a:gd name="T82" fmla="*/ 54 w 143"/>
                <a:gd name="T83" fmla="*/ 9 h 101"/>
                <a:gd name="T84" fmla="*/ 49 w 143"/>
                <a:gd name="T85" fmla="*/ 8 h 101"/>
                <a:gd name="T86" fmla="*/ 46 w 143"/>
                <a:gd name="T87" fmla="*/ 7 h 101"/>
                <a:gd name="T88" fmla="*/ 42 w 143"/>
                <a:gd name="T89" fmla="*/ 9 h 101"/>
                <a:gd name="T90" fmla="*/ 41 w 143"/>
                <a:gd name="T91" fmla="*/ 12 h 101"/>
                <a:gd name="T92" fmla="*/ 36 w 143"/>
                <a:gd name="T93" fmla="*/ 11 h 101"/>
                <a:gd name="T94" fmla="*/ 33 w 143"/>
                <a:gd name="T95" fmla="*/ 7 h 101"/>
                <a:gd name="T96" fmla="*/ 31 w 143"/>
                <a:gd name="T97" fmla="*/ 9 h 101"/>
                <a:gd name="T98" fmla="*/ 31 w 143"/>
                <a:gd name="T99" fmla="*/ 9 h 101"/>
                <a:gd name="T100" fmla="*/ 28 w 143"/>
                <a:gd name="T101" fmla="*/ 8 h 101"/>
                <a:gd name="T102" fmla="*/ 27 w 143"/>
                <a:gd name="T103" fmla="*/ 9 h 101"/>
                <a:gd name="T104" fmla="*/ 27 w 143"/>
                <a:gd name="T105" fmla="*/ 9 h 10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43" h="101">
                  <a:moveTo>
                    <a:pt x="55" y="21"/>
                  </a:moveTo>
                  <a:lnTo>
                    <a:pt x="51" y="30"/>
                  </a:lnTo>
                  <a:lnTo>
                    <a:pt x="40" y="33"/>
                  </a:lnTo>
                  <a:lnTo>
                    <a:pt x="38" y="21"/>
                  </a:lnTo>
                  <a:lnTo>
                    <a:pt x="25" y="5"/>
                  </a:lnTo>
                  <a:lnTo>
                    <a:pt x="16" y="0"/>
                  </a:lnTo>
                  <a:lnTo>
                    <a:pt x="15" y="10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8" y="20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10" y="35"/>
                  </a:lnTo>
                  <a:lnTo>
                    <a:pt x="28" y="43"/>
                  </a:lnTo>
                  <a:lnTo>
                    <a:pt x="38" y="50"/>
                  </a:lnTo>
                  <a:lnTo>
                    <a:pt x="35" y="53"/>
                  </a:lnTo>
                  <a:lnTo>
                    <a:pt x="26" y="53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21" y="65"/>
                  </a:lnTo>
                  <a:lnTo>
                    <a:pt x="28" y="68"/>
                  </a:lnTo>
                  <a:lnTo>
                    <a:pt x="35" y="70"/>
                  </a:lnTo>
                  <a:lnTo>
                    <a:pt x="30" y="78"/>
                  </a:lnTo>
                  <a:lnTo>
                    <a:pt x="26" y="86"/>
                  </a:lnTo>
                  <a:lnTo>
                    <a:pt x="38" y="96"/>
                  </a:lnTo>
                  <a:lnTo>
                    <a:pt x="56" y="101"/>
                  </a:lnTo>
                  <a:lnTo>
                    <a:pt x="68" y="95"/>
                  </a:lnTo>
                  <a:lnTo>
                    <a:pt x="83" y="90"/>
                  </a:lnTo>
                  <a:lnTo>
                    <a:pt x="101" y="91"/>
                  </a:lnTo>
                  <a:lnTo>
                    <a:pt x="115" y="83"/>
                  </a:lnTo>
                  <a:lnTo>
                    <a:pt x="121" y="76"/>
                  </a:lnTo>
                  <a:lnTo>
                    <a:pt x="132" y="73"/>
                  </a:lnTo>
                  <a:lnTo>
                    <a:pt x="138" y="61"/>
                  </a:lnTo>
                  <a:lnTo>
                    <a:pt x="142" y="51"/>
                  </a:lnTo>
                  <a:lnTo>
                    <a:pt x="143" y="46"/>
                  </a:lnTo>
                  <a:lnTo>
                    <a:pt x="138" y="38"/>
                  </a:lnTo>
                  <a:lnTo>
                    <a:pt x="133" y="35"/>
                  </a:lnTo>
                  <a:lnTo>
                    <a:pt x="123" y="35"/>
                  </a:lnTo>
                  <a:lnTo>
                    <a:pt x="132" y="23"/>
                  </a:lnTo>
                  <a:lnTo>
                    <a:pt x="128" y="15"/>
                  </a:lnTo>
                  <a:lnTo>
                    <a:pt x="120" y="15"/>
                  </a:lnTo>
                  <a:lnTo>
                    <a:pt x="108" y="20"/>
                  </a:lnTo>
                  <a:lnTo>
                    <a:pt x="100" y="16"/>
                  </a:lnTo>
                  <a:lnTo>
                    <a:pt x="93" y="15"/>
                  </a:lnTo>
                  <a:lnTo>
                    <a:pt x="86" y="21"/>
                  </a:lnTo>
                  <a:lnTo>
                    <a:pt x="83" y="28"/>
                  </a:lnTo>
                  <a:lnTo>
                    <a:pt x="76" y="25"/>
                  </a:lnTo>
                  <a:lnTo>
                    <a:pt x="68" y="15"/>
                  </a:lnTo>
                  <a:lnTo>
                    <a:pt x="66" y="20"/>
                  </a:lnTo>
                  <a:lnTo>
                    <a:pt x="63" y="21"/>
                  </a:lnTo>
                  <a:lnTo>
                    <a:pt x="58" y="16"/>
                  </a:lnTo>
                  <a:lnTo>
                    <a:pt x="55" y="21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8" name="Freeform 465"/>
            <p:cNvSpPr>
              <a:spLocks/>
            </p:cNvSpPr>
            <p:nvPr/>
          </p:nvSpPr>
          <p:spPr bwMode="auto">
            <a:xfrm>
              <a:off x="2309" y="1753"/>
              <a:ext cx="124" cy="86"/>
            </a:xfrm>
            <a:custGeom>
              <a:avLst/>
              <a:gdLst>
                <a:gd name="T0" fmla="*/ 27 w 143"/>
                <a:gd name="T1" fmla="*/ 9 h 101"/>
                <a:gd name="T2" fmla="*/ 25 w 143"/>
                <a:gd name="T3" fmla="*/ 14 h 101"/>
                <a:gd name="T4" fmla="*/ 20 w 143"/>
                <a:gd name="T5" fmla="*/ 14 h 101"/>
                <a:gd name="T6" fmla="*/ 19 w 143"/>
                <a:gd name="T7" fmla="*/ 9 h 101"/>
                <a:gd name="T8" fmla="*/ 12 w 143"/>
                <a:gd name="T9" fmla="*/ 3 h 101"/>
                <a:gd name="T10" fmla="*/ 8 w 143"/>
                <a:gd name="T11" fmla="*/ 0 h 101"/>
                <a:gd name="T12" fmla="*/ 8 w 143"/>
                <a:gd name="T13" fmla="*/ 5 h 101"/>
                <a:gd name="T14" fmla="*/ 9 w 143"/>
                <a:gd name="T15" fmla="*/ 8 h 101"/>
                <a:gd name="T16" fmla="*/ 9 w 143"/>
                <a:gd name="T17" fmla="*/ 9 h 101"/>
                <a:gd name="T18" fmla="*/ 3 w 143"/>
                <a:gd name="T19" fmla="*/ 9 h 101"/>
                <a:gd name="T20" fmla="*/ 0 w 143"/>
                <a:gd name="T21" fmla="*/ 9 h 101"/>
                <a:gd name="T22" fmla="*/ 0 w 143"/>
                <a:gd name="T23" fmla="*/ 14 h 101"/>
                <a:gd name="T24" fmla="*/ 5 w 143"/>
                <a:gd name="T25" fmla="*/ 16 h 101"/>
                <a:gd name="T26" fmla="*/ 14 w 143"/>
                <a:gd name="T27" fmla="*/ 20 h 101"/>
                <a:gd name="T28" fmla="*/ 19 w 143"/>
                <a:gd name="T29" fmla="*/ 23 h 101"/>
                <a:gd name="T30" fmla="*/ 17 w 143"/>
                <a:gd name="T31" fmla="*/ 23 h 101"/>
                <a:gd name="T32" fmla="*/ 13 w 143"/>
                <a:gd name="T33" fmla="*/ 23 h 101"/>
                <a:gd name="T34" fmla="*/ 3 w 143"/>
                <a:gd name="T35" fmla="*/ 26 h 101"/>
                <a:gd name="T36" fmla="*/ 3 w 143"/>
                <a:gd name="T37" fmla="*/ 26 h 101"/>
                <a:gd name="T38" fmla="*/ 10 w 143"/>
                <a:gd name="T39" fmla="*/ 29 h 101"/>
                <a:gd name="T40" fmla="*/ 14 w 143"/>
                <a:gd name="T41" fmla="*/ 31 h 101"/>
                <a:gd name="T42" fmla="*/ 17 w 143"/>
                <a:gd name="T43" fmla="*/ 32 h 101"/>
                <a:gd name="T44" fmla="*/ 15 w 143"/>
                <a:gd name="T45" fmla="*/ 35 h 101"/>
                <a:gd name="T46" fmla="*/ 13 w 143"/>
                <a:gd name="T47" fmla="*/ 38 h 101"/>
                <a:gd name="T48" fmla="*/ 19 w 143"/>
                <a:gd name="T49" fmla="*/ 43 h 101"/>
                <a:gd name="T50" fmla="*/ 27 w 143"/>
                <a:gd name="T51" fmla="*/ 45 h 101"/>
                <a:gd name="T52" fmla="*/ 33 w 143"/>
                <a:gd name="T53" fmla="*/ 43 h 101"/>
                <a:gd name="T54" fmla="*/ 41 w 143"/>
                <a:gd name="T55" fmla="*/ 41 h 101"/>
                <a:gd name="T56" fmla="*/ 49 w 143"/>
                <a:gd name="T57" fmla="*/ 41 h 101"/>
                <a:gd name="T58" fmla="*/ 56 w 143"/>
                <a:gd name="T59" fmla="*/ 37 h 101"/>
                <a:gd name="T60" fmla="*/ 60 w 143"/>
                <a:gd name="T61" fmla="*/ 34 h 101"/>
                <a:gd name="T62" fmla="*/ 65 w 143"/>
                <a:gd name="T63" fmla="*/ 32 h 101"/>
                <a:gd name="T64" fmla="*/ 68 w 143"/>
                <a:gd name="T65" fmla="*/ 27 h 101"/>
                <a:gd name="T66" fmla="*/ 70 w 143"/>
                <a:gd name="T67" fmla="*/ 23 h 101"/>
                <a:gd name="T68" fmla="*/ 71 w 143"/>
                <a:gd name="T69" fmla="*/ 20 h 101"/>
                <a:gd name="T70" fmla="*/ 68 w 143"/>
                <a:gd name="T71" fmla="*/ 17 h 101"/>
                <a:gd name="T72" fmla="*/ 65 w 143"/>
                <a:gd name="T73" fmla="*/ 16 h 101"/>
                <a:gd name="T74" fmla="*/ 61 w 143"/>
                <a:gd name="T75" fmla="*/ 16 h 101"/>
                <a:gd name="T76" fmla="*/ 65 w 143"/>
                <a:gd name="T77" fmla="*/ 10 h 101"/>
                <a:gd name="T78" fmla="*/ 62 w 143"/>
                <a:gd name="T79" fmla="*/ 7 h 101"/>
                <a:gd name="T80" fmla="*/ 59 w 143"/>
                <a:gd name="T81" fmla="*/ 7 h 101"/>
                <a:gd name="T82" fmla="*/ 54 w 143"/>
                <a:gd name="T83" fmla="*/ 9 h 101"/>
                <a:gd name="T84" fmla="*/ 49 w 143"/>
                <a:gd name="T85" fmla="*/ 8 h 101"/>
                <a:gd name="T86" fmla="*/ 46 w 143"/>
                <a:gd name="T87" fmla="*/ 7 h 101"/>
                <a:gd name="T88" fmla="*/ 42 w 143"/>
                <a:gd name="T89" fmla="*/ 9 h 101"/>
                <a:gd name="T90" fmla="*/ 41 w 143"/>
                <a:gd name="T91" fmla="*/ 12 h 101"/>
                <a:gd name="T92" fmla="*/ 36 w 143"/>
                <a:gd name="T93" fmla="*/ 11 h 101"/>
                <a:gd name="T94" fmla="*/ 33 w 143"/>
                <a:gd name="T95" fmla="*/ 7 h 101"/>
                <a:gd name="T96" fmla="*/ 31 w 143"/>
                <a:gd name="T97" fmla="*/ 9 h 101"/>
                <a:gd name="T98" fmla="*/ 31 w 143"/>
                <a:gd name="T99" fmla="*/ 9 h 101"/>
                <a:gd name="T100" fmla="*/ 28 w 143"/>
                <a:gd name="T101" fmla="*/ 8 h 101"/>
                <a:gd name="T102" fmla="*/ 27 w 143"/>
                <a:gd name="T103" fmla="*/ 9 h 101"/>
                <a:gd name="T104" fmla="*/ 27 w 143"/>
                <a:gd name="T105" fmla="*/ 9 h 10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43" h="101">
                  <a:moveTo>
                    <a:pt x="55" y="21"/>
                  </a:moveTo>
                  <a:lnTo>
                    <a:pt x="51" y="30"/>
                  </a:lnTo>
                  <a:lnTo>
                    <a:pt x="40" y="33"/>
                  </a:lnTo>
                  <a:lnTo>
                    <a:pt x="38" y="21"/>
                  </a:lnTo>
                  <a:lnTo>
                    <a:pt x="25" y="5"/>
                  </a:lnTo>
                  <a:lnTo>
                    <a:pt x="16" y="0"/>
                  </a:lnTo>
                  <a:lnTo>
                    <a:pt x="15" y="10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8" y="20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10" y="35"/>
                  </a:lnTo>
                  <a:lnTo>
                    <a:pt x="28" y="43"/>
                  </a:lnTo>
                  <a:lnTo>
                    <a:pt x="38" y="50"/>
                  </a:lnTo>
                  <a:lnTo>
                    <a:pt x="35" y="53"/>
                  </a:lnTo>
                  <a:lnTo>
                    <a:pt x="26" y="53"/>
                  </a:lnTo>
                  <a:lnTo>
                    <a:pt x="8" y="56"/>
                  </a:lnTo>
                  <a:lnTo>
                    <a:pt x="8" y="58"/>
                  </a:lnTo>
                  <a:lnTo>
                    <a:pt x="21" y="65"/>
                  </a:lnTo>
                  <a:lnTo>
                    <a:pt x="28" y="68"/>
                  </a:lnTo>
                  <a:lnTo>
                    <a:pt x="35" y="70"/>
                  </a:lnTo>
                  <a:lnTo>
                    <a:pt x="30" y="78"/>
                  </a:lnTo>
                  <a:lnTo>
                    <a:pt x="26" y="86"/>
                  </a:lnTo>
                  <a:lnTo>
                    <a:pt x="38" y="96"/>
                  </a:lnTo>
                  <a:lnTo>
                    <a:pt x="56" y="101"/>
                  </a:lnTo>
                  <a:lnTo>
                    <a:pt x="68" y="95"/>
                  </a:lnTo>
                  <a:lnTo>
                    <a:pt x="83" y="90"/>
                  </a:lnTo>
                  <a:lnTo>
                    <a:pt x="101" y="91"/>
                  </a:lnTo>
                  <a:lnTo>
                    <a:pt x="115" y="83"/>
                  </a:lnTo>
                  <a:lnTo>
                    <a:pt x="121" y="76"/>
                  </a:lnTo>
                  <a:lnTo>
                    <a:pt x="132" y="73"/>
                  </a:lnTo>
                  <a:lnTo>
                    <a:pt x="138" y="61"/>
                  </a:lnTo>
                  <a:lnTo>
                    <a:pt x="142" y="51"/>
                  </a:lnTo>
                  <a:lnTo>
                    <a:pt x="143" y="46"/>
                  </a:lnTo>
                  <a:lnTo>
                    <a:pt x="138" y="38"/>
                  </a:lnTo>
                  <a:lnTo>
                    <a:pt x="133" y="35"/>
                  </a:lnTo>
                  <a:lnTo>
                    <a:pt x="123" y="35"/>
                  </a:lnTo>
                  <a:lnTo>
                    <a:pt x="132" y="23"/>
                  </a:lnTo>
                  <a:lnTo>
                    <a:pt x="128" y="15"/>
                  </a:lnTo>
                  <a:lnTo>
                    <a:pt x="120" y="15"/>
                  </a:lnTo>
                  <a:lnTo>
                    <a:pt x="108" y="20"/>
                  </a:lnTo>
                  <a:lnTo>
                    <a:pt x="100" y="16"/>
                  </a:lnTo>
                  <a:lnTo>
                    <a:pt x="93" y="15"/>
                  </a:lnTo>
                  <a:lnTo>
                    <a:pt x="86" y="21"/>
                  </a:lnTo>
                  <a:lnTo>
                    <a:pt x="83" y="28"/>
                  </a:lnTo>
                  <a:lnTo>
                    <a:pt x="76" y="25"/>
                  </a:lnTo>
                  <a:lnTo>
                    <a:pt x="68" y="15"/>
                  </a:lnTo>
                  <a:lnTo>
                    <a:pt x="66" y="20"/>
                  </a:lnTo>
                  <a:lnTo>
                    <a:pt x="63" y="21"/>
                  </a:lnTo>
                  <a:lnTo>
                    <a:pt x="58" y="16"/>
                  </a:lnTo>
                  <a:lnTo>
                    <a:pt x="55" y="21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9" name="Freeform 466"/>
            <p:cNvSpPr>
              <a:spLocks/>
            </p:cNvSpPr>
            <p:nvPr/>
          </p:nvSpPr>
          <p:spPr bwMode="auto">
            <a:xfrm>
              <a:off x="2008" y="1246"/>
              <a:ext cx="374" cy="590"/>
            </a:xfrm>
            <a:custGeom>
              <a:avLst/>
              <a:gdLst>
                <a:gd name="T0" fmla="*/ 72 w 434"/>
                <a:gd name="T1" fmla="*/ 24 h 705"/>
                <a:gd name="T2" fmla="*/ 54 w 434"/>
                <a:gd name="T3" fmla="*/ 37 h 705"/>
                <a:gd name="T4" fmla="*/ 40 w 434"/>
                <a:gd name="T5" fmla="*/ 47 h 705"/>
                <a:gd name="T6" fmla="*/ 29 w 434"/>
                <a:gd name="T7" fmla="*/ 61 h 705"/>
                <a:gd name="T8" fmla="*/ 30 w 434"/>
                <a:gd name="T9" fmla="*/ 78 h 705"/>
                <a:gd name="T10" fmla="*/ 16 w 434"/>
                <a:gd name="T11" fmla="*/ 88 h 705"/>
                <a:gd name="T12" fmla="*/ 0 w 434"/>
                <a:gd name="T13" fmla="*/ 104 h 705"/>
                <a:gd name="T14" fmla="*/ 16 w 434"/>
                <a:gd name="T15" fmla="*/ 114 h 705"/>
                <a:gd name="T16" fmla="*/ 4 w 434"/>
                <a:gd name="T17" fmla="*/ 125 h 705"/>
                <a:gd name="T18" fmla="*/ 29 w 434"/>
                <a:gd name="T19" fmla="*/ 127 h 705"/>
                <a:gd name="T20" fmla="*/ 47 w 434"/>
                <a:gd name="T21" fmla="*/ 135 h 705"/>
                <a:gd name="T22" fmla="*/ 62 w 434"/>
                <a:gd name="T23" fmla="*/ 152 h 705"/>
                <a:gd name="T24" fmla="*/ 65 w 434"/>
                <a:gd name="T25" fmla="*/ 170 h 705"/>
                <a:gd name="T26" fmla="*/ 76 w 434"/>
                <a:gd name="T27" fmla="*/ 185 h 705"/>
                <a:gd name="T28" fmla="*/ 62 w 434"/>
                <a:gd name="T29" fmla="*/ 196 h 705"/>
                <a:gd name="T30" fmla="*/ 59 w 434"/>
                <a:gd name="T31" fmla="*/ 213 h 705"/>
                <a:gd name="T32" fmla="*/ 57 w 434"/>
                <a:gd name="T33" fmla="*/ 225 h 705"/>
                <a:gd name="T34" fmla="*/ 58 w 434"/>
                <a:gd name="T35" fmla="*/ 242 h 705"/>
                <a:gd name="T36" fmla="*/ 65 w 434"/>
                <a:gd name="T37" fmla="*/ 264 h 705"/>
                <a:gd name="T38" fmla="*/ 67 w 434"/>
                <a:gd name="T39" fmla="*/ 279 h 705"/>
                <a:gd name="T40" fmla="*/ 84 w 434"/>
                <a:gd name="T41" fmla="*/ 285 h 705"/>
                <a:gd name="T42" fmla="*/ 94 w 434"/>
                <a:gd name="T43" fmla="*/ 290 h 705"/>
                <a:gd name="T44" fmla="*/ 109 w 434"/>
                <a:gd name="T45" fmla="*/ 274 h 705"/>
                <a:gd name="T46" fmla="*/ 118 w 434"/>
                <a:gd name="T47" fmla="*/ 245 h 705"/>
                <a:gd name="T48" fmla="*/ 129 w 434"/>
                <a:gd name="T49" fmla="*/ 224 h 705"/>
                <a:gd name="T50" fmla="*/ 153 w 434"/>
                <a:gd name="T51" fmla="*/ 215 h 705"/>
                <a:gd name="T52" fmla="*/ 161 w 434"/>
                <a:gd name="T53" fmla="*/ 200 h 705"/>
                <a:gd name="T54" fmla="*/ 184 w 434"/>
                <a:gd name="T55" fmla="*/ 184 h 705"/>
                <a:gd name="T56" fmla="*/ 189 w 434"/>
                <a:gd name="T57" fmla="*/ 180 h 705"/>
                <a:gd name="T58" fmla="*/ 197 w 434"/>
                <a:gd name="T59" fmla="*/ 167 h 705"/>
                <a:gd name="T60" fmla="*/ 185 w 434"/>
                <a:gd name="T61" fmla="*/ 166 h 705"/>
                <a:gd name="T62" fmla="*/ 182 w 434"/>
                <a:gd name="T63" fmla="*/ 152 h 705"/>
                <a:gd name="T64" fmla="*/ 196 w 434"/>
                <a:gd name="T65" fmla="*/ 155 h 705"/>
                <a:gd name="T66" fmla="*/ 206 w 434"/>
                <a:gd name="T67" fmla="*/ 152 h 705"/>
                <a:gd name="T68" fmla="*/ 192 w 434"/>
                <a:gd name="T69" fmla="*/ 144 h 705"/>
                <a:gd name="T70" fmla="*/ 186 w 434"/>
                <a:gd name="T71" fmla="*/ 134 h 705"/>
                <a:gd name="T72" fmla="*/ 190 w 434"/>
                <a:gd name="T73" fmla="*/ 123 h 705"/>
                <a:gd name="T74" fmla="*/ 196 w 434"/>
                <a:gd name="T75" fmla="*/ 113 h 705"/>
                <a:gd name="T76" fmla="*/ 189 w 434"/>
                <a:gd name="T77" fmla="*/ 89 h 705"/>
                <a:gd name="T78" fmla="*/ 184 w 434"/>
                <a:gd name="T79" fmla="*/ 76 h 705"/>
                <a:gd name="T80" fmla="*/ 179 w 434"/>
                <a:gd name="T81" fmla="*/ 67 h 705"/>
                <a:gd name="T82" fmla="*/ 190 w 434"/>
                <a:gd name="T83" fmla="*/ 56 h 705"/>
                <a:gd name="T84" fmla="*/ 192 w 434"/>
                <a:gd name="T85" fmla="*/ 46 h 705"/>
                <a:gd name="T86" fmla="*/ 186 w 434"/>
                <a:gd name="T87" fmla="*/ 38 h 705"/>
                <a:gd name="T88" fmla="*/ 159 w 434"/>
                <a:gd name="T89" fmla="*/ 46 h 705"/>
                <a:gd name="T90" fmla="*/ 153 w 434"/>
                <a:gd name="T91" fmla="*/ 44 h 705"/>
                <a:gd name="T92" fmla="*/ 165 w 434"/>
                <a:gd name="T93" fmla="*/ 34 h 705"/>
                <a:gd name="T94" fmla="*/ 153 w 434"/>
                <a:gd name="T95" fmla="*/ 37 h 705"/>
                <a:gd name="T96" fmla="*/ 146 w 434"/>
                <a:gd name="T97" fmla="*/ 34 h 705"/>
                <a:gd name="T98" fmla="*/ 141 w 434"/>
                <a:gd name="T99" fmla="*/ 27 h 705"/>
                <a:gd name="T100" fmla="*/ 152 w 434"/>
                <a:gd name="T101" fmla="*/ 23 h 705"/>
                <a:gd name="T102" fmla="*/ 178 w 434"/>
                <a:gd name="T103" fmla="*/ 14 h 705"/>
                <a:gd name="T104" fmla="*/ 167 w 434"/>
                <a:gd name="T105" fmla="*/ 8 h 705"/>
                <a:gd name="T106" fmla="*/ 141 w 434"/>
                <a:gd name="T107" fmla="*/ 0 h 705"/>
                <a:gd name="T108" fmla="*/ 122 w 434"/>
                <a:gd name="T109" fmla="*/ 3 h 705"/>
                <a:gd name="T110" fmla="*/ 121 w 434"/>
                <a:gd name="T111" fmla="*/ 13 h 705"/>
                <a:gd name="T112" fmla="*/ 105 w 434"/>
                <a:gd name="T113" fmla="*/ 13 h 705"/>
                <a:gd name="T114" fmla="*/ 99 w 434"/>
                <a:gd name="T115" fmla="*/ 23 h 705"/>
                <a:gd name="T116" fmla="*/ 90 w 434"/>
                <a:gd name="T117" fmla="*/ 20 h 705"/>
                <a:gd name="T118" fmla="*/ 94 w 434"/>
                <a:gd name="T119" fmla="*/ 27 h 705"/>
                <a:gd name="T120" fmla="*/ 92 w 434"/>
                <a:gd name="T121" fmla="*/ 30 h 70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34" h="705">
                  <a:moveTo>
                    <a:pt x="194" y="73"/>
                  </a:moveTo>
                  <a:lnTo>
                    <a:pt x="152" y="60"/>
                  </a:lnTo>
                  <a:lnTo>
                    <a:pt x="130" y="82"/>
                  </a:lnTo>
                  <a:lnTo>
                    <a:pt x="115" y="90"/>
                  </a:lnTo>
                  <a:lnTo>
                    <a:pt x="99" y="98"/>
                  </a:lnTo>
                  <a:lnTo>
                    <a:pt x="82" y="115"/>
                  </a:lnTo>
                  <a:lnTo>
                    <a:pt x="87" y="142"/>
                  </a:lnTo>
                  <a:lnTo>
                    <a:pt x="60" y="148"/>
                  </a:lnTo>
                  <a:lnTo>
                    <a:pt x="50" y="163"/>
                  </a:lnTo>
                  <a:lnTo>
                    <a:pt x="65" y="190"/>
                  </a:lnTo>
                  <a:lnTo>
                    <a:pt x="62" y="202"/>
                  </a:lnTo>
                  <a:lnTo>
                    <a:pt x="34" y="215"/>
                  </a:lnTo>
                  <a:lnTo>
                    <a:pt x="0" y="237"/>
                  </a:lnTo>
                  <a:lnTo>
                    <a:pt x="0" y="253"/>
                  </a:lnTo>
                  <a:lnTo>
                    <a:pt x="30" y="272"/>
                  </a:lnTo>
                  <a:lnTo>
                    <a:pt x="34" y="278"/>
                  </a:lnTo>
                  <a:lnTo>
                    <a:pt x="12" y="292"/>
                  </a:lnTo>
                  <a:lnTo>
                    <a:pt x="9" y="305"/>
                  </a:lnTo>
                  <a:lnTo>
                    <a:pt x="22" y="322"/>
                  </a:lnTo>
                  <a:lnTo>
                    <a:pt x="60" y="310"/>
                  </a:lnTo>
                  <a:lnTo>
                    <a:pt x="74" y="313"/>
                  </a:lnTo>
                  <a:lnTo>
                    <a:pt x="99" y="327"/>
                  </a:lnTo>
                  <a:lnTo>
                    <a:pt x="102" y="343"/>
                  </a:lnTo>
                  <a:lnTo>
                    <a:pt x="129" y="373"/>
                  </a:lnTo>
                  <a:lnTo>
                    <a:pt x="134" y="395"/>
                  </a:lnTo>
                  <a:lnTo>
                    <a:pt x="137" y="413"/>
                  </a:lnTo>
                  <a:lnTo>
                    <a:pt x="137" y="438"/>
                  </a:lnTo>
                  <a:lnTo>
                    <a:pt x="159" y="452"/>
                  </a:lnTo>
                  <a:lnTo>
                    <a:pt x="147" y="472"/>
                  </a:lnTo>
                  <a:lnTo>
                    <a:pt x="130" y="478"/>
                  </a:lnTo>
                  <a:lnTo>
                    <a:pt x="125" y="498"/>
                  </a:lnTo>
                  <a:lnTo>
                    <a:pt x="125" y="517"/>
                  </a:lnTo>
                  <a:lnTo>
                    <a:pt x="112" y="532"/>
                  </a:lnTo>
                  <a:lnTo>
                    <a:pt x="120" y="550"/>
                  </a:lnTo>
                  <a:lnTo>
                    <a:pt x="130" y="563"/>
                  </a:lnTo>
                  <a:lnTo>
                    <a:pt x="122" y="588"/>
                  </a:lnTo>
                  <a:lnTo>
                    <a:pt x="122" y="615"/>
                  </a:lnTo>
                  <a:lnTo>
                    <a:pt x="137" y="640"/>
                  </a:lnTo>
                  <a:lnTo>
                    <a:pt x="150" y="653"/>
                  </a:lnTo>
                  <a:lnTo>
                    <a:pt x="142" y="677"/>
                  </a:lnTo>
                  <a:lnTo>
                    <a:pt x="155" y="692"/>
                  </a:lnTo>
                  <a:lnTo>
                    <a:pt x="177" y="697"/>
                  </a:lnTo>
                  <a:lnTo>
                    <a:pt x="182" y="702"/>
                  </a:lnTo>
                  <a:lnTo>
                    <a:pt x="197" y="705"/>
                  </a:lnTo>
                  <a:lnTo>
                    <a:pt x="212" y="692"/>
                  </a:lnTo>
                  <a:lnTo>
                    <a:pt x="227" y="667"/>
                  </a:lnTo>
                  <a:lnTo>
                    <a:pt x="227" y="632"/>
                  </a:lnTo>
                  <a:lnTo>
                    <a:pt x="247" y="598"/>
                  </a:lnTo>
                  <a:lnTo>
                    <a:pt x="254" y="563"/>
                  </a:lnTo>
                  <a:lnTo>
                    <a:pt x="272" y="545"/>
                  </a:lnTo>
                  <a:lnTo>
                    <a:pt x="300" y="533"/>
                  </a:lnTo>
                  <a:lnTo>
                    <a:pt x="324" y="523"/>
                  </a:lnTo>
                  <a:lnTo>
                    <a:pt x="332" y="507"/>
                  </a:lnTo>
                  <a:lnTo>
                    <a:pt x="340" y="487"/>
                  </a:lnTo>
                  <a:lnTo>
                    <a:pt x="362" y="465"/>
                  </a:lnTo>
                  <a:lnTo>
                    <a:pt x="387" y="448"/>
                  </a:lnTo>
                  <a:lnTo>
                    <a:pt x="390" y="447"/>
                  </a:lnTo>
                  <a:lnTo>
                    <a:pt x="397" y="438"/>
                  </a:lnTo>
                  <a:lnTo>
                    <a:pt x="420" y="413"/>
                  </a:lnTo>
                  <a:lnTo>
                    <a:pt x="417" y="408"/>
                  </a:lnTo>
                  <a:lnTo>
                    <a:pt x="392" y="408"/>
                  </a:lnTo>
                  <a:lnTo>
                    <a:pt x="390" y="403"/>
                  </a:lnTo>
                  <a:lnTo>
                    <a:pt x="387" y="390"/>
                  </a:lnTo>
                  <a:lnTo>
                    <a:pt x="382" y="373"/>
                  </a:lnTo>
                  <a:lnTo>
                    <a:pt x="392" y="368"/>
                  </a:lnTo>
                  <a:lnTo>
                    <a:pt x="412" y="378"/>
                  </a:lnTo>
                  <a:lnTo>
                    <a:pt x="430" y="380"/>
                  </a:lnTo>
                  <a:lnTo>
                    <a:pt x="434" y="373"/>
                  </a:lnTo>
                  <a:lnTo>
                    <a:pt x="425" y="357"/>
                  </a:lnTo>
                  <a:lnTo>
                    <a:pt x="405" y="350"/>
                  </a:lnTo>
                  <a:lnTo>
                    <a:pt x="392" y="332"/>
                  </a:lnTo>
                  <a:lnTo>
                    <a:pt x="392" y="325"/>
                  </a:lnTo>
                  <a:lnTo>
                    <a:pt x="414" y="310"/>
                  </a:lnTo>
                  <a:lnTo>
                    <a:pt x="400" y="300"/>
                  </a:lnTo>
                  <a:lnTo>
                    <a:pt x="409" y="288"/>
                  </a:lnTo>
                  <a:lnTo>
                    <a:pt x="414" y="275"/>
                  </a:lnTo>
                  <a:lnTo>
                    <a:pt x="412" y="242"/>
                  </a:lnTo>
                  <a:lnTo>
                    <a:pt x="397" y="218"/>
                  </a:lnTo>
                  <a:lnTo>
                    <a:pt x="379" y="205"/>
                  </a:lnTo>
                  <a:lnTo>
                    <a:pt x="387" y="185"/>
                  </a:lnTo>
                  <a:lnTo>
                    <a:pt x="382" y="175"/>
                  </a:lnTo>
                  <a:lnTo>
                    <a:pt x="377" y="163"/>
                  </a:lnTo>
                  <a:lnTo>
                    <a:pt x="384" y="150"/>
                  </a:lnTo>
                  <a:lnTo>
                    <a:pt x="400" y="137"/>
                  </a:lnTo>
                  <a:lnTo>
                    <a:pt x="409" y="123"/>
                  </a:lnTo>
                  <a:lnTo>
                    <a:pt x="404" y="112"/>
                  </a:lnTo>
                  <a:lnTo>
                    <a:pt x="397" y="93"/>
                  </a:lnTo>
                  <a:lnTo>
                    <a:pt x="392" y="93"/>
                  </a:lnTo>
                  <a:lnTo>
                    <a:pt x="367" y="103"/>
                  </a:lnTo>
                  <a:lnTo>
                    <a:pt x="337" y="112"/>
                  </a:lnTo>
                  <a:lnTo>
                    <a:pt x="324" y="115"/>
                  </a:lnTo>
                  <a:lnTo>
                    <a:pt x="324" y="108"/>
                  </a:lnTo>
                  <a:lnTo>
                    <a:pt x="337" y="95"/>
                  </a:lnTo>
                  <a:lnTo>
                    <a:pt x="349" y="85"/>
                  </a:lnTo>
                  <a:lnTo>
                    <a:pt x="340" y="82"/>
                  </a:lnTo>
                  <a:lnTo>
                    <a:pt x="322" y="88"/>
                  </a:lnTo>
                  <a:lnTo>
                    <a:pt x="305" y="90"/>
                  </a:lnTo>
                  <a:lnTo>
                    <a:pt x="305" y="82"/>
                  </a:lnTo>
                  <a:lnTo>
                    <a:pt x="312" y="68"/>
                  </a:lnTo>
                  <a:lnTo>
                    <a:pt x="297" y="65"/>
                  </a:lnTo>
                  <a:lnTo>
                    <a:pt x="294" y="65"/>
                  </a:lnTo>
                  <a:lnTo>
                    <a:pt x="319" y="55"/>
                  </a:lnTo>
                  <a:lnTo>
                    <a:pt x="354" y="50"/>
                  </a:lnTo>
                  <a:lnTo>
                    <a:pt x="374" y="35"/>
                  </a:lnTo>
                  <a:lnTo>
                    <a:pt x="370" y="28"/>
                  </a:lnTo>
                  <a:lnTo>
                    <a:pt x="352" y="20"/>
                  </a:lnTo>
                  <a:lnTo>
                    <a:pt x="315" y="0"/>
                  </a:lnTo>
                  <a:lnTo>
                    <a:pt x="297" y="0"/>
                  </a:lnTo>
                  <a:lnTo>
                    <a:pt x="270" y="0"/>
                  </a:lnTo>
                  <a:lnTo>
                    <a:pt x="257" y="5"/>
                  </a:lnTo>
                  <a:lnTo>
                    <a:pt x="254" y="22"/>
                  </a:lnTo>
                  <a:lnTo>
                    <a:pt x="254" y="30"/>
                  </a:lnTo>
                  <a:lnTo>
                    <a:pt x="227" y="30"/>
                  </a:lnTo>
                  <a:lnTo>
                    <a:pt x="220" y="30"/>
                  </a:lnTo>
                  <a:lnTo>
                    <a:pt x="212" y="38"/>
                  </a:lnTo>
                  <a:lnTo>
                    <a:pt x="210" y="55"/>
                  </a:lnTo>
                  <a:lnTo>
                    <a:pt x="202" y="60"/>
                  </a:lnTo>
                  <a:lnTo>
                    <a:pt x="190" y="50"/>
                  </a:lnTo>
                  <a:lnTo>
                    <a:pt x="190" y="58"/>
                  </a:lnTo>
                  <a:lnTo>
                    <a:pt x="197" y="65"/>
                  </a:lnTo>
                  <a:lnTo>
                    <a:pt x="194" y="7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0" name="Freeform 467"/>
            <p:cNvSpPr>
              <a:spLocks/>
            </p:cNvSpPr>
            <p:nvPr/>
          </p:nvSpPr>
          <p:spPr bwMode="auto">
            <a:xfrm>
              <a:off x="2008" y="1246"/>
              <a:ext cx="374" cy="590"/>
            </a:xfrm>
            <a:custGeom>
              <a:avLst/>
              <a:gdLst>
                <a:gd name="T0" fmla="*/ 72 w 434"/>
                <a:gd name="T1" fmla="*/ 24 h 705"/>
                <a:gd name="T2" fmla="*/ 54 w 434"/>
                <a:gd name="T3" fmla="*/ 37 h 705"/>
                <a:gd name="T4" fmla="*/ 40 w 434"/>
                <a:gd name="T5" fmla="*/ 47 h 705"/>
                <a:gd name="T6" fmla="*/ 29 w 434"/>
                <a:gd name="T7" fmla="*/ 61 h 705"/>
                <a:gd name="T8" fmla="*/ 30 w 434"/>
                <a:gd name="T9" fmla="*/ 78 h 705"/>
                <a:gd name="T10" fmla="*/ 16 w 434"/>
                <a:gd name="T11" fmla="*/ 88 h 705"/>
                <a:gd name="T12" fmla="*/ 0 w 434"/>
                <a:gd name="T13" fmla="*/ 104 h 705"/>
                <a:gd name="T14" fmla="*/ 16 w 434"/>
                <a:gd name="T15" fmla="*/ 114 h 705"/>
                <a:gd name="T16" fmla="*/ 4 w 434"/>
                <a:gd name="T17" fmla="*/ 125 h 705"/>
                <a:gd name="T18" fmla="*/ 29 w 434"/>
                <a:gd name="T19" fmla="*/ 127 h 705"/>
                <a:gd name="T20" fmla="*/ 47 w 434"/>
                <a:gd name="T21" fmla="*/ 135 h 705"/>
                <a:gd name="T22" fmla="*/ 62 w 434"/>
                <a:gd name="T23" fmla="*/ 152 h 705"/>
                <a:gd name="T24" fmla="*/ 65 w 434"/>
                <a:gd name="T25" fmla="*/ 170 h 705"/>
                <a:gd name="T26" fmla="*/ 76 w 434"/>
                <a:gd name="T27" fmla="*/ 185 h 705"/>
                <a:gd name="T28" fmla="*/ 62 w 434"/>
                <a:gd name="T29" fmla="*/ 196 h 705"/>
                <a:gd name="T30" fmla="*/ 59 w 434"/>
                <a:gd name="T31" fmla="*/ 213 h 705"/>
                <a:gd name="T32" fmla="*/ 57 w 434"/>
                <a:gd name="T33" fmla="*/ 225 h 705"/>
                <a:gd name="T34" fmla="*/ 58 w 434"/>
                <a:gd name="T35" fmla="*/ 242 h 705"/>
                <a:gd name="T36" fmla="*/ 65 w 434"/>
                <a:gd name="T37" fmla="*/ 264 h 705"/>
                <a:gd name="T38" fmla="*/ 67 w 434"/>
                <a:gd name="T39" fmla="*/ 279 h 705"/>
                <a:gd name="T40" fmla="*/ 84 w 434"/>
                <a:gd name="T41" fmla="*/ 285 h 705"/>
                <a:gd name="T42" fmla="*/ 94 w 434"/>
                <a:gd name="T43" fmla="*/ 290 h 705"/>
                <a:gd name="T44" fmla="*/ 109 w 434"/>
                <a:gd name="T45" fmla="*/ 274 h 705"/>
                <a:gd name="T46" fmla="*/ 118 w 434"/>
                <a:gd name="T47" fmla="*/ 245 h 705"/>
                <a:gd name="T48" fmla="*/ 129 w 434"/>
                <a:gd name="T49" fmla="*/ 224 h 705"/>
                <a:gd name="T50" fmla="*/ 153 w 434"/>
                <a:gd name="T51" fmla="*/ 215 h 705"/>
                <a:gd name="T52" fmla="*/ 161 w 434"/>
                <a:gd name="T53" fmla="*/ 200 h 705"/>
                <a:gd name="T54" fmla="*/ 184 w 434"/>
                <a:gd name="T55" fmla="*/ 184 h 705"/>
                <a:gd name="T56" fmla="*/ 189 w 434"/>
                <a:gd name="T57" fmla="*/ 180 h 705"/>
                <a:gd name="T58" fmla="*/ 197 w 434"/>
                <a:gd name="T59" fmla="*/ 167 h 705"/>
                <a:gd name="T60" fmla="*/ 185 w 434"/>
                <a:gd name="T61" fmla="*/ 166 h 705"/>
                <a:gd name="T62" fmla="*/ 182 w 434"/>
                <a:gd name="T63" fmla="*/ 152 h 705"/>
                <a:gd name="T64" fmla="*/ 196 w 434"/>
                <a:gd name="T65" fmla="*/ 155 h 705"/>
                <a:gd name="T66" fmla="*/ 206 w 434"/>
                <a:gd name="T67" fmla="*/ 152 h 705"/>
                <a:gd name="T68" fmla="*/ 192 w 434"/>
                <a:gd name="T69" fmla="*/ 144 h 705"/>
                <a:gd name="T70" fmla="*/ 186 w 434"/>
                <a:gd name="T71" fmla="*/ 134 h 705"/>
                <a:gd name="T72" fmla="*/ 190 w 434"/>
                <a:gd name="T73" fmla="*/ 123 h 705"/>
                <a:gd name="T74" fmla="*/ 196 w 434"/>
                <a:gd name="T75" fmla="*/ 113 h 705"/>
                <a:gd name="T76" fmla="*/ 189 w 434"/>
                <a:gd name="T77" fmla="*/ 89 h 705"/>
                <a:gd name="T78" fmla="*/ 184 w 434"/>
                <a:gd name="T79" fmla="*/ 76 h 705"/>
                <a:gd name="T80" fmla="*/ 179 w 434"/>
                <a:gd name="T81" fmla="*/ 67 h 705"/>
                <a:gd name="T82" fmla="*/ 190 w 434"/>
                <a:gd name="T83" fmla="*/ 56 h 705"/>
                <a:gd name="T84" fmla="*/ 192 w 434"/>
                <a:gd name="T85" fmla="*/ 46 h 705"/>
                <a:gd name="T86" fmla="*/ 186 w 434"/>
                <a:gd name="T87" fmla="*/ 38 h 705"/>
                <a:gd name="T88" fmla="*/ 159 w 434"/>
                <a:gd name="T89" fmla="*/ 46 h 705"/>
                <a:gd name="T90" fmla="*/ 153 w 434"/>
                <a:gd name="T91" fmla="*/ 44 h 705"/>
                <a:gd name="T92" fmla="*/ 165 w 434"/>
                <a:gd name="T93" fmla="*/ 34 h 705"/>
                <a:gd name="T94" fmla="*/ 153 w 434"/>
                <a:gd name="T95" fmla="*/ 37 h 705"/>
                <a:gd name="T96" fmla="*/ 146 w 434"/>
                <a:gd name="T97" fmla="*/ 34 h 705"/>
                <a:gd name="T98" fmla="*/ 141 w 434"/>
                <a:gd name="T99" fmla="*/ 27 h 705"/>
                <a:gd name="T100" fmla="*/ 152 w 434"/>
                <a:gd name="T101" fmla="*/ 23 h 705"/>
                <a:gd name="T102" fmla="*/ 178 w 434"/>
                <a:gd name="T103" fmla="*/ 14 h 705"/>
                <a:gd name="T104" fmla="*/ 167 w 434"/>
                <a:gd name="T105" fmla="*/ 8 h 705"/>
                <a:gd name="T106" fmla="*/ 141 w 434"/>
                <a:gd name="T107" fmla="*/ 0 h 705"/>
                <a:gd name="T108" fmla="*/ 122 w 434"/>
                <a:gd name="T109" fmla="*/ 3 h 705"/>
                <a:gd name="T110" fmla="*/ 121 w 434"/>
                <a:gd name="T111" fmla="*/ 13 h 705"/>
                <a:gd name="T112" fmla="*/ 105 w 434"/>
                <a:gd name="T113" fmla="*/ 13 h 705"/>
                <a:gd name="T114" fmla="*/ 99 w 434"/>
                <a:gd name="T115" fmla="*/ 23 h 705"/>
                <a:gd name="T116" fmla="*/ 90 w 434"/>
                <a:gd name="T117" fmla="*/ 20 h 705"/>
                <a:gd name="T118" fmla="*/ 94 w 434"/>
                <a:gd name="T119" fmla="*/ 27 h 705"/>
                <a:gd name="T120" fmla="*/ 92 w 434"/>
                <a:gd name="T121" fmla="*/ 30 h 70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34" h="705">
                  <a:moveTo>
                    <a:pt x="194" y="73"/>
                  </a:moveTo>
                  <a:lnTo>
                    <a:pt x="152" y="60"/>
                  </a:lnTo>
                  <a:lnTo>
                    <a:pt x="130" y="82"/>
                  </a:lnTo>
                  <a:lnTo>
                    <a:pt x="115" y="90"/>
                  </a:lnTo>
                  <a:lnTo>
                    <a:pt x="99" y="98"/>
                  </a:lnTo>
                  <a:lnTo>
                    <a:pt x="82" y="115"/>
                  </a:lnTo>
                  <a:lnTo>
                    <a:pt x="87" y="142"/>
                  </a:lnTo>
                  <a:lnTo>
                    <a:pt x="60" y="148"/>
                  </a:lnTo>
                  <a:lnTo>
                    <a:pt x="50" y="163"/>
                  </a:lnTo>
                  <a:lnTo>
                    <a:pt x="65" y="190"/>
                  </a:lnTo>
                  <a:lnTo>
                    <a:pt x="62" y="202"/>
                  </a:lnTo>
                  <a:lnTo>
                    <a:pt x="34" y="215"/>
                  </a:lnTo>
                  <a:lnTo>
                    <a:pt x="0" y="237"/>
                  </a:lnTo>
                  <a:lnTo>
                    <a:pt x="0" y="253"/>
                  </a:lnTo>
                  <a:lnTo>
                    <a:pt x="30" y="272"/>
                  </a:lnTo>
                  <a:lnTo>
                    <a:pt x="34" y="278"/>
                  </a:lnTo>
                  <a:lnTo>
                    <a:pt x="12" y="292"/>
                  </a:lnTo>
                  <a:lnTo>
                    <a:pt x="9" y="305"/>
                  </a:lnTo>
                  <a:lnTo>
                    <a:pt x="22" y="322"/>
                  </a:lnTo>
                  <a:lnTo>
                    <a:pt x="60" y="310"/>
                  </a:lnTo>
                  <a:lnTo>
                    <a:pt x="74" y="313"/>
                  </a:lnTo>
                  <a:lnTo>
                    <a:pt x="99" y="327"/>
                  </a:lnTo>
                  <a:lnTo>
                    <a:pt x="102" y="343"/>
                  </a:lnTo>
                  <a:lnTo>
                    <a:pt x="129" y="373"/>
                  </a:lnTo>
                  <a:lnTo>
                    <a:pt x="134" y="395"/>
                  </a:lnTo>
                  <a:lnTo>
                    <a:pt x="137" y="413"/>
                  </a:lnTo>
                  <a:lnTo>
                    <a:pt x="137" y="438"/>
                  </a:lnTo>
                  <a:lnTo>
                    <a:pt x="159" y="452"/>
                  </a:lnTo>
                  <a:lnTo>
                    <a:pt x="147" y="472"/>
                  </a:lnTo>
                  <a:lnTo>
                    <a:pt x="130" y="478"/>
                  </a:lnTo>
                  <a:lnTo>
                    <a:pt x="125" y="498"/>
                  </a:lnTo>
                  <a:lnTo>
                    <a:pt x="125" y="517"/>
                  </a:lnTo>
                  <a:lnTo>
                    <a:pt x="112" y="532"/>
                  </a:lnTo>
                  <a:lnTo>
                    <a:pt x="120" y="550"/>
                  </a:lnTo>
                  <a:lnTo>
                    <a:pt x="130" y="563"/>
                  </a:lnTo>
                  <a:lnTo>
                    <a:pt x="122" y="588"/>
                  </a:lnTo>
                  <a:lnTo>
                    <a:pt x="122" y="615"/>
                  </a:lnTo>
                  <a:lnTo>
                    <a:pt x="137" y="640"/>
                  </a:lnTo>
                  <a:lnTo>
                    <a:pt x="150" y="653"/>
                  </a:lnTo>
                  <a:lnTo>
                    <a:pt x="142" y="677"/>
                  </a:lnTo>
                  <a:lnTo>
                    <a:pt x="155" y="692"/>
                  </a:lnTo>
                  <a:lnTo>
                    <a:pt x="177" y="697"/>
                  </a:lnTo>
                  <a:lnTo>
                    <a:pt x="182" y="702"/>
                  </a:lnTo>
                  <a:lnTo>
                    <a:pt x="197" y="705"/>
                  </a:lnTo>
                  <a:lnTo>
                    <a:pt x="212" y="692"/>
                  </a:lnTo>
                  <a:lnTo>
                    <a:pt x="227" y="667"/>
                  </a:lnTo>
                  <a:lnTo>
                    <a:pt x="227" y="632"/>
                  </a:lnTo>
                  <a:lnTo>
                    <a:pt x="247" y="598"/>
                  </a:lnTo>
                  <a:lnTo>
                    <a:pt x="254" y="563"/>
                  </a:lnTo>
                  <a:lnTo>
                    <a:pt x="272" y="545"/>
                  </a:lnTo>
                  <a:lnTo>
                    <a:pt x="300" y="533"/>
                  </a:lnTo>
                  <a:lnTo>
                    <a:pt x="324" y="523"/>
                  </a:lnTo>
                  <a:lnTo>
                    <a:pt x="332" y="507"/>
                  </a:lnTo>
                  <a:lnTo>
                    <a:pt x="340" y="487"/>
                  </a:lnTo>
                  <a:lnTo>
                    <a:pt x="362" y="465"/>
                  </a:lnTo>
                  <a:lnTo>
                    <a:pt x="387" y="448"/>
                  </a:lnTo>
                  <a:lnTo>
                    <a:pt x="390" y="447"/>
                  </a:lnTo>
                  <a:lnTo>
                    <a:pt x="397" y="438"/>
                  </a:lnTo>
                  <a:lnTo>
                    <a:pt x="420" y="413"/>
                  </a:lnTo>
                  <a:lnTo>
                    <a:pt x="417" y="408"/>
                  </a:lnTo>
                  <a:lnTo>
                    <a:pt x="392" y="408"/>
                  </a:lnTo>
                  <a:lnTo>
                    <a:pt x="390" y="403"/>
                  </a:lnTo>
                  <a:lnTo>
                    <a:pt x="387" y="390"/>
                  </a:lnTo>
                  <a:lnTo>
                    <a:pt x="382" y="373"/>
                  </a:lnTo>
                  <a:lnTo>
                    <a:pt x="392" y="368"/>
                  </a:lnTo>
                  <a:lnTo>
                    <a:pt x="412" y="378"/>
                  </a:lnTo>
                  <a:lnTo>
                    <a:pt x="430" y="380"/>
                  </a:lnTo>
                  <a:lnTo>
                    <a:pt x="434" y="373"/>
                  </a:lnTo>
                  <a:lnTo>
                    <a:pt x="425" y="357"/>
                  </a:lnTo>
                  <a:lnTo>
                    <a:pt x="405" y="350"/>
                  </a:lnTo>
                  <a:lnTo>
                    <a:pt x="392" y="332"/>
                  </a:lnTo>
                  <a:lnTo>
                    <a:pt x="392" y="325"/>
                  </a:lnTo>
                  <a:lnTo>
                    <a:pt x="414" y="310"/>
                  </a:lnTo>
                  <a:lnTo>
                    <a:pt x="400" y="300"/>
                  </a:lnTo>
                  <a:lnTo>
                    <a:pt x="409" y="288"/>
                  </a:lnTo>
                  <a:lnTo>
                    <a:pt x="414" y="275"/>
                  </a:lnTo>
                  <a:lnTo>
                    <a:pt x="412" y="242"/>
                  </a:lnTo>
                  <a:lnTo>
                    <a:pt x="397" y="218"/>
                  </a:lnTo>
                  <a:lnTo>
                    <a:pt x="379" y="205"/>
                  </a:lnTo>
                  <a:lnTo>
                    <a:pt x="387" y="185"/>
                  </a:lnTo>
                  <a:lnTo>
                    <a:pt x="382" y="175"/>
                  </a:lnTo>
                  <a:lnTo>
                    <a:pt x="377" y="163"/>
                  </a:lnTo>
                  <a:lnTo>
                    <a:pt x="384" y="150"/>
                  </a:lnTo>
                  <a:lnTo>
                    <a:pt x="400" y="137"/>
                  </a:lnTo>
                  <a:lnTo>
                    <a:pt x="409" y="123"/>
                  </a:lnTo>
                  <a:lnTo>
                    <a:pt x="404" y="112"/>
                  </a:lnTo>
                  <a:lnTo>
                    <a:pt x="397" y="93"/>
                  </a:lnTo>
                  <a:lnTo>
                    <a:pt x="392" y="93"/>
                  </a:lnTo>
                  <a:lnTo>
                    <a:pt x="367" y="103"/>
                  </a:lnTo>
                  <a:lnTo>
                    <a:pt x="337" y="112"/>
                  </a:lnTo>
                  <a:lnTo>
                    <a:pt x="324" y="115"/>
                  </a:lnTo>
                  <a:lnTo>
                    <a:pt x="324" y="108"/>
                  </a:lnTo>
                  <a:lnTo>
                    <a:pt x="337" y="95"/>
                  </a:lnTo>
                  <a:lnTo>
                    <a:pt x="349" y="85"/>
                  </a:lnTo>
                  <a:lnTo>
                    <a:pt x="340" y="82"/>
                  </a:lnTo>
                  <a:lnTo>
                    <a:pt x="322" y="88"/>
                  </a:lnTo>
                  <a:lnTo>
                    <a:pt x="305" y="90"/>
                  </a:lnTo>
                  <a:lnTo>
                    <a:pt x="305" y="82"/>
                  </a:lnTo>
                  <a:lnTo>
                    <a:pt x="312" y="68"/>
                  </a:lnTo>
                  <a:lnTo>
                    <a:pt x="297" y="65"/>
                  </a:lnTo>
                  <a:lnTo>
                    <a:pt x="294" y="65"/>
                  </a:lnTo>
                  <a:lnTo>
                    <a:pt x="319" y="55"/>
                  </a:lnTo>
                  <a:lnTo>
                    <a:pt x="354" y="50"/>
                  </a:lnTo>
                  <a:lnTo>
                    <a:pt x="374" y="35"/>
                  </a:lnTo>
                  <a:lnTo>
                    <a:pt x="370" y="28"/>
                  </a:lnTo>
                  <a:lnTo>
                    <a:pt x="352" y="20"/>
                  </a:lnTo>
                  <a:lnTo>
                    <a:pt x="315" y="0"/>
                  </a:lnTo>
                  <a:lnTo>
                    <a:pt x="297" y="0"/>
                  </a:lnTo>
                  <a:lnTo>
                    <a:pt x="270" y="0"/>
                  </a:lnTo>
                  <a:lnTo>
                    <a:pt x="257" y="5"/>
                  </a:lnTo>
                  <a:lnTo>
                    <a:pt x="254" y="22"/>
                  </a:lnTo>
                  <a:lnTo>
                    <a:pt x="254" y="30"/>
                  </a:lnTo>
                  <a:lnTo>
                    <a:pt x="227" y="30"/>
                  </a:lnTo>
                  <a:lnTo>
                    <a:pt x="220" y="30"/>
                  </a:lnTo>
                  <a:lnTo>
                    <a:pt x="212" y="38"/>
                  </a:lnTo>
                  <a:lnTo>
                    <a:pt x="210" y="55"/>
                  </a:lnTo>
                  <a:lnTo>
                    <a:pt x="202" y="60"/>
                  </a:lnTo>
                  <a:lnTo>
                    <a:pt x="190" y="50"/>
                  </a:lnTo>
                  <a:lnTo>
                    <a:pt x="190" y="58"/>
                  </a:lnTo>
                  <a:lnTo>
                    <a:pt x="197" y="65"/>
                  </a:lnTo>
                  <a:lnTo>
                    <a:pt x="194" y="7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1" name="Freeform 468"/>
            <p:cNvSpPr>
              <a:spLocks/>
            </p:cNvSpPr>
            <p:nvPr/>
          </p:nvSpPr>
          <p:spPr bwMode="auto">
            <a:xfrm>
              <a:off x="1829" y="1200"/>
              <a:ext cx="308" cy="265"/>
            </a:xfrm>
            <a:custGeom>
              <a:avLst/>
              <a:gdLst>
                <a:gd name="T0" fmla="*/ 9 w 358"/>
                <a:gd name="T1" fmla="*/ 116 h 317"/>
                <a:gd name="T2" fmla="*/ 22 w 358"/>
                <a:gd name="T3" fmla="*/ 120 h 317"/>
                <a:gd name="T4" fmla="*/ 32 w 358"/>
                <a:gd name="T5" fmla="*/ 128 h 317"/>
                <a:gd name="T6" fmla="*/ 51 w 358"/>
                <a:gd name="T7" fmla="*/ 130 h 317"/>
                <a:gd name="T8" fmla="*/ 66 w 358"/>
                <a:gd name="T9" fmla="*/ 123 h 317"/>
                <a:gd name="T10" fmla="*/ 54 w 358"/>
                <a:gd name="T11" fmla="*/ 107 h 317"/>
                <a:gd name="T12" fmla="*/ 74 w 358"/>
                <a:gd name="T13" fmla="*/ 113 h 317"/>
                <a:gd name="T14" fmla="*/ 96 w 358"/>
                <a:gd name="T15" fmla="*/ 100 h 317"/>
                <a:gd name="T16" fmla="*/ 94 w 358"/>
                <a:gd name="T17" fmla="*/ 87 h 317"/>
                <a:gd name="T18" fmla="*/ 100 w 358"/>
                <a:gd name="T19" fmla="*/ 77 h 317"/>
                <a:gd name="T20" fmla="*/ 104 w 358"/>
                <a:gd name="T21" fmla="*/ 70 h 317"/>
                <a:gd name="T22" fmla="*/ 130 w 358"/>
                <a:gd name="T23" fmla="*/ 58 h 317"/>
                <a:gd name="T24" fmla="*/ 155 w 358"/>
                <a:gd name="T25" fmla="*/ 40 h 317"/>
                <a:gd name="T26" fmla="*/ 157 w 358"/>
                <a:gd name="T27" fmla="*/ 33 h 317"/>
                <a:gd name="T28" fmla="*/ 163 w 358"/>
                <a:gd name="T29" fmla="*/ 28 h 317"/>
                <a:gd name="T30" fmla="*/ 162 w 358"/>
                <a:gd name="T31" fmla="*/ 16 h 317"/>
                <a:gd name="T32" fmla="*/ 141 w 358"/>
                <a:gd name="T33" fmla="*/ 8 h 317"/>
                <a:gd name="T34" fmla="*/ 125 w 358"/>
                <a:gd name="T35" fmla="*/ 3 h 317"/>
                <a:gd name="T36" fmla="*/ 108 w 358"/>
                <a:gd name="T37" fmla="*/ 0 h 317"/>
                <a:gd name="T38" fmla="*/ 94 w 358"/>
                <a:gd name="T39" fmla="*/ 13 h 317"/>
                <a:gd name="T40" fmla="*/ 86 w 358"/>
                <a:gd name="T41" fmla="*/ 5 h 317"/>
                <a:gd name="T42" fmla="*/ 76 w 358"/>
                <a:gd name="T43" fmla="*/ 11 h 317"/>
                <a:gd name="T44" fmla="*/ 77 w 358"/>
                <a:gd name="T45" fmla="*/ 17 h 317"/>
                <a:gd name="T46" fmla="*/ 66 w 358"/>
                <a:gd name="T47" fmla="*/ 28 h 317"/>
                <a:gd name="T48" fmla="*/ 70 w 358"/>
                <a:gd name="T49" fmla="*/ 36 h 317"/>
                <a:gd name="T50" fmla="*/ 86 w 358"/>
                <a:gd name="T51" fmla="*/ 43 h 317"/>
                <a:gd name="T52" fmla="*/ 89 w 358"/>
                <a:gd name="T53" fmla="*/ 46 h 317"/>
                <a:gd name="T54" fmla="*/ 71 w 358"/>
                <a:gd name="T55" fmla="*/ 48 h 317"/>
                <a:gd name="T56" fmla="*/ 67 w 358"/>
                <a:gd name="T57" fmla="*/ 64 h 317"/>
                <a:gd name="T58" fmla="*/ 61 w 358"/>
                <a:gd name="T59" fmla="*/ 59 h 317"/>
                <a:gd name="T60" fmla="*/ 52 w 358"/>
                <a:gd name="T61" fmla="*/ 61 h 317"/>
                <a:gd name="T62" fmla="*/ 45 w 358"/>
                <a:gd name="T63" fmla="*/ 73 h 317"/>
                <a:gd name="T64" fmla="*/ 47 w 358"/>
                <a:gd name="T65" fmla="*/ 82 h 317"/>
                <a:gd name="T66" fmla="*/ 47 w 358"/>
                <a:gd name="T67" fmla="*/ 87 h 317"/>
                <a:gd name="T68" fmla="*/ 29 w 358"/>
                <a:gd name="T69" fmla="*/ 89 h 317"/>
                <a:gd name="T70" fmla="*/ 22 w 358"/>
                <a:gd name="T71" fmla="*/ 96 h 317"/>
                <a:gd name="T72" fmla="*/ 30 w 358"/>
                <a:gd name="T73" fmla="*/ 99 h 317"/>
                <a:gd name="T74" fmla="*/ 15 w 358"/>
                <a:gd name="T75" fmla="*/ 99 h 317"/>
                <a:gd name="T76" fmla="*/ 7 w 358"/>
                <a:gd name="T77" fmla="*/ 94 h 317"/>
                <a:gd name="T78" fmla="*/ 3 w 358"/>
                <a:gd name="T79" fmla="*/ 102 h 317"/>
                <a:gd name="T80" fmla="*/ 0 w 358"/>
                <a:gd name="T81" fmla="*/ 107 h 317"/>
                <a:gd name="T82" fmla="*/ 5 w 358"/>
                <a:gd name="T83" fmla="*/ 112 h 3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358" h="317">
                  <a:moveTo>
                    <a:pt x="10" y="273"/>
                  </a:moveTo>
                  <a:lnTo>
                    <a:pt x="20" y="283"/>
                  </a:lnTo>
                  <a:lnTo>
                    <a:pt x="32" y="283"/>
                  </a:lnTo>
                  <a:lnTo>
                    <a:pt x="45" y="292"/>
                  </a:lnTo>
                  <a:lnTo>
                    <a:pt x="45" y="312"/>
                  </a:lnTo>
                  <a:lnTo>
                    <a:pt x="67" y="313"/>
                  </a:lnTo>
                  <a:lnTo>
                    <a:pt x="92" y="312"/>
                  </a:lnTo>
                  <a:lnTo>
                    <a:pt x="108" y="317"/>
                  </a:lnTo>
                  <a:lnTo>
                    <a:pt x="127" y="312"/>
                  </a:lnTo>
                  <a:lnTo>
                    <a:pt x="140" y="300"/>
                  </a:lnTo>
                  <a:lnTo>
                    <a:pt x="115" y="270"/>
                  </a:lnTo>
                  <a:lnTo>
                    <a:pt x="115" y="262"/>
                  </a:lnTo>
                  <a:lnTo>
                    <a:pt x="145" y="283"/>
                  </a:lnTo>
                  <a:lnTo>
                    <a:pt x="157" y="275"/>
                  </a:lnTo>
                  <a:lnTo>
                    <a:pt x="173" y="257"/>
                  </a:lnTo>
                  <a:lnTo>
                    <a:pt x="203" y="245"/>
                  </a:lnTo>
                  <a:lnTo>
                    <a:pt x="215" y="238"/>
                  </a:lnTo>
                  <a:lnTo>
                    <a:pt x="200" y="215"/>
                  </a:lnTo>
                  <a:lnTo>
                    <a:pt x="198" y="197"/>
                  </a:lnTo>
                  <a:lnTo>
                    <a:pt x="212" y="188"/>
                  </a:lnTo>
                  <a:lnTo>
                    <a:pt x="205" y="175"/>
                  </a:lnTo>
                  <a:lnTo>
                    <a:pt x="222" y="173"/>
                  </a:lnTo>
                  <a:lnTo>
                    <a:pt x="238" y="158"/>
                  </a:lnTo>
                  <a:lnTo>
                    <a:pt x="277" y="140"/>
                  </a:lnTo>
                  <a:lnTo>
                    <a:pt x="307" y="113"/>
                  </a:lnTo>
                  <a:lnTo>
                    <a:pt x="328" y="98"/>
                  </a:lnTo>
                  <a:lnTo>
                    <a:pt x="350" y="88"/>
                  </a:lnTo>
                  <a:lnTo>
                    <a:pt x="333" y="80"/>
                  </a:lnTo>
                  <a:lnTo>
                    <a:pt x="328" y="67"/>
                  </a:lnTo>
                  <a:lnTo>
                    <a:pt x="345" y="68"/>
                  </a:lnTo>
                  <a:lnTo>
                    <a:pt x="358" y="58"/>
                  </a:lnTo>
                  <a:lnTo>
                    <a:pt x="342" y="38"/>
                  </a:lnTo>
                  <a:lnTo>
                    <a:pt x="325" y="23"/>
                  </a:lnTo>
                  <a:lnTo>
                    <a:pt x="300" y="20"/>
                  </a:lnTo>
                  <a:lnTo>
                    <a:pt x="290" y="25"/>
                  </a:lnTo>
                  <a:lnTo>
                    <a:pt x="265" y="7"/>
                  </a:lnTo>
                  <a:lnTo>
                    <a:pt x="252" y="0"/>
                  </a:lnTo>
                  <a:lnTo>
                    <a:pt x="230" y="0"/>
                  </a:lnTo>
                  <a:lnTo>
                    <a:pt x="212" y="15"/>
                  </a:lnTo>
                  <a:lnTo>
                    <a:pt x="200" y="30"/>
                  </a:lnTo>
                  <a:lnTo>
                    <a:pt x="190" y="15"/>
                  </a:lnTo>
                  <a:lnTo>
                    <a:pt x="183" y="12"/>
                  </a:lnTo>
                  <a:lnTo>
                    <a:pt x="170" y="12"/>
                  </a:lnTo>
                  <a:lnTo>
                    <a:pt x="160" y="25"/>
                  </a:lnTo>
                  <a:lnTo>
                    <a:pt x="160" y="33"/>
                  </a:lnTo>
                  <a:lnTo>
                    <a:pt x="165" y="42"/>
                  </a:lnTo>
                  <a:lnTo>
                    <a:pt x="145" y="43"/>
                  </a:lnTo>
                  <a:lnTo>
                    <a:pt x="140" y="67"/>
                  </a:lnTo>
                  <a:lnTo>
                    <a:pt x="140" y="77"/>
                  </a:lnTo>
                  <a:lnTo>
                    <a:pt x="148" y="88"/>
                  </a:lnTo>
                  <a:lnTo>
                    <a:pt x="178" y="93"/>
                  </a:lnTo>
                  <a:lnTo>
                    <a:pt x="182" y="107"/>
                  </a:lnTo>
                  <a:lnTo>
                    <a:pt x="200" y="110"/>
                  </a:lnTo>
                  <a:lnTo>
                    <a:pt x="190" y="113"/>
                  </a:lnTo>
                  <a:lnTo>
                    <a:pt x="168" y="113"/>
                  </a:lnTo>
                  <a:lnTo>
                    <a:pt x="152" y="118"/>
                  </a:lnTo>
                  <a:lnTo>
                    <a:pt x="140" y="133"/>
                  </a:lnTo>
                  <a:lnTo>
                    <a:pt x="143" y="157"/>
                  </a:lnTo>
                  <a:lnTo>
                    <a:pt x="145" y="158"/>
                  </a:lnTo>
                  <a:lnTo>
                    <a:pt x="130" y="145"/>
                  </a:lnTo>
                  <a:lnTo>
                    <a:pt x="118" y="137"/>
                  </a:lnTo>
                  <a:lnTo>
                    <a:pt x="110" y="148"/>
                  </a:lnTo>
                  <a:lnTo>
                    <a:pt x="95" y="162"/>
                  </a:lnTo>
                  <a:lnTo>
                    <a:pt x="97" y="178"/>
                  </a:lnTo>
                  <a:lnTo>
                    <a:pt x="105" y="192"/>
                  </a:lnTo>
                  <a:lnTo>
                    <a:pt x="100" y="200"/>
                  </a:lnTo>
                  <a:lnTo>
                    <a:pt x="108" y="210"/>
                  </a:lnTo>
                  <a:lnTo>
                    <a:pt x="100" y="215"/>
                  </a:lnTo>
                  <a:lnTo>
                    <a:pt x="80" y="215"/>
                  </a:lnTo>
                  <a:lnTo>
                    <a:pt x="62" y="218"/>
                  </a:lnTo>
                  <a:lnTo>
                    <a:pt x="48" y="222"/>
                  </a:lnTo>
                  <a:lnTo>
                    <a:pt x="45" y="235"/>
                  </a:lnTo>
                  <a:lnTo>
                    <a:pt x="65" y="235"/>
                  </a:lnTo>
                  <a:lnTo>
                    <a:pt x="65" y="243"/>
                  </a:lnTo>
                  <a:lnTo>
                    <a:pt x="48" y="243"/>
                  </a:lnTo>
                  <a:lnTo>
                    <a:pt x="32" y="243"/>
                  </a:lnTo>
                  <a:lnTo>
                    <a:pt x="27" y="248"/>
                  </a:lnTo>
                  <a:lnTo>
                    <a:pt x="15" y="230"/>
                  </a:lnTo>
                  <a:lnTo>
                    <a:pt x="8" y="238"/>
                  </a:lnTo>
                  <a:lnTo>
                    <a:pt x="8" y="250"/>
                  </a:lnTo>
                  <a:lnTo>
                    <a:pt x="10" y="257"/>
                  </a:lnTo>
                  <a:lnTo>
                    <a:pt x="0" y="262"/>
                  </a:lnTo>
                  <a:lnTo>
                    <a:pt x="1" y="270"/>
                  </a:lnTo>
                  <a:lnTo>
                    <a:pt x="10" y="27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2" name="Freeform 469"/>
            <p:cNvSpPr>
              <a:spLocks/>
            </p:cNvSpPr>
            <p:nvPr/>
          </p:nvSpPr>
          <p:spPr bwMode="auto">
            <a:xfrm>
              <a:off x="1829" y="1200"/>
              <a:ext cx="308" cy="265"/>
            </a:xfrm>
            <a:custGeom>
              <a:avLst/>
              <a:gdLst>
                <a:gd name="T0" fmla="*/ 9 w 358"/>
                <a:gd name="T1" fmla="*/ 116 h 317"/>
                <a:gd name="T2" fmla="*/ 22 w 358"/>
                <a:gd name="T3" fmla="*/ 120 h 317"/>
                <a:gd name="T4" fmla="*/ 32 w 358"/>
                <a:gd name="T5" fmla="*/ 128 h 317"/>
                <a:gd name="T6" fmla="*/ 51 w 358"/>
                <a:gd name="T7" fmla="*/ 130 h 317"/>
                <a:gd name="T8" fmla="*/ 66 w 358"/>
                <a:gd name="T9" fmla="*/ 123 h 317"/>
                <a:gd name="T10" fmla="*/ 54 w 358"/>
                <a:gd name="T11" fmla="*/ 107 h 317"/>
                <a:gd name="T12" fmla="*/ 74 w 358"/>
                <a:gd name="T13" fmla="*/ 113 h 317"/>
                <a:gd name="T14" fmla="*/ 96 w 358"/>
                <a:gd name="T15" fmla="*/ 100 h 317"/>
                <a:gd name="T16" fmla="*/ 94 w 358"/>
                <a:gd name="T17" fmla="*/ 87 h 317"/>
                <a:gd name="T18" fmla="*/ 100 w 358"/>
                <a:gd name="T19" fmla="*/ 77 h 317"/>
                <a:gd name="T20" fmla="*/ 104 w 358"/>
                <a:gd name="T21" fmla="*/ 70 h 317"/>
                <a:gd name="T22" fmla="*/ 130 w 358"/>
                <a:gd name="T23" fmla="*/ 58 h 317"/>
                <a:gd name="T24" fmla="*/ 155 w 358"/>
                <a:gd name="T25" fmla="*/ 40 h 317"/>
                <a:gd name="T26" fmla="*/ 157 w 358"/>
                <a:gd name="T27" fmla="*/ 33 h 317"/>
                <a:gd name="T28" fmla="*/ 163 w 358"/>
                <a:gd name="T29" fmla="*/ 28 h 317"/>
                <a:gd name="T30" fmla="*/ 162 w 358"/>
                <a:gd name="T31" fmla="*/ 16 h 317"/>
                <a:gd name="T32" fmla="*/ 141 w 358"/>
                <a:gd name="T33" fmla="*/ 8 h 317"/>
                <a:gd name="T34" fmla="*/ 125 w 358"/>
                <a:gd name="T35" fmla="*/ 3 h 317"/>
                <a:gd name="T36" fmla="*/ 108 w 358"/>
                <a:gd name="T37" fmla="*/ 0 h 317"/>
                <a:gd name="T38" fmla="*/ 94 w 358"/>
                <a:gd name="T39" fmla="*/ 13 h 317"/>
                <a:gd name="T40" fmla="*/ 86 w 358"/>
                <a:gd name="T41" fmla="*/ 5 h 317"/>
                <a:gd name="T42" fmla="*/ 76 w 358"/>
                <a:gd name="T43" fmla="*/ 11 h 317"/>
                <a:gd name="T44" fmla="*/ 77 w 358"/>
                <a:gd name="T45" fmla="*/ 17 h 317"/>
                <a:gd name="T46" fmla="*/ 66 w 358"/>
                <a:gd name="T47" fmla="*/ 28 h 317"/>
                <a:gd name="T48" fmla="*/ 70 w 358"/>
                <a:gd name="T49" fmla="*/ 36 h 317"/>
                <a:gd name="T50" fmla="*/ 86 w 358"/>
                <a:gd name="T51" fmla="*/ 43 h 317"/>
                <a:gd name="T52" fmla="*/ 89 w 358"/>
                <a:gd name="T53" fmla="*/ 46 h 317"/>
                <a:gd name="T54" fmla="*/ 71 w 358"/>
                <a:gd name="T55" fmla="*/ 48 h 317"/>
                <a:gd name="T56" fmla="*/ 67 w 358"/>
                <a:gd name="T57" fmla="*/ 64 h 317"/>
                <a:gd name="T58" fmla="*/ 61 w 358"/>
                <a:gd name="T59" fmla="*/ 59 h 317"/>
                <a:gd name="T60" fmla="*/ 52 w 358"/>
                <a:gd name="T61" fmla="*/ 61 h 317"/>
                <a:gd name="T62" fmla="*/ 45 w 358"/>
                <a:gd name="T63" fmla="*/ 73 h 317"/>
                <a:gd name="T64" fmla="*/ 47 w 358"/>
                <a:gd name="T65" fmla="*/ 82 h 317"/>
                <a:gd name="T66" fmla="*/ 47 w 358"/>
                <a:gd name="T67" fmla="*/ 87 h 317"/>
                <a:gd name="T68" fmla="*/ 29 w 358"/>
                <a:gd name="T69" fmla="*/ 89 h 317"/>
                <a:gd name="T70" fmla="*/ 22 w 358"/>
                <a:gd name="T71" fmla="*/ 96 h 317"/>
                <a:gd name="T72" fmla="*/ 30 w 358"/>
                <a:gd name="T73" fmla="*/ 99 h 317"/>
                <a:gd name="T74" fmla="*/ 15 w 358"/>
                <a:gd name="T75" fmla="*/ 99 h 317"/>
                <a:gd name="T76" fmla="*/ 7 w 358"/>
                <a:gd name="T77" fmla="*/ 94 h 317"/>
                <a:gd name="T78" fmla="*/ 3 w 358"/>
                <a:gd name="T79" fmla="*/ 102 h 317"/>
                <a:gd name="T80" fmla="*/ 0 w 358"/>
                <a:gd name="T81" fmla="*/ 107 h 317"/>
                <a:gd name="T82" fmla="*/ 5 w 358"/>
                <a:gd name="T83" fmla="*/ 112 h 3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358" h="317">
                  <a:moveTo>
                    <a:pt x="10" y="273"/>
                  </a:moveTo>
                  <a:lnTo>
                    <a:pt x="20" y="283"/>
                  </a:lnTo>
                  <a:lnTo>
                    <a:pt x="32" y="283"/>
                  </a:lnTo>
                  <a:lnTo>
                    <a:pt x="45" y="292"/>
                  </a:lnTo>
                  <a:lnTo>
                    <a:pt x="45" y="312"/>
                  </a:lnTo>
                  <a:lnTo>
                    <a:pt x="67" y="313"/>
                  </a:lnTo>
                  <a:lnTo>
                    <a:pt x="92" y="312"/>
                  </a:lnTo>
                  <a:lnTo>
                    <a:pt x="108" y="317"/>
                  </a:lnTo>
                  <a:lnTo>
                    <a:pt x="127" y="312"/>
                  </a:lnTo>
                  <a:lnTo>
                    <a:pt x="140" y="300"/>
                  </a:lnTo>
                  <a:lnTo>
                    <a:pt x="115" y="270"/>
                  </a:lnTo>
                  <a:lnTo>
                    <a:pt x="115" y="262"/>
                  </a:lnTo>
                  <a:lnTo>
                    <a:pt x="145" y="283"/>
                  </a:lnTo>
                  <a:lnTo>
                    <a:pt x="157" y="275"/>
                  </a:lnTo>
                  <a:lnTo>
                    <a:pt x="173" y="257"/>
                  </a:lnTo>
                  <a:lnTo>
                    <a:pt x="203" y="245"/>
                  </a:lnTo>
                  <a:lnTo>
                    <a:pt x="215" y="238"/>
                  </a:lnTo>
                  <a:lnTo>
                    <a:pt x="200" y="215"/>
                  </a:lnTo>
                  <a:lnTo>
                    <a:pt x="198" y="197"/>
                  </a:lnTo>
                  <a:lnTo>
                    <a:pt x="212" y="188"/>
                  </a:lnTo>
                  <a:lnTo>
                    <a:pt x="205" y="175"/>
                  </a:lnTo>
                  <a:lnTo>
                    <a:pt x="222" y="173"/>
                  </a:lnTo>
                  <a:lnTo>
                    <a:pt x="238" y="158"/>
                  </a:lnTo>
                  <a:lnTo>
                    <a:pt x="277" y="140"/>
                  </a:lnTo>
                  <a:lnTo>
                    <a:pt x="307" y="113"/>
                  </a:lnTo>
                  <a:lnTo>
                    <a:pt x="328" y="98"/>
                  </a:lnTo>
                  <a:lnTo>
                    <a:pt x="350" y="88"/>
                  </a:lnTo>
                  <a:lnTo>
                    <a:pt x="333" y="80"/>
                  </a:lnTo>
                  <a:lnTo>
                    <a:pt x="328" y="67"/>
                  </a:lnTo>
                  <a:lnTo>
                    <a:pt x="345" y="68"/>
                  </a:lnTo>
                  <a:lnTo>
                    <a:pt x="358" y="58"/>
                  </a:lnTo>
                  <a:lnTo>
                    <a:pt x="342" y="38"/>
                  </a:lnTo>
                  <a:lnTo>
                    <a:pt x="325" y="23"/>
                  </a:lnTo>
                  <a:lnTo>
                    <a:pt x="300" y="20"/>
                  </a:lnTo>
                  <a:lnTo>
                    <a:pt x="290" y="25"/>
                  </a:lnTo>
                  <a:lnTo>
                    <a:pt x="265" y="7"/>
                  </a:lnTo>
                  <a:lnTo>
                    <a:pt x="252" y="0"/>
                  </a:lnTo>
                  <a:lnTo>
                    <a:pt x="230" y="0"/>
                  </a:lnTo>
                  <a:lnTo>
                    <a:pt x="212" y="15"/>
                  </a:lnTo>
                  <a:lnTo>
                    <a:pt x="200" y="30"/>
                  </a:lnTo>
                  <a:lnTo>
                    <a:pt x="190" y="15"/>
                  </a:lnTo>
                  <a:lnTo>
                    <a:pt x="183" y="12"/>
                  </a:lnTo>
                  <a:lnTo>
                    <a:pt x="170" y="12"/>
                  </a:lnTo>
                  <a:lnTo>
                    <a:pt x="160" y="25"/>
                  </a:lnTo>
                  <a:lnTo>
                    <a:pt x="160" y="33"/>
                  </a:lnTo>
                  <a:lnTo>
                    <a:pt x="165" y="42"/>
                  </a:lnTo>
                  <a:lnTo>
                    <a:pt x="145" y="43"/>
                  </a:lnTo>
                  <a:lnTo>
                    <a:pt x="140" y="67"/>
                  </a:lnTo>
                  <a:lnTo>
                    <a:pt x="140" y="77"/>
                  </a:lnTo>
                  <a:lnTo>
                    <a:pt x="148" y="88"/>
                  </a:lnTo>
                  <a:lnTo>
                    <a:pt x="178" y="93"/>
                  </a:lnTo>
                  <a:lnTo>
                    <a:pt x="182" y="107"/>
                  </a:lnTo>
                  <a:lnTo>
                    <a:pt x="200" y="110"/>
                  </a:lnTo>
                  <a:lnTo>
                    <a:pt x="190" y="113"/>
                  </a:lnTo>
                  <a:lnTo>
                    <a:pt x="168" y="113"/>
                  </a:lnTo>
                  <a:lnTo>
                    <a:pt x="152" y="118"/>
                  </a:lnTo>
                  <a:lnTo>
                    <a:pt x="140" y="133"/>
                  </a:lnTo>
                  <a:lnTo>
                    <a:pt x="143" y="157"/>
                  </a:lnTo>
                  <a:lnTo>
                    <a:pt x="145" y="158"/>
                  </a:lnTo>
                  <a:lnTo>
                    <a:pt x="130" y="145"/>
                  </a:lnTo>
                  <a:lnTo>
                    <a:pt x="118" y="137"/>
                  </a:lnTo>
                  <a:lnTo>
                    <a:pt x="110" y="148"/>
                  </a:lnTo>
                  <a:lnTo>
                    <a:pt x="95" y="162"/>
                  </a:lnTo>
                  <a:lnTo>
                    <a:pt x="97" y="178"/>
                  </a:lnTo>
                  <a:lnTo>
                    <a:pt x="105" y="192"/>
                  </a:lnTo>
                  <a:lnTo>
                    <a:pt x="100" y="200"/>
                  </a:lnTo>
                  <a:lnTo>
                    <a:pt x="108" y="210"/>
                  </a:lnTo>
                  <a:lnTo>
                    <a:pt x="100" y="215"/>
                  </a:lnTo>
                  <a:lnTo>
                    <a:pt x="80" y="215"/>
                  </a:lnTo>
                  <a:lnTo>
                    <a:pt x="62" y="218"/>
                  </a:lnTo>
                  <a:lnTo>
                    <a:pt x="48" y="222"/>
                  </a:lnTo>
                  <a:lnTo>
                    <a:pt x="45" y="235"/>
                  </a:lnTo>
                  <a:lnTo>
                    <a:pt x="65" y="235"/>
                  </a:lnTo>
                  <a:lnTo>
                    <a:pt x="65" y="243"/>
                  </a:lnTo>
                  <a:lnTo>
                    <a:pt x="48" y="243"/>
                  </a:lnTo>
                  <a:lnTo>
                    <a:pt x="32" y="243"/>
                  </a:lnTo>
                  <a:lnTo>
                    <a:pt x="27" y="248"/>
                  </a:lnTo>
                  <a:lnTo>
                    <a:pt x="15" y="230"/>
                  </a:lnTo>
                  <a:lnTo>
                    <a:pt x="8" y="238"/>
                  </a:lnTo>
                  <a:lnTo>
                    <a:pt x="8" y="250"/>
                  </a:lnTo>
                  <a:lnTo>
                    <a:pt x="10" y="257"/>
                  </a:lnTo>
                  <a:lnTo>
                    <a:pt x="0" y="262"/>
                  </a:lnTo>
                  <a:lnTo>
                    <a:pt x="1" y="270"/>
                  </a:lnTo>
                  <a:lnTo>
                    <a:pt x="10" y="27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3" name="Freeform 470"/>
            <p:cNvSpPr>
              <a:spLocks/>
            </p:cNvSpPr>
            <p:nvPr/>
          </p:nvSpPr>
          <p:spPr bwMode="auto">
            <a:xfrm>
              <a:off x="1823" y="1256"/>
              <a:ext cx="77" cy="116"/>
            </a:xfrm>
            <a:custGeom>
              <a:avLst/>
              <a:gdLst>
                <a:gd name="T0" fmla="*/ 13 w 90"/>
                <a:gd name="T1" fmla="*/ 57 h 138"/>
                <a:gd name="T2" fmla="*/ 25 w 90"/>
                <a:gd name="T3" fmla="*/ 52 h 138"/>
                <a:gd name="T4" fmla="*/ 28 w 90"/>
                <a:gd name="T5" fmla="*/ 47 h 138"/>
                <a:gd name="T6" fmla="*/ 30 w 90"/>
                <a:gd name="T7" fmla="*/ 43 h 138"/>
                <a:gd name="T8" fmla="*/ 38 w 90"/>
                <a:gd name="T9" fmla="*/ 38 h 138"/>
                <a:gd name="T10" fmla="*/ 38 w 90"/>
                <a:gd name="T11" fmla="*/ 34 h 138"/>
                <a:gd name="T12" fmla="*/ 38 w 90"/>
                <a:gd name="T13" fmla="*/ 24 h 138"/>
                <a:gd name="T14" fmla="*/ 41 w 90"/>
                <a:gd name="T15" fmla="*/ 20 h 138"/>
                <a:gd name="T16" fmla="*/ 41 w 90"/>
                <a:gd name="T17" fmla="*/ 17 h 138"/>
                <a:gd name="T18" fmla="*/ 35 w 90"/>
                <a:gd name="T19" fmla="*/ 24 h 138"/>
                <a:gd name="T20" fmla="*/ 33 w 90"/>
                <a:gd name="T21" fmla="*/ 20 h 138"/>
                <a:gd name="T22" fmla="*/ 37 w 90"/>
                <a:gd name="T23" fmla="*/ 9 h 138"/>
                <a:gd name="T24" fmla="*/ 35 w 90"/>
                <a:gd name="T25" fmla="*/ 0 h 138"/>
                <a:gd name="T26" fmla="*/ 28 w 90"/>
                <a:gd name="T27" fmla="*/ 0 h 138"/>
                <a:gd name="T28" fmla="*/ 28 w 90"/>
                <a:gd name="T29" fmla="*/ 6 h 138"/>
                <a:gd name="T30" fmla="*/ 21 w 90"/>
                <a:gd name="T31" fmla="*/ 7 h 138"/>
                <a:gd name="T32" fmla="*/ 13 w 90"/>
                <a:gd name="T33" fmla="*/ 17 h 138"/>
                <a:gd name="T34" fmla="*/ 13 w 90"/>
                <a:gd name="T35" fmla="*/ 24 h 138"/>
                <a:gd name="T36" fmla="*/ 13 w 90"/>
                <a:gd name="T37" fmla="*/ 28 h 138"/>
                <a:gd name="T38" fmla="*/ 8 w 90"/>
                <a:gd name="T39" fmla="*/ 29 h 138"/>
                <a:gd name="T40" fmla="*/ 18 w 90"/>
                <a:gd name="T41" fmla="*/ 33 h 138"/>
                <a:gd name="T42" fmla="*/ 18 w 90"/>
                <a:gd name="T43" fmla="*/ 38 h 138"/>
                <a:gd name="T44" fmla="*/ 9 w 90"/>
                <a:gd name="T45" fmla="*/ 38 h 138"/>
                <a:gd name="T46" fmla="*/ 3 w 90"/>
                <a:gd name="T47" fmla="*/ 45 h 138"/>
                <a:gd name="T48" fmla="*/ 3 w 90"/>
                <a:gd name="T49" fmla="*/ 47 h 138"/>
                <a:gd name="T50" fmla="*/ 0 w 90"/>
                <a:gd name="T51" fmla="*/ 53 h 138"/>
                <a:gd name="T52" fmla="*/ 0 w 90"/>
                <a:gd name="T53" fmla="*/ 57 h 138"/>
                <a:gd name="T54" fmla="*/ 7 w 90"/>
                <a:gd name="T55" fmla="*/ 57 h 138"/>
                <a:gd name="T56" fmla="*/ 9 w 90"/>
                <a:gd name="T57" fmla="*/ 58 h 138"/>
                <a:gd name="T58" fmla="*/ 13 w 90"/>
                <a:gd name="T59" fmla="*/ 57 h 138"/>
                <a:gd name="T60" fmla="*/ 13 w 90"/>
                <a:gd name="T61" fmla="*/ 57 h 1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0" h="138">
                  <a:moveTo>
                    <a:pt x="27" y="136"/>
                  </a:moveTo>
                  <a:lnTo>
                    <a:pt x="55" y="125"/>
                  </a:lnTo>
                  <a:lnTo>
                    <a:pt x="60" y="113"/>
                  </a:lnTo>
                  <a:lnTo>
                    <a:pt x="65" y="103"/>
                  </a:lnTo>
                  <a:lnTo>
                    <a:pt x="82" y="91"/>
                  </a:lnTo>
                  <a:lnTo>
                    <a:pt x="82" y="81"/>
                  </a:lnTo>
                  <a:lnTo>
                    <a:pt x="82" y="60"/>
                  </a:lnTo>
                  <a:lnTo>
                    <a:pt x="90" y="48"/>
                  </a:lnTo>
                  <a:lnTo>
                    <a:pt x="90" y="40"/>
                  </a:lnTo>
                  <a:lnTo>
                    <a:pt x="77" y="56"/>
                  </a:lnTo>
                  <a:lnTo>
                    <a:pt x="74" y="46"/>
                  </a:lnTo>
                  <a:lnTo>
                    <a:pt x="80" y="23"/>
                  </a:lnTo>
                  <a:lnTo>
                    <a:pt x="77" y="0"/>
                  </a:lnTo>
                  <a:lnTo>
                    <a:pt x="60" y="0"/>
                  </a:lnTo>
                  <a:lnTo>
                    <a:pt x="60" y="13"/>
                  </a:lnTo>
                  <a:lnTo>
                    <a:pt x="47" y="16"/>
                  </a:lnTo>
                  <a:lnTo>
                    <a:pt x="27" y="40"/>
                  </a:lnTo>
                  <a:lnTo>
                    <a:pt x="27" y="56"/>
                  </a:lnTo>
                  <a:lnTo>
                    <a:pt x="27" y="66"/>
                  </a:lnTo>
                  <a:lnTo>
                    <a:pt x="17" y="70"/>
                  </a:lnTo>
                  <a:lnTo>
                    <a:pt x="39" y="78"/>
                  </a:lnTo>
                  <a:lnTo>
                    <a:pt x="39" y="90"/>
                  </a:lnTo>
                  <a:lnTo>
                    <a:pt x="20" y="91"/>
                  </a:lnTo>
                  <a:lnTo>
                    <a:pt x="3" y="106"/>
                  </a:lnTo>
                  <a:lnTo>
                    <a:pt x="3" y="113"/>
                  </a:lnTo>
                  <a:lnTo>
                    <a:pt x="0" y="126"/>
                  </a:lnTo>
                  <a:lnTo>
                    <a:pt x="0" y="136"/>
                  </a:lnTo>
                  <a:lnTo>
                    <a:pt x="15" y="136"/>
                  </a:lnTo>
                  <a:lnTo>
                    <a:pt x="20" y="138"/>
                  </a:lnTo>
                  <a:lnTo>
                    <a:pt x="27" y="13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4" name="Freeform 471"/>
            <p:cNvSpPr>
              <a:spLocks/>
            </p:cNvSpPr>
            <p:nvPr/>
          </p:nvSpPr>
          <p:spPr bwMode="auto">
            <a:xfrm>
              <a:off x="1823" y="1256"/>
              <a:ext cx="77" cy="116"/>
            </a:xfrm>
            <a:custGeom>
              <a:avLst/>
              <a:gdLst>
                <a:gd name="T0" fmla="*/ 13 w 90"/>
                <a:gd name="T1" fmla="*/ 57 h 138"/>
                <a:gd name="T2" fmla="*/ 25 w 90"/>
                <a:gd name="T3" fmla="*/ 52 h 138"/>
                <a:gd name="T4" fmla="*/ 28 w 90"/>
                <a:gd name="T5" fmla="*/ 47 h 138"/>
                <a:gd name="T6" fmla="*/ 30 w 90"/>
                <a:gd name="T7" fmla="*/ 43 h 138"/>
                <a:gd name="T8" fmla="*/ 38 w 90"/>
                <a:gd name="T9" fmla="*/ 38 h 138"/>
                <a:gd name="T10" fmla="*/ 38 w 90"/>
                <a:gd name="T11" fmla="*/ 34 h 138"/>
                <a:gd name="T12" fmla="*/ 38 w 90"/>
                <a:gd name="T13" fmla="*/ 24 h 138"/>
                <a:gd name="T14" fmla="*/ 41 w 90"/>
                <a:gd name="T15" fmla="*/ 20 h 138"/>
                <a:gd name="T16" fmla="*/ 41 w 90"/>
                <a:gd name="T17" fmla="*/ 17 h 138"/>
                <a:gd name="T18" fmla="*/ 35 w 90"/>
                <a:gd name="T19" fmla="*/ 24 h 138"/>
                <a:gd name="T20" fmla="*/ 33 w 90"/>
                <a:gd name="T21" fmla="*/ 20 h 138"/>
                <a:gd name="T22" fmla="*/ 37 w 90"/>
                <a:gd name="T23" fmla="*/ 9 h 138"/>
                <a:gd name="T24" fmla="*/ 35 w 90"/>
                <a:gd name="T25" fmla="*/ 0 h 138"/>
                <a:gd name="T26" fmla="*/ 28 w 90"/>
                <a:gd name="T27" fmla="*/ 0 h 138"/>
                <a:gd name="T28" fmla="*/ 28 w 90"/>
                <a:gd name="T29" fmla="*/ 6 h 138"/>
                <a:gd name="T30" fmla="*/ 21 w 90"/>
                <a:gd name="T31" fmla="*/ 7 h 138"/>
                <a:gd name="T32" fmla="*/ 13 w 90"/>
                <a:gd name="T33" fmla="*/ 17 h 138"/>
                <a:gd name="T34" fmla="*/ 13 w 90"/>
                <a:gd name="T35" fmla="*/ 24 h 138"/>
                <a:gd name="T36" fmla="*/ 13 w 90"/>
                <a:gd name="T37" fmla="*/ 28 h 138"/>
                <a:gd name="T38" fmla="*/ 8 w 90"/>
                <a:gd name="T39" fmla="*/ 29 h 138"/>
                <a:gd name="T40" fmla="*/ 18 w 90"/>
                <a:gd name="T41" fmla="*/ 33 h 138"/>
                <a:gd name="T42" fmla="*/ 18 w 90"/>
                <a:gd name="T43" fmla="*/ 38 h 138"/>
                <a:gd name="T44" fmla="*/ 9 w 90"/>
                <a:gd name="T45" fmla="*/ 38 h 138"/>
                <a:gd name="T46" fmla="*/ 3 w 90"/>
                <a:gd name="T47" fmla="*/ 45 h 138"/>
                <a:gd name="T48" fmla="*/ 3 w 90"/>
                <a:gd name="T49" fmla="*/ 47 h 138"/>
                <a:gd name="T50" fmla="*/ 0 w 90"/>
                <a:gd name="T51" fmla="*/ 53 h 138"/>
                <a:gd name="T52" fmla="*/ 0 w 90"/>
                <a:gd name="T53" fmla="*/ 57 h 138"/>
                <a:gd name="T54" fmla="*/ 7 w 90"/>
                <a:gd name="T55" fmla="*/ 57 h 138"/>
                <a:gd name="T56" fmla="*/ 9 w 90"/>
                <a:gd name="T57" fmla="*/ 58 h 138"/>
                <a:gd name="T58" fmla="*/ 13 w 90"/>
                <a:gd name="T59" fmla="*/ 57 h 138"/>
                <a:gd name="T60" fmla="*/ 13 w 90"/>
                <a:gd name="T61" fmla="*/ 57 h 1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0" h="138">
                  <a:moveTo>
                    <a:pt x="27" y="136"/>
                  </a:moveTo>
                  <a:lnTo>
                    <a:pt x="55" y="125"/>
                  </a:lnTo>
                  <a:lnTo>
                    <a:pt x="60" y="113"/>
                  </a:lnTo>
                  <a:lnTo>
                    <a:pt x="65" y="103"/>
                  </a:lnTo>
                  <a:lnTo>
                    <a:pt x="82" y="91"/>
                  </a:lnTo>
                  <a:lnTo>
                    <a:pt x="82" y="81"/>
                  </a:lnTo>
                  <a:lnTo>
                    <a:pt x="82" y="60"/>
                  </a:lnTo>
                  <a:lnTo>
                    <a:pt x="90" y="48"/>
                  </a:lnTo>
                  <a:lnTo>
                    <a:pt x="90" y="40"/>
                  </a:lnTo>
                  <a:lnTo>
                    <a:pt x="77" y="56"/>
                  </a:lnTo>
                  <a:lnTo>
                    <a:pt x="74" y="46"/>
                  </a:lnTo>
                  <a:lnTo>
                    <a:pt x="80" y="23"/>
                  </a:lnTo>
                  <a:lnTo>
                    <a:pt x="77" y="0"/>
                  </a:lnTo>
                  <a:lnTo>
                    <a:pt x="60" y="0"/>
                  </a:lnTo>
                  <a:lnTo>
                    <a:pt x="60" y="13"/>
                  </a:lnTo>
                  <a:lnTo>
                    <a:pt x="47" y="16"/>
                  </a:lnTo>
                  <a:lnTo>
                    <a:pt x="27" y="40"/>
                  </a:lnTo>
                  <a:lnTo>
                    <a:pt x="27" y="56"/>
                  </a:lnTo>
                  <a:lnTo>
                    <a:pt x="27" y="66"/>
                  </a:lnTo>
                  <a:lnTo>
                    <a:pt x="17" y="70"/>
                  </a:lnTo>
                  <a:lnTo>
                    <a:pt x="39" y="78"/>
                  </a:lnTo>
                  <a:lnTo>
                    <a:pt x="39" y="90"/>
                  </a:lnTo>
                  <a:lnTo>
                    <a:pt x="20" y="91"/>
                  </a:lnTo>
                  <a:lnTo>
                    <a:pt x="3" y="106"/>
                  </a:lnTo>
                  <a:lnTo>
                    <a:pt x="3" y="113"/>
                  </a:lnTo>
                  <a:lnTo>
                    <a:pt x="0" y="126"/>
                  </a:lnTo>
                  <a:lnTo>
                    <a:pt x="0" y="136"/>
                  </a:lnTo>
                  <a:lnTo>
                    <a:pt x="15" y="136"/>
                  </a:lnTo>
                  <a:lnTo>
                    <a:pt x="20" y="138"/>
                  </a:lnTo>
                  <a:lnTo>
                    <a:pt x="27" y="13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5" name="Freeform 472"/>
            <p:cNvSpPr>
              <a:spLocks/>
            </p:cNvSpPr>
            <p:nvPr/>
          </p:nvSpPr>
          <p:spPr bwMode="auto">
            <a:xfrm>
              <a:off x="1811" y="1271"/>
              <a:ext cx="18" cy="20"/>
            </a:xfrm>
            <a:custGeom>
              <a:avLst/>
              <a:gdLst>
                <a:gd name="T0" fmla="*/ 8 w 20"/>
                <a:gd name="T1" fmla="*/ 2 h 25"/>
                <a:gd name="T2" fmla="*/ 3 w 20"/>
                <a:gd name="T3" fmla="*/ 0 h 25"/>
                <a:gd name="T4" fmla="*/ 0 w 20"/>
                <a:gd name="T5" fmla="*/ 6 h 25"/>
                <a:gd name="T6" fmla="*/ 5 w 20"/>
                <a:gd name="T7" fmla="*/ 8 h 25"/>
                <a:gd name="T8" fmla="*/ 5 w 20"/>
                <a:gd name="T9" fmla="*/ 6 h 25"/>
                <a:gd name="T10" fmla="*/ 12 w 20"/>
                <a:gd name="T11" fmla="*/ 4 h 25"/>
                <a:gd name="T12" fmla="*/ 8 w 20"/>
                <a:gd name="T13" fmla="*/ 2 h 25"/>
                <a:gd name="T14" fmla="*/ 8 w 20"/>
                <a:gd name="T15" fmla="*/ 2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" h="25">
                  <a:moveTo>
                    <a:pt x="13" y="3"/>
                  </a:moveTo>
                  <a:lnTo>
                    <a:pt x="3" y="0"/>
                  </a:lnTo>
                  <a:lnTo>
                    <a:pt x="0" y="20"/>
                  </a:lnTo>
                  <a:lnTo>
                    <a:pt x="5" y="25"/>
                  </a:lnTo>
                  <a:lnTo>
                    <a:pt x="10" y="20"/>
                  </a:lnTo>
                  <a:lnTo>
                    <a:pt x="20" y="12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6" name="Freeform 473"/>
            <p:cNvSpPr>
              <a:spLocks/>
            </p:cNvSpPr>
            <p:nvPr/>
          </p:nvSpPr>
          <p:spPr bwMode="auto">
            <a:xfrm>
              <a:off x="1811" y="1271"/>
              <a:ext cx="18" cy="20"/>
            </a:xfrm>
            <a:custGeom>
              <a:avLst/>
              <a:gdLst>
                <a:gd name="T0" fmla="*/ 8 w 20"/>
                <a:gd name="T1" fmla="*/ 2 h 25"/>
                <a:gd name="T2" fmla="*/ 3 w 20"/>
                <a:gd name="T3" fmla="*/ 0 h 25"/>
                <a:gd name="T4" fmla="*/ 0 w 20"/>
                <a:gd name="T5" fmla="*/ 6 h 25"/>
                <a:gd name="T6" fmla="*/ 5 w 20"/>
                <a:gd name="T7" fmla="*/ 8 h 25"/>
                <a:gd name="T8" fmla="*/ 5 w 20"/>
                <a:gd name="T9" fmla="*/ 6 h 25"/>
                <a:gd name="T10" fmla="*/ 12 w 20"/>
                <a:gd name="T11" fmla="*/ 4 h 25"/>
                <a:gd name="T12" fmla="*/ 8 w 20"/>
                <a:gd name="T13" fmla="*/ 2 h 25"/>
                <a:gd name="T14" fmla="*/ 8 w 20"/>
                <a:gd name="T15" fmla="*/ 2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" h="25">
                  <a:moveTo>
                    <a:pt x="13" y="3"/>
                  </a:moveTo>
                  <a:lnTo>
                    <a:pt x="3" y="0"/>
                  </a:lnTo>
                  <a:lnTo>
                    <a:pt x="0" y="20"/>
                  </a:lnTo>
                  <a:lnTo>
                    <a:pt x="5" y="25"/>
                  </a:lnTo>
                  <a:lnTo>
                    <a:pt x="10" y="20"/>
                  </a:lnTo>
                  <a:lnTo>
                    <a:pt x="20" y="12"/>
                  </a:lnTo>
                  <a:lnTo>
                    <a:pt x="13" y="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7" name="Freeform 474"/>
            <p:cNvSpPr>
              <a:spLocks/>
            </p:cNvSpPr>
            <p:nvPr/>
          </p:nvSpPr>
          <p:spPr bwMode="auto">
            <a:xfrm>
              <a:off x="1734" y="1401"/>
              <a:ext cx="89" cy="144"/>
            </a:xfrm>
            <a:custGeom>
              <a:avLst/>
              <a:gdLst>
                <a:gd name="T0" fmla="*/ 37 w 103"/>
                <a:gd name="T1" fmla="*/ 67 h 172"/>
                <a:gd name="T2" fmla="*/ 45 w 103"/>
                <a:gd name="T3" fmla="*/ 63 h 172"/>
                <a:gd name="T4" fmla="*/ 45 w 103"/>
                <a:gd name="T5" fmla="*/ 59 h 172"/>
                <a:gd name="T6" fmla="*/ 50 w 103"/>
                <a:gd name="T7" fmla="*/ 54 h 172"/>
                <a:gd name="T8" fmla="*/ 50 w 103"/>
                <a:gd name="T9" fmla="*/ 47 h 172"/>
                <a:gd name="T10" fmla="*/ 41 w 103"/>
                <a:gd name="T11" fmla="*/ 41 h 172"/>
                <a:gd name="T12" fmla="*/ 35 w 103"/>
                <a:gd name="T13" fmla="*/ 42 h 172"/>
                <a:gd name="T14" fmla="*/ 29 w 103"/>
                <a:gd name="T15" fmla="*/ 41 h 172"/>
                <a:gd name="T16" fmla="*/ 25 w 103"/>
                <a:gd name="T17" fmla="*/ 34 h 172"/>
                <a:gd name="T18" fmla="*/ 21 w 103"/>
                <a:gd name="T19" fmla="*/ 33 h 172"/>
                <a:gd name="T20" fmla="*/ 19 w 103"/>
                <a:gd name="T21" fmla="*/ 24 h 172"/>
                <a:gd name="T22" fmla="*/ 28 w 103"/>
                <a:gd name="T23" fmla="*/ 24 h 172"/>
                <a:gd name="T24" fmla="*/ 30 w 103"/>
                <a:gd name="T25" fmla="*/ 23 h 172"/>
                <a:gd name="T26" fmla="*/ 26 w 103"/>
                <a:gd name="T27" fmla="*/ 18 h 172"/>
                <a:gd name="T28" fmla="*/ 30 w 103"/>
                <a:gd name="T29" fmla="*/ 18 h 172"/>
                <a:gd name="T30" fmla="*/ 30 w 103"/>
                <a:gd name="T31" fmla="*/ 11 h 172"/>
                <a:gd name="T32" fmla="*/ 26 w 103"/>
                <a:gd name="T33" fmla="*/ 9 h 172"/>
                <a:gd name="T34" fmla="*/ 16 w 103"/>
                <a:gd name="T35" fmla="*/ 11 h 172"/>
                <a:gd name="T36" fmla="*/ 14 w 103"/>
                <a:gd name="T37" fmla="*/ 11 h 172"/>
                <a:gd name="T38" fmla="*/ 14 w 103"/>
                <a:gd name="T39" fmla="*/ 9 h 172"/>
                <a:gd name="T40" fmla="*/ 14 w 103"/>
                <a:gd name="T41" fmla="*/ 8 h 172"/>
                <a:gd name="T42" fmla="*/ 10 w 103"/>
                <a:gd name="T43" fmla="*/ 3 h 172"/>
                <a:gd name="T44" fmla="*/ 0 w 103"/>
                <a:gd name="T45" fmla="*/ 0 h 172"/>
                <a:gd name="T46" fmla="*/ 0 w 103"/>
                <a:gd name="T47" fmla="*/ 4 h 172"/>
                <a:gd name="T48" fmla="*/ 3 w 103"/>
                <a:gd name="T49" fmla="*/ 13 h 172"/>
                <a:gd name="T50" fmla="*/ 3 w 103"/>
                <a:gd name="T51" fmla="*/ 16 h 172"/>
                <a:gd name="T52" fmla="*/ 8 w 103"/>
                <a:gd name="T53" fmla="*/ 16 h 172"/>
                <a:gd name="T54" fmla="*/ 10 w 103"/>
                <a:gd name="T55" fmla="*/ 22 h 172"/>
                <a:gd name="T56" fmla="*/ 7 w 103"/>
                <a:gd name="T57" fmla="*/ 27 h 172"/>
                <a:gd name="T58" fmla="*/ 3 w 103"/>
                <a:gd name="T59" fmla="*/ 36 h 172"/>
                <a:gd name="T60" fmla="*/ 3 w 103"/>
                <a:gd name="T61" fmla="*/ 41 h 172"/>
                <a:gd name="T62" fmla="*/ 10 w 103"/>
                <a:gd name="T63" fmla="*/ 42 h 172"/>
                <a:gd name="T64" fmla="*/ 14 w 103"/>
                <a:gd name="T65" fmla="*/ 47 h 172"/>
                <a:gd name="T66" fmla="*/ 12 w 103"/>
                <a:gd name="T67" fmla="*/ 54 h 172"/>
                <a:gd name="T68" fmla="*/ 16 w 103"/>
                <a:gd name="T69" fmla="*/ 58 h 172"/>
                <a:gd name="T70" fmla="*/ 21 w 103"/>
                <a:gd name="T71" fmla="*/ 66 h 172"/>
                <a:gd name="T72" fmla="*/ 26 w 103"/>
                <a:gd name="T73" fmla="*/ 71 h 172"/>
                <a:gd name="T74" fmla="*/ 35 w 103"/>
                <a:gd name="T75" fmla="*/ 71 h 172"/>
                <a:gd name="T76" fmla="*/ 37 w 103"/>
                <a:gd name="T77" fmla="*/ 67 h 172"/>
                <a:gd name="T78" fmla="*/ 37 w 103"/>
                <a:gd name="T79" fmla="*/ 67 h 1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03" h="172">
                  <a:moveTo>
                    <a:pt x="78" y="163"/>
                  </a:moveTo>
                  <a:lnTo>
                    <a:pt x="93" y="153"/>
                  </a:lnTo>
                  <a:lnTo>
                    <a:pt x="93" y="142"/>
                  </a:lnTo>
                  <a:lnTo>
                    <a:pt x="103" y="130"/>
                  </a:lnTo>
                  <a:lnTo>
                    <a:pt x="103" y="115"/>
                  </a:lnTo>
                  <a:lnTo>
                    <a:pt x="86" y="100"/>
                  </a:lnTo>
                  <a:lnTo>
                    <a:pt x="71" y="103"/>
                  </a:lnTo>
                  <a:lnTo>
                    <a:pt x="60" y="98"/>
                  </a:lnTo>
                  <a:lnTo>
                    <a:pt x="51" y="85"/>
                  </a:lnTo>
                  <a:lnTo>
                    <a:pt x="43" y="80"/>
                  </a:lnTo>
                  <a:lnTo>
                    <a:pt x="40" y="60"/>
                  </a:lnTo>
                  <a:lnTo>
                    <a:pt x="58" y="60"/>
                  </a:lnTo>
                  <a:lnTo>
                    <a:pt x="63" y="57"/>
                  </a:lnTo>
                  <a:lnTo>
                    <a:pt x="55" y="43"/>
                  </a:lnTo>
                  <a:lnTo>
                    <a:pt x="63" y="43"/>
                  </a:lnTo>
                  <a:lnTo>
                    <a:pt x="65" y="28"/>
                  </a:lnTo>
                  <a:lnTo>
                    <a:pt x="55" y="22"/>
                  </a:lnTo>
                  <a:lnTo>
                    <a:pt x="35" y="28"/>
                  </a:lnTo>
                  <a:lnTo>
                    <a:pt x="28" y="28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1" y="5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" y="30"/>
                  </a:lnTo>
                  <a:lnTo>
                    <a:pt x="5" y="38"/>
                  </a:lnTo>
                  <a:lnTo>
                    <a:pt x="16" y="38"/>
                  </a:lnTo>
                  <a:lnTo>
                    <a:pt x="20" y="52"/>
                  </a:lnTo>
                  <a:lnTo>
                    <a:pt x="13" y="65"/>
                  </a:lnTo>
                  <a:lnTo>
                    <a:pt x="8" y="87"/>
                  </a:lnTo>
                  <a:lnTo>
                    <a:pt x="8" y="98"/>
                  </a:lnTo>
                  <a:lnTo>
                    <a:pt x="20" y="103"/>
                  </a:lnTo>
                  <a:lnTo>
                    <a:pt x="28" y="115"/>
                  </a:lnTo>
                  <a:lnTo>
                    <a:pt x="25" y="130"/>
                  </a:lnTo>
                  <a:lnTo>
                    <a:pt x="33" y="140"/>
                  </a:lnTo>
                  <a:lnTo>
                    <a:pt x="43" y="160"/>
                  </a:lnTo>
                  <a:lnTo>
                    <a:pt x="55" y="172"/>
                  </a:lnTo>
                  <a:lnTo>
                    <a:pt x="73" y="172"/>
                  </a:lnTo>
                  <a:lnTo>
                    <a:pt x="78" y="163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8" name="Freeform 475"/>
            <p:cNvSpPr>
              <a:spLocks/>
            </p:cNvSpPr>
            <p:nvPr/>
          </p:nvSpPr>
          <p:spPr bwMode="auto">
            <a:xfrm>
              <a:off x="1734" y="1401"/>
              <a:ext cx="89" cy="144"/>
            </a:xfrm>
            <a:custGeom>
              <a:avLst/>
              <a:gdLst>
                <a:gd name="T0" fmla="*/ 37 w 103"/>
                <a:gd name="T1" fmla="*/ 67 h 172"/>
                <a:gd name="T2" fmla="*/ 45 w 103"/>
                <a:gd name="T3" fmla="*/ 63 h 172"/>
                <a:gd name="T4" fmla="*/ 45 w 103"/>
                <a:gd name="T5" fmla="*/ 59 h 172"/>
                <a:gd name="T6" fmla="*/ 50 w 103"/>
                <a:gd name="T7" fmla="*/ 54 h 172"/>
                <a:gd name="T8" fmla="*/ 50 w 103"/>
                <a:gd name="T9" fmla="*/ 47 h 172"/>
                <a:gd name="T10" fmla="*/ 41 w 103"/>
                <a:gd name="T11" fmla="*/ 41 h 172"/>
                <a:gd name="T12" fmla="*/ 35 w 103"/>
                <a:gd name="T13" fmla="*/ 42 h 172"/>
                <a:gd name="T14" fmla="*/ 29 w 103"/>
                <a:gd name="T15" fmla="*/ 41 h 172"/>
                <a:gd name="T16" fmla="*/ 25 w 103"/>
                <a:gd name="T17" fmla="*/ 34 h 172"/>
                <a:gd name="T18" fmla="*/ 21 w 103"/>
                <a:gd name="T19" fmla="*/ 33 h 172"/>
                <a:gd name="T20" fmla="*/ 19 w 103"/>
                <a:gd name="T21" fmla="*/ 24 h 172"/>
                <a:gd name="T22" fmla="*/ 28 w 103"/>
                <a:gd name="T23" fmla="*/ 24 h 172"/>
                <a:gd name="T24" fmla="*/ 30 w 103"/>
                <a:gd name="T25" fmla="*/ 23 h 172"/>
                <a:gd name="T26" fmla="*/ 26 w 103"/>
                <a:gd name="T27" fmla="*/ 18 h 172"/>
                <a:gd name="T28" fmla="*/ 30 w 103"/>
                <a:gd name="T29" fmla="*/ 18 h 172"/>
                <a:gd name="T30" fmla="*/ 30 w 103"/>
                <a:gd name="T31" fmla="*/ 11 h 172"/>
                <a:gd name="T32" fmla="*/ 26 w 103"/>
                <a:gd name="T33" fmla="*/ 9 h 172"/>
                <a:gd name="T34" fmla="*/ 16 w 103"/>
                <a:gd name="T35" fmla="*/ 11 h 172"/>
                <a:gd name="T36" fmla="*/ 14 w 103"/>
                <a:gd name="T37" fmla="*/ 11 h 172"/>
                <a:gd name="T38" fmla="*/ 14 w 103"/>
                <a:gd name="T39" fmla="*/ 9 h 172"/>
                <a:gd name="T40" fmla="*/ 14 w 103"/>
                <a:gd name="T41" fmla="*/ 8 h 172"/>
                <a:gd name="T42" fmla="*/ 10 w 103"/>
                <a:gd name="T43" fmla="*/ 3 h 172"/>
                <a:gd name="T44" fmla="*/ 0 w 103"/>
                <a:gd name="T45" fmla="*/ 0 h 172"/>
                <a:gd name="T46" fmla="*/ 0 w 103"/>
                <a:gd name="T47" fmla="*/ 4 h 172"/>
                <a:gd name="T48" fmla="*/ 3 w 103"/>
                <a:gd name="T49" fmla="*/ 13 h 172"/>
                <a:gd name="T50" fmla="*/ 3 w 103"/>
                <a:gd name="T51" fmla="*/ 16 h 172"/>
                <a:gd name="T52" fmla="*/ 8 w 103"/>
                <a:gd name="T53" fmla="*/ 16 h 172"/>
                <a:gd name="T54" fmla="*/ 10 w 103"/>
                <a:gd name="T55" fmla="*/ 22 h 172"/>
                <a:gd name="T56" fmla="*/ 7 w 103"/>
                <a:gd name="T57" fmla="*/ 27 h 172"/>
                <a:gd name="T58" fmla="*/ 3 w 103"/>
                <a:gd name="T59" fmla="*/ 36 h 172"/>
                <a:gd name="T60" fmla="*/ 3 w 103"/>
                <a:gd name="T61" fmla="*/ 41 h 172"/>
                <a:gd name="T62" fmla="*/ 10 w 103"/>
                <a:gd name="T63" fmla="*/ 42 h 172"/>
                <a:gd name="T64" fmla="*/ 14 w 103"/>
                <a:gd name="T65" fmla="*/ 47 h 172"/>
                <a:gd name="T66" fmla="*/ 12 w 103"/>
                <a:gd name="T67" fmla="*/ 54 h 172"/>
                <a:gd name="T68" fmla="*/ 16 w 103"/>
                <a:gd name="T69" fmla="*/ 58 h 172"/>
                <a:gd name="T70" fmla="*/ 21 w 103"/>
                <a:gd name="T71" fmla="*/ 66 h 172"/>
                <a:gd name="T72" fmla="*/ 26 w 103"/>
                <a:gd name="T73" fmla="*/ 71 h 172"/>
                <a:gd name="T74" fmla="*/ 35 w 103"/>
                <a:gd name="T75" fmla="*/ 71 h 172"/>
                <a:gd name="T76" fmla="*/ 37 w 103"/>
                <a:gd name="T77" fmla="*/ 67 h 172"/>
                <a:gd name="T78" fmla="*/ 37 w 103"/>
                <a:gd name="T79" fmla="*/ 67 h 1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03" h="172">
                  <a:moveTo>
                    <a:pt x="78" y="163"/>
                  </a:moveTo>
                  <a:lnTo>
                    <a:pt x="93" y="153"/>
                  </a:lnTo>
                  <a:lnTo>
                    <a:pt x="93" y="142"/>
                  </a:lnTo>
                  <a:lnTo>
                    <a:pt x="103" y="130"/>
                  </a:lnTo>
                  <a:lnTo>
                    <a:pt x="103" y="115"/>
                  </a:lnTo>
                  <a:lnTo>
                    <a:pt x="86" y="100"/>
                  </a:lnTo>
                  <a:lnTo>
                    <a:pt x="71" y="103"/>
                  </a:lnTo>
                  <a:lnTo>
                    <a:pt x="60" y="98"/>
                  </a:lnTo>
                  <a:lnTo>
                    <a:pt x="51" y="85"/>
                  </a:lnTo>
                  <a:lnTo>
                    <a:pt x="43" y="80"/>
                  </a:lnTo>
                  <a:lnTo>
                    <a:pt x="40" y="60"/>
                  </a:lnTo>
                  <a:lnTo>
                    <a:pt x="58" y="60"/>
                  </a:lnTo>
                  <a:lnTo>
                    <a:pt x="63" y="57"/>
                  </a:lnTo>
                  <a:lnTo>
                    <a:pt x="55" y="43"/>
                  </a:lnTo>
                  <a:lnTo>
                    <a:pt x="63" y="43"/>
                  </a:lnTo>
                  <a:lnTo>
                    <a:pt x="65" y="28"/>
                  </a:lnTo>
                  <a:lnTo>
                    <a:pt x="55" y="22"/>
                  </a:lnTo>
                  <a:lnTo>
                    <a:pt x="35" y="28"/>
                  </a:lnTo>
                  <a:lnTo>
                    <a:pt x="28" y="28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1" y="5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" y="30"/>
                  </a:lnTo>
                  <a:lnTo>
                    <a:pt x="5" y="38"/>
                  </a:lnTo>
                  <a:lnTo>
                    <a:pt x="16" y="38"/>
                  </a:lnTo>
                  <a:lnTo>
                    <a:pt x="20" y="52"/>
                  </a:lnTo>
                  <a:lnTo>
                    <a:pt x="13" y="65"/>
                  </a:lnTo>
                  <a:lnTo>
                    <a:pt x="8" y="87"/>
                  </a:lnTo>
                  <a:lnTo>
                    <a:pt x="8" y="98"/>
                  </a:lnTo>
                  <a:lnTo>
                    <a:pt x="20" y="103"/>
                  </a:lnTo>
                  <a:lnTo>
                    <a:pt x="28" y="115"/>
                  </a:lnTo>
                  <a:lnTo>
                    <a:pt x="25" y="130"/>
                  </a:lnTo>
                  <a:lnTo>
                    <a:pt x="33" y="140"/>
                  </a:lnTo>
                  <a:lnTo>
                    <a:pt x="43" y="160"/>
                  </a:lnTo>
                  <a:lnTo>
                    <a:pt x="55" y="172"/>
                  </a:lnTo>
                  <a:lnTo>
                    <a:pt x="73" y="172"/>
                  </a:lnTo>
                  <a:lnTo>
                    <a:pt x="78" y="163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9" name="Freeform 476"/>
            <p:cNvSpPr>
              <a:spLocks/>
            </p:cNvSpPr>
            <p:nvPr/>
          </p:nvSpPr>
          <p:spPr bwMode="auto">
            <a:xfrm>
              <a:off x="1786" y="1378"/>
              <a:ext cx="29" cy="21"/>
            </a:xfrm>
            <a:custGeom>
              <a:avLst/>
              <a:gdLst>
                <a:gd name="T0" fmla="*/ 7 w 33"/>
                <a:gd name="T1" fmla="*/ 3 h 25"/>
                <a:gd name="T2" fmla="*/ 0 w 33"/>
                <a:gd name="T3" fmla="*/ 4 h 25"/>
                <a:gd name="T4" fmla="*/ 0 w 33"/>
                <a:gd name="T5" fmla="*/ 11 h 25"/>
                <a:gd name="T6" fmla="*/ 10 w 33"/>
                <a:gd name="T7" fmla="*/ 9 h 25"/>
                <a:gd name="T8" fmla="*/ 17 w 33"/>
                <a:gd name="T9" fmla="*/ 0 h 25"/>
                <a:gd name="T10" fmla="*/ 7 w 33"/>
                <a:gd name="T11" fmla="*/ 3 h 25"/>
                <a:gd name="T12" fmla="*/ 7 w 33"/>
                <a:gd name="T13" fmla="*/ 3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3" h="25">
                  <a:moveTo>
                    <a:pt x="13" y="5"/>
                  </a:moveTo>
                  <a:lnTo>
                    <a:pt x="0" y="10"/>
                  </a:lnTo>
                  <a:lnTo>
                    <a:pt x="0" y="25"/>
                  </a:lnTo>
                  <a:lnTo>
                    <a:pt x="18" y="22"/>
                  </a:lnTo>
                  <a:lnTo>
                    <a:pt x="33" y="0"/>
                  </a:lnTo>
                  <a:lnTo>
                    <a:pt x="13" y="5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0" name="Freeform 477"/>
            <p:cNvSpPr>
              <a:spLocks/>
            </p:cNvSpPr>
            <p:nvPr/>
          </p:nvSpPr>
          <p:spPr bwMode="auto">
            <a:xfrm>
              <a:off x="1786" y="1378"/>
              <a:ext cx="29" cy="21"/>
            </a:xfrm>
            <a:custGeom>
              <a:avLst/>
              <a:gdLst>
                <a:gd name="T0" fmla="*/ 7 w 33"/>
                <a:gd name="T1" fmla="*/ 3 h 25"/>
                <a:gd name="T2" fmla="*/ 0 w 33"/>
                <a:gd name="T3" fmla="*/ 4 h 25"/>
                <a:gd name="T4" fmla="*/ 0 w 33"/>
                <a:gd name="T5" fmla="*/ 11 h 25"/>
                <a:gd name="T6" fmla="*/ 10 w 33"/>
                <a:gd name="T7" fmla="*/ 9 h 25"/>
                <a:gd name="T8" fmla="*/ 17 w 33"/>
                <a:gd name="T9" fmla="*/ 0 h 25"/>
                <a:gd name="T10" fmla="*/ 7 w 33"/>
                <a:gd name="T11" fmla="*/ 3 h 25"/>
                <a:gd name="T12" fmla="*/ 7 w 33"/>
                <a:gd name="T13" fmla="*/ 3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3" h="25">
                  <a:moveTo>
                    <a:pt x="13" y="5"/>
                  </a:moveTo>
                  <a:lnTo>
                    <a:pt x="0" y="10"/>
                  </a:lnTo>
                  <a:lnTo>
                    <a:pt x="0" y="25"/>
                  </a:lnTo>
                  <a:lnTo>
                    <a:pt x="18" y="22"/>
                  </a:lnTo>
                  <a:lnTo>
                    <a:pt x="33" y="0"/>
                  </a:lnTo>
                  <a:lnTo>
                    <a:pt x="13" y="5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1" name="Freeform 478"/>
            <p:cNvSpPr>
              <a:spLocks/>
            </p:cNvSpPr>
            <p:nvPr/>
          </p:nvSpPr>
          <p:spPr bwMode="auto">
            <a:xfrm>
              <a:off x="1711" y="1354"/>
              <a:ext cx="23" cy="24"/>
            </a:xfrm>
            <a:custGeom>
              <a:avLst/>
              <a:gdLst>
                <a:gd name="T0" fmla="*/ 7 w 30"/>
                <a:gd name="T1" fmla="*/ 0 h 30"/>
                <a:gd name="T2" fmla="*/ 3 w 30"/>
                <a:gd name="T3" fmla="*/ 0 h 30"/>
                <a:gd name="T4" fmla="*/ 0 w 30"/>
                <a:gd name="T5" fmla="*/ 5 h 30"/>
                <a:gd name="T6" fmla="*/ 2 w 30"/>
                <a:gd name="T7" fmla="*/ 9 h 30"/>
                <a:gd name="T8" fmla="*/ 7 w 30"/>
                <a:gd name="T9" fmla="*/ 10 h 30"/>
                <a:gd name="T10" fmla="*/ 8 w 30"/>
                <a:gd name="T11" fmla="*/ 5 h 30"/>
                <a:gd name="T12" fmla="*/ 7 w 30"/>
                <a:gd name="T13" fmla="*/ 0 h 30"/>
                <a:gd name="T14" fmla="*/ 7 w 30"/>
                <a:gd name="T15" fmla="*/ 0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0" h="30">
                  <a:moveTo>
                    <a:pt x="25" y="0"/>
                  </a:moveTo>
                  <a:lnTo>
                    <a:pt x="11" y="0"/>
                  </a:lnTo>
                  <a:lnTo>
                    <a:pt x="0" y="14"/>
                  </a:lnTo>
                  <a:lnTo>
                    <a:pt x="5" y="27"/>
                  </a:lnTo>
                  <a:lnTo>
                    <a:pt x="25" y="30"/>
                  </a:lnTo>
                  <a:lnTo>
                    <a:pt x="30" y="14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2" name="Freeform 479"/>
            <p:cNvSpPr>
              <a:spLocks/>
            </p:cNvSpPr>
            <p:nvPr/>
          </p:nvSpPr>
          <p:spPr bwMode="auto">
            <a:xfrm>
              <a:off x="1711" y="1354"/>
              <a:ext cx="23" cy="24"/>
            </a:xfrm>
            <a:custGeom>
              <a:avLst/>
              <a:gdLst>
                <a:gd name="T0" fmla="*/ 7 w 30"/>
                <a:gd name="T1" fmla="*/ 0 h 30"/>
                <a:gd name="T2" fmla="*/ 3 w 30"/>
                <a:gd name="T3" fmla="*/ 0 h 30"/>
                <a:gd name="T4" fmla="*/ 0 w 30"/>
                <a:gd name="T5" fmla="*/ 5 h 30"/>
                <a:gd name="T6" fmla="*/ 2 w 30"/>
                <a:gd name="T7" fmla="*/ 9 h 30"/>
                <a:gd name="T8" fmla="*/ 7 w 30"/>
                <a:gd name="T9" fmla="*/ 10 h 30"/>
                <a:gd name="T10" fmla="*/ 8 w 30"/>
                <a:gd name="T11" fmla="*/ 5 h 30"/>
                <a:gd name="T12" fmla="*/ 7 w 30"/>
                <a:gd name="T13" fmla="*/ 0 h 30"/>
                <a:gd name="T14" fmla="*/ 7 w 30"/>
                <a:gd name="T15" fmla="*/ 0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0" h="30">
                  <a:moveTo>
                    <a:pt x="25" y="0"/>
                  </a:moveTo>
                  <a:lnTo>
                    <a:pt x="11" y="0"/>
                  </a:lnTo>
                  <a:lnTo>
                    <a:pt x="0" y="14"/>
                  </a:lnTo>
                  <a:lnTo>
                    <a:pt x="5" y="27"/>
                  </a:lnTo>
                  <a:lnTo>
                    <a:pt x="25" y="30"/>
                  </a:lnTo>
                  <a:lnTo>
                    <a:pt x="30" y="14"/>
                  </a:lnTo>
                  <a:lnTo>
                    <a:pt x="25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3" name="Freeform 480"/>
            <p:cNvSpPr>
              <a:spLocks/>
            </p:cNvSpPr>
            <p:nvPr/>
          </p:nvSpPr>
          <p:spPr bwMode="auto">
            <a:xfrm>
              <a:off x="1711" y="1303"/>
              <a:ext cx="36" cy="39"/>
            </a:xfrm>
            <a:custGeom>
              <a:avLst/>
              <a:gdLst>
                <a:gd name="T0" fmla="*/ 3 w 43"/>
                <a:gd name="T1" fmla="*/ 6 h 47"/>
                <a:gd name="T2" fmla="*/ 0 w 43"/>
                <a:gd name="T3" fmla="*/ 15 h 47"/>
                <a:gd name="T4" fmla="*/ 5 w 43"/>
                <a:gd name="T5" fmla="*/ 18 h 47"/>
                <a:gd name="T6" fmla="*/ 11 w 43"/>
                <a:gd name="T7" fmla="*/ 14 h 47"/>
                <a:gd name="T8" fmla="*/ 18 w 43"/>
                <a:gd name="T9" fmla="*/ 8 h 47"/>
                <a:gd name="T10" fmla="*/ 13 w 43"/>
                <a:gd name="T11" fmla="*/ 2 h 47"/>
                <a:gd name="T12" fmla="*/ 9 w 43"/>
                <a:gd name="T13" fmla="*/ 0 h 47"/>
                <a:gd name="T14" fmla="*/ 3 w 43"/>
                <a:gd name="T15" fmla="*/ 6 h 47"/>
                <a:gd name="T16" fmla="*/ 3 w 43"/>
                <a:gd name="T17" fmla="*/ 6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3" h="47">
                  <a:moveTo>
                    <a:pt x="8" y="14"/>
                  </a:moveTo>
                  <a:lnTo>
                    <a:pt x="0" y="39"/>
                  </a:lnTo>
                  <a:lnTo>
                    <a:pt x="12" y="47"/>
                  </a:lnTo>
                  <a:lnTo>
                    <a:pt x="27" y="35"/>
                  </a:lnTo>
                  <a:lnTo>
                    <a:pt x="43" y="20"/>
                  </a:lnTo>
                  <a:lnTo>
                    <a:pt x="32" y="4"/>
                  </a:lnTo>
                  <a:lnTo>
                    <a:pt x="22" y="0"/>
                  </a:lnTo>
                  <a:lnTo>
                    <a:pt x="8" y="14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4" name="Freeform 481"/>
            <p:cNvSpPr>
              <a:spLocks/>
            </p:cNvSpPr>
            <p:nvPr/>
          </p:nvSpPr>
          <p:spPr bwMode="auto">
            <a:xfrm>
              <a:off x="1711" y="1303"/>
              <a:ext cx="36" cy="39"/>
            </a:xfrm>
            <a:custGeom>
              <a:avLst/>
              <a:gdLst>
                <a:gd name="T0" fmla="*/ 3 w 43"/>
                <a:gd name="T1" fmla="*/ 6 h 47"/>
                <a:gd name="T2" fmla="*/ 0 w 43"/>
                <a:gd name="T3" fmla="*/ 15 h 47"/>
                <a:gd name="T4" fmla="*/ 5 w 43"/>
                <a:gd name="T5" fmla="*/ 18 h 47"/>
                <a:gd name="T6" fmla="*/ 11 w 43"/>
                <a:gd name="T7" fmla="*/ 14 h 47"/>
                <a:gd name="T8" fmla="*/ 18 w 43"/>
                <a:gd name="T9" fmla="*/ 8 h 47"/>
                <a:gd name="T10" fmla="*/ 13 w 43"/>
                <a:gd name="T11" fmla="*/ 2 h 47"/>
                <a:gd name="T12" fmla="*/ 9 w 43"/>
                <a:gd name="T13" fmla="*/ 0 h 47"/>
                <a:gd name="T14" fmla="*/ 3 w 43"/>
                <a:gd name="T15" fmla="*/ 6 h 47"/>
                <a:gd name="T16" fmla="*/ 3 w 43"/>
                <a:gd name="T17" fmla="*/ 6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3" h="47">
                  <a:moveTo>
                    <a:pt x="8" y="14"/>
                  </a:moveTo>
                  <a:lnTo>
                    <a:pt x="0" y="39"/>
                  </a:lnTo>
                  <a:lnTo>
                    <a:pt x="12" y="47"/>
                  </a:lnTo>
                  <a:lnTo>
                    <a:pt x="27" y="35"/>
                  </a:lnTo>
                  <a:lnTo>
                    <a:pt x="43" y="20"/>
                  </a:lnTo>
                  <a:lnTo>
                    <a:pt x="32" y="4"/>
                  </a:lnTo>
                  <a:lnTo>
                    <a:pt x="22" y="0"/>
                  </a:lnTo>
                  <a:lnTo>
                    <a:pt x="8" y="14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5" name="Freeform 482"/>
            <p:cNvSpPr>
              <a:spLocks/>
            </p:cNvSpPr>
            <p:nvPr/>
          </p:nvSpPr>
          <p:spPr bwMode="auto">
            <a:xfrm>
              <a:off x="1666" y="1282"/>
              <a:ext cx="34" cy="41"/>
            </a:xfrm>
            <a:custGeom>
              <a:avLst/>
              <a:gdLst>
                <a:gd name="T0" fmla="*/ 14 w 39"/>
                <a:gd name="T1" fmla="*/ 0 h 51"/>
                <a:gd name="T2" fmla="*/ 7 w 39"/>
                <a:gd name="T3" fmla="*/ 2 h 51"/>
                <a:gd name="T4" fmla="*/ 0 w 39"/>
                <a:gd name="T5" fmla="*/ 4 h 51"/>
                <a:gd name="T6" fmla="*/ 3 w 39"/>
                <a:gd name="T7" fmla="*/ 7 h 51"/>
                <a:gd name="T8" fmla="*/ 4 w 39"/>
                <a:gd name="T9" fmla="*/ 14 h 51"/>
                <a:gd name="T10" fmla="*/ 0 w 39"/>
                <a:gd name="T11" fmla="*/ 15 h 51"/>
                <a:gd name="T12" fmla="*/ 4 w 39"/>
                <a:gd name="T13" fmla="*/ 18 h 51"/>
                <a:gd name="T14" fmla="*/ 10 w 39"/>
                <a:gd name="T15" fmla="*/ 11 h 51"/>
                <a:gd name="T16" fmla="*/ 20 w 39"/>
                <a:gd name="T17" fmla="*/ 10 h 51"/>
                <a:gd name="T18" fmla="*/ 20 w 39"/>
                <a:gd name="T19" fmla="*/ 2 h 51"/>
                <a:gd name="T20" fmla="*/ 14 w 39"/>
                <a:gd name="T21" fmla="*/ 0 h 51"/>
                <a:gd name="T22" fmla="*/ 14 w 39"/>
                <a:gd name="T23" fmla="*/ 0 h 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51">
                  <a:moveTo>
                    <a:pt x="27" y="0"/>
                  </a:moveTo>
                  <a:lnTo>
                    <a:pt x="14" y="8"/>
                  </a:lnTo>
                  <a:lnTo>
                    <a:pt x="0" y="13"/>
                  </a:lnTo>
                  <a:lnTo>
                    <a:pt x="4" y="23"/>
                  </a:lnTo>
                  <a:lnTo>
                    <a:pt x="9" y="40"/>
                  </a:lnTo>
                  <a:lnTo>
                    <a:pt x="0" y="46"/>
                  </a:lnTo>
                  <a:lnTo>
                    <a:pt x="9" y="51"/>
                  </a:lnTo>
                  <a:lnTo>
                    <a:pt x="19" y="35"/>
                  </a:lnTo>
                  <a:lnTo>
                    <a:pt x="39" y="30"/>
                  </a:lnTo>
                  <a:lnTo>
                    <a:pt x="39" y="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6" name="Freeform 483"/>
            <p:cNvSpPr>
              <a:spLocks/>
            </p:cNvSpPr>
            <p:nvPr/>
          </p:nvSpPr>
          <p:spPr bwMode="auto">
            <a:xfrm>
              <a:off x="1666" y="1282"/>
              <a:ext cx="34" cy="41"/>
            </a:xfrm>
            <a:custGeom>
              <a:avLst/>
              <a:gdLst>
                <a:gd name="T0" fmla="*/ 14 w 39"/>
                <a:gd name="T1" fmla="*/ 0 h 51"/>
                <a:gd name="T2" fmla="*/ 7 w 39"/>
                <a:gd name="T3" fmla="*/ 2 h 51"/>
                <a:gd name="T4" fmla="*/ 0 w 39"/>
                <a:gd name="T5" fmla="*/ 4 h 51"/>
                <a:gd name="T6" fmla="*/ 3 w 39"/>
                <a:gd name="T7" fmla="*/ 7 h 51"/>
                <a:gd name="T8" fmla="*/ 4 w 39"/>
                <a:gd name="T9" fmla="*/ 14 h 51"/>
                <a:gd name="T10" fmla="*/ 0 w 39"/>
                <a:gd name="T11" fmla="*/ 15 h 51"/>
                <a:gd name="T12" fmla="*/ 4 w 39"/>
                <a:gd name="T13" fmla="*/ 18 h 51"/>
                <a:gd name="T14" fmla="*/ 10 w 39"/>
                <a:gd name="T15" fmla="*/ 11 h 51"/>
                <a:gd name="T16" fmla="*/ 20 w 39"/>
                <a:gd name="T17" fmla="*/ 10 h 51"/>
                <a:gd name="T18" fmla="*/ 20 w 39"/>
                <a:gd name="T19" fmla="*/ 2 h 51"/>
                <a:gd name="T20" fmla="*/ 14 w 39"/>
                <a:gd name="T21" fmla="*/ 0 h 51"/>
                <a:gd name="T22" fmla="*/ 14 w 39"/>
                <a:gd name="T23" fmla="*/ 0 h 5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51">
                  <a:moveTo>
                    <a:pt x="27" y="0"/>
                  </a:moveTo>
                  <a:lnTo>
                    <a:pt x="14" y="8"/>
                  </a:lnTo>
                  <a:lnTo>
                    <a:pt x="0" y="13"/>
                  </a:lnTo>
                  <a:lnTo>
                    <a:pt x="4" y="23"/>
                  </a:lnTo>
                  <a:lnTo>
                    <a:pt x="9" y="40"/>
                  </a:lnTo>
                  <a:lnTo>
                    <a:pt x="0" y="46"/>
                  </a:lnTo>
                  <a:lnTo>
                    <a:pt x="9" y="51"/>
                  </a:lnTo>
                  <a:lnTo>
                    <a:pt x="19" y="35"/>
                  </a:lnTo>
                  <a:lnTo>
                    <a:pt x="39" y="30"/>
                  </a:lnTo>
                  <a:lnTo>
                    <a:pt x="39" y="5"/>
                  </a:lnTo>
                  <a:lnTo>
                    <a:pt x="2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7" name="Freeform 484"/>
            <p:cNvSpPr>
              <a:spLocks/>
            </p:cNvSpPr>
            <p:nvPr/>
          </p:nvSpPr>
          <p:spPr bwMode="auto">
            <a:xfrm>
              <a:off x="1552" y="1361"/>
              <a:ext cx="88" cy="57"/>
            </a:xfrm>
            <a:custGeom>
              <a:avLst/>
              <a:gdLst>
                <a:gd name="T0" fmla="*/ 35 w 102"/>
                <a:gd name="T1" fmla="*/ 3 h 68"/>
                <a:gd name="T2" fmla="*/ 29 w 102"/>
                <a:gd name="T3" fmla="*/ 6 h 68"/>
                <a:gd name="T4" fmla="*/ 22 w 102"/>
                <a:gd name="T5" fmla="*/ 4 h 68"/>
                <a:gd name="T6" fmla="*/ 13 w 102"/>
                <a:gd name="T7" fmla="*/ 11 h 68"/>
                <a:gd name="T8" fmla="*/ 6 w 102"/>
                <a:gd name="T9" fmla="*/ 18 h 68"/>
                <a:gd name="T10" fmla="*/ 0 w 102"/>
                <a:gd name="T11" fmla="*/ 22 h 68"/>
                <a:gd name="T12" fmla="*/ 0 w 102"/>
                <a:gd name="T13" fmla="*/ 29 h 68"/>
                <a:gd name="T14" fmla="*/ 11 w 102"/>
                <a:gd name="T15" fmla="*/ 24 h 68"/>
                <a:gd name="T16" fmla="*/ 10 w 102"/>
                <a:gd name="T17" fmla="*/ 28 h 68"/>
                <a:gd name="T18" fmla="*/ 18 w 102"/>
                <a:gd name="T19" fmla="*/ 26 h 68"/>
                <a:gd name="T20" fmla="*/ 25 w 102"/>
                <a:gd name="T21" fmla="*/ 18 h 68"/>
                <a:gd name="T22" fmla="*/ 30 w 102"/>
                <a:gd name="T23" fmla="*/ 15 h 68"/>
                <a:gd name="T24" fmla="*/ 30 w 102"/>
                <a:gd name="T25" fmla="*/ 20 h 68"/>
                <a:gd name="T26" fmla="*/ 35 w 102"/>
                <a:gd name="T27" fmla="*/ 17 h 68"/>
                <a:gd name="T28" fmla="*/ 39 w 102"/>
                <a:gd name="T29" fmla="*/ 13 h 68"/>
                <a:gd name="T30" fmla="*/ 44 w 102"/>
                <a:gd name="T31" fmla="*/ 8 h 68"/>
                <a:gd name="T32" fmla="*/ 49 w 102"/>
                <a:gd name="T33" fmla="*/ 4 h 68"/>
                <a:gd name="T34" fmla="*/ 41 w 102"/>
                <a:gd name="T35" fmla="*/ 0 h 68"/>
                <a:gd name="T36" fmla="*/ 35 w 102"/>
                <a:gd name="T37" fmla="*/ 3 h 68"/>
                <a:gd name="T38" fmla="*/ 35 w 102"/>
                <a:gd name="T39" fmla="*/ 3 h 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2" h="68">
                  <a:moveTo>
                    <a:pt x="72" y="6"/>
                  </a:moveTo>
                  <a:lnTo>
                    <a:pt x="60" y="13"/>
                  </a:lnTo>
                  <a:lnTo>
                    <a:pt x="45" y="10"/>
                  </a:lnTo>
                  <a:lnTo>
                    <a:pt x="27" y="26"/>
                  </a:lnTo>
                  <a:lnTo>
                    <a:pt x="12" y="43"/>
                  </a:lnTo>
                  <a:lnTo>
                    <a:pt x="0" y="53"/>
                  </a:lnTo>
                  <a:lnTo>
                    <a:pt x="0" y="68"/>
                  </a:lnTo>
                  <a:lnTo>
                    <a:pt x="23" y="58"/>
                  </a:lnTo>
                  <a:lnTo>
                    <a:pt x="22" y="66"/>
                  </a:lnTo>
                  <a:lnTo>
                    <a:pt x="37" y="63"/>
                  </a:lnTo>
                  <a:lnTo>
                    <a:pt x="52" y="43"/>
                  </a:lnTo>
                  <a:lnTo>
                    <a:pt x="63" y="36"/>
                  </a:lnTo>
                  <a:lnTo>
                    <a:pt x="62" y="48"/>
                  </a:lnTo>
                  <a:lnTo>
                    <a:pt x="73" y="41"/>
                  </a:lnTo>
                  <a:lnTo>
                    <a:pt x="80" y="30"/>
                  </a:lnTo>
                  <a:lnTo>
                    <a:pt x="92" y="20"/>
                  </a:lnTo>
                  <a:lnTo>
                    <a:pt x="102" y="10"/>
                  </a:lnTo>
                  <a:lnTo>
                    <a:pt x="87" y="0"/>
                  </a:lnTo>
                  <a:lnTo>
                    <a:pt x="72" y="6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8" name="Freeform 485"/>
            <p:cNvSpPr>
              <a:spLocks/>
            </p:cNvSpPr>
            <p:nvPr/>
          </p:nvSpPr>
          <p:spPr bwMode="auto">
            <a:xfrm>
              <a:off x="1552" y="1361"/>
              <a:ext cx="88" cy="57"/>
            </a:xfrm>
            <a:custGeom>
              <a:avLst/>
              <a:gdLst>
                <a:gd name="T0" fmla="*/ 35 w 102"/>
                <a:gd name="T1" fmla="*/ 3 h 68"/>
                <a:gd name="T2" fmla="*/ 29 w 102"/>
                <a:gd name="T3" fmla="*/ 6 h 68"/>
                <a:gd name="T4" fmla="*/ 22 w 102"/>
                <a:gd name="T5" fmla="*/ 4 h 68"/>
                <a:gd name="T6" fmla="*/ 13 w 102"/>
                <a:gd name="T7" fmla="*/ 11 h 68"/>
                <a:gd name="T8" fmla="*/ 6 w 102"/>
                <a:gd name="T9" fmla="*/ 18 h 68"/>
                <a:gd name="T10" fmla="*/ 0 w 102"/>
                <a:gd name="T11" fmla="*/ 22 h 68"/>
                <a:gd name="T12" fmla="*/ 0 w 102"/>
                <a:gd name="T13" fmla="*/ 29 h 68"/>
                <a:gd name="T14" fmla="*/ 11 w 102"/>
                <a:gd name="T15" fmla="*/ 24 h 68"/>
                <a:gd name="T16" fmla="*/ 10 w 102"/>
                <a:gd name="T17" fmla="*/ 28 h 68"/>
                <a:gd name="T18" fmla="*/ 18 w 102"/>
                <a:gd name="T19" fmla="*/ 26 h 68"/>
                <a:gd name="T20" fmla="*/ 25 w 102"/>
                <a:gd name="T21" fmla="*/ 18 h 68"/>
                <a:gd name="T22" fmla="*/ 30 w 102"/>
                <a:gd name="T23" fmla="*/ 15 h 68"/>
                <a:gd name="T24" fmla="*/ 30 w 102"/>
                <a:gd name="T25" fmla="*/ 20 h 68"/>
                <a:gd name="T26" fmla="*/ 35 w 102"/>
                <a:gd name="T27" fmla="*/ 17 h 68"/>
                <a:gd name="T28" fmla="*/ 39 w 102"/>
                <a:gd name="T29" fmla="*/ 13 h 68"/>
                <a:gd name="T30" fmla="*/ 44 w 102"/>
                <a:gd name="T31" fmla="*/ 8 h 68"/>
                <a:gd name="T32" fmla="*/ 49 w 102"/>
                <a:gd name="T33" fmla="*/ 4 h 68"/>
                <a:gd name="T34" fmla="*/ 41 w 102"/>
                <a:gd name="T35" fmla="*/ 0 h 68"/>
                <a:gd name="T36" fmla="*/ 35 w 102"/>
                <a:gd name="T37" fmla="*/ 3 h 68"/>
                <a:gd name="T38" fmla="*/ 35 w 102"/>
                <a:gd name="T39" fmla="*/ 3 h 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2" h="68">
                  <a:moveTo>
                    <a:pt x="72" y="6"/>
                  </a:moveTo>
                  <a:lnTo>
                    <a:pt x="60" y="13"/>
                  </a:lnTo>
                  <a:lnTo>
                    <a:pt x="45" y="10"/>
                  </a:lnTo>
                  <a:lnTo>
                    <a:pt x="27" y="26"/>
                  </a:lnTo>
                  <a:lnTo>
                    <a:pt x="12" y="43"/>
                  </a:lnTo>
                  <a:lnTo>
                    <a:pt x="0" y="53"/>
                  </a:lnTo>
                  <a:lnTo>
                    <a:pt x="0" y="68"/>
                  </a:lnTo>
                  <a:lnTo>
                    <a:pt x="23" y="58"/>
                  </a:lnTo>
                  <a:lnTo>
                    <a:pt x="22" y="66"/>
                  </a:lnTo>
                  <a:lnTo>
                    <a:pt x="37" y="63"/>
                  </a:lnTo>
                  <a:lnTo>
                    <a:pt x="52" y="43"/>
                  </a:lnTo>
                  <a:lnTo>
                    <a:pt x="63" y="36"/>
                  </a:lnTo>
                  <a:lnTo>
                    <a:pt x="62" y="48"/>
                  </a:lnTo>
                  <a:lnTo>
                    <a:pt x="73" y="41"/>
                  </a:lnTo>
                  <a:lnTo>
                    <a:pt x="80" y="30"/>
                  </a:lnTo>
                  <a:lnTo>
                    <a:pt x="92" y="20"/>
                  </a:lnTo>
                  <a:lnTo>
                    <a:pt x="102" y="10"/>
                  </a:lnTo>
                  <a:lnTo>
                    <a:pt x="87" y="0"/>
                  </a:lnTo>
                  <a:lnTo>
                    <a:pt x="72" y="6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9" name="Freeform 486"/>
            <p:cNvSpPr>
              <a:spLocks/>
            </p:cNvSpPr>
            <p:nvPr/>
          </p:nvSpPr>
          <p:spPr bwMode="auto">
            <a:xfrm>
              <a:off x="1595" y="1433"/>
              <a:ext cx="96" cy="60"/>
            </a:xfrm>
            <a:custGeom>
              <a:avLst/>
              <a:gdLst>
                <a:gd name="T0" fmla="*/ 50 w 110"/>
                <a:gd name="T1" fmla="*/ 0 h 72"/>
                <a:gd name="T2" fmla="*/ 42 w 110"/>
                <a:gd name="T3" fmla="*/ 3 h 72"/>
                <a:gd name="T4" fmla="*/ 39 w 110"/>
                <a:gd name="T5" fmla="*/ 10 h 72"/>
                <a:gd name="T6" fmla="*/ 35 w 110"/>
                <a:gd name="T7" fmla="*/ 11 h 72"/>
                <a:gd name="T8" fmla="*/ 30 w 110"/>
                <a:gd name="T9" fmla="*/ 10 h 72"/>
                <a:gd name="T10" fmla="*/ 25 w 110"/>
                <a:gd name="T11" fmla="*/ 9 h 72"/>
                <a:gd name="T12" fmla="*/ 21 w 110"/>
                <a:gd name="T13" fmla="*/ 9 h 72"/>
                <a:gd name="T14" fmla="*/ 21 w 110"/>
                <a:gd name="T15" fmla="*/ 2 h 72"/>
                <a:gd name="T16" fmla="*/ 15 w 110"/>
                <a:gd name="T17" fmla="*/ 0 h 72"/>
                <a:gd name="T18" fmla="*/ 6 w 110"/>
                <a:gd name="T19" fmla="*/ 3 h 72"/>
                <a:gd name="T20" fmla="*/ 9 w 110"/>
                <a:gd name="T21" fmla="*/ 8 h 72"/>
                <a:gd name="T22" fmla="*/ 9 w 110"/>
                <a:gd name="T23" fmla="*/ 10 h 72"/>
                <a:gd name="T24" fmla="*/ 2 w 110"/>
                <a:gd name="T25" fmla="*/ 11 h 72"/>
                <a:gd name="T26" fmla="*/ 2 w 110"/>
                <a:gd name="T27" fmla="*/ 15 h 72"/>
                <a:gd name="T28" fmla="*/ 9 w 110"/>
                <a:gd name="T29" fmla="*/ 18 h 72"/>
                <a:gd name="T30" fmla="*/ 9 w 110"/>
                <a:gd name="T31" fmla="*/ 21 h 72"/>
                <a:gd name="T32" fmla="*/ 0 w 110"/>
                <a:gd name="T33" fmla="*/ 24 h 72"/>
                <a:gd name="T34" fmla="*/ 3 w 110"/>
                <a:gd name="T35" fmla="*/ 29 h 72"/>
                <a:gd name="T36" fmla="*/ 19 w 110"/>
                <a:gd name="T37" fmla="*/ 29 h 72"/>
                <a:gd name="T38" fmla="*/ 26 w 110"/>
                <a:gd name="T39" fmla="*/ 25 h 72"/>
                <a:gd name="T40" fmla="*/ 35 w 110"/>
                <a:gd name="T41" fmla="*/ 28 h 72"/>
                <a:gd name="T42" fmla="*/ 42 w 110"/>
                <a:gd name="T43" fmla="*/ 28 h 72"/>
                <a:gd name="T44" fmla="*/ 45 w 110"/>
                <a:gd name="T45" fmla="*/ 23 h 72"/>
                <a:gd name="T46" fmla="*/ 45 w 110"/>
                <a:gd name="T47" fmla="*/ 16 h 72"/>
                <a:gd name="T48" fmla="*/ 51 w 110"/>
                <a:gd name="T49" fmla="*/ 11 h 72"/>
                <a:gd name="T50" fmla="*/ 56 w 110"/>
                <a:gd name="T51" fmla="*/ 3 h 72"/>
                <a:gd name="T52" fmla="*/ 51 w 110"/>
                <a:gd name="T53" fmla="*/ 0 h 72"/>
                <a:gd name="T54" fmla="*/ 50 w 110"/>
                <a:gd name="T55" fmla="*/ 0 h 72"/>
                <a:gd name="T56" fmla="*/ 50 w 110"/>
                <a:gd name="T57" fmla="*/ 0 h 7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0" h="72">
                  <a:moveTo>
                    <a:pt x="98" y="0"/>
                  </a:moveTo>
                  <a:lnTo>
                    <a:pt x="82" y="4"/>
                  </a:lnTo>
                  <a:lnTo>
                    <a:pt x="78" y="24"/>
                  </a:lnTo>
                  <a:lnTo>
                    <a:pt x="70" y="27"/>
                  </a:lnTo>
                  <a:lnTo>
                    <a:pt x="60" y="24"/>
                  </a:lnTo>
                  <a:lnTo>
                    <a:pt x="50" y="22"/>
                  </a:lnTo>
                  <a:lnTo>
                    <a:pt x="42" y="22"/>
                  </a:lnTo>
                  <a:lnTo>
                    <a:pt x="40" y="2"/>
                  </a:lnTo>
                  <a:lnTo>
                    <a:pt x="30" y="0"/>
                  </a:lnTo>
                  <a:lnTo>
                    <a:pt x="12" y="5"/>
                  </a:lnTo>
                  <a:lnTo>
                    <a:pt x="18" y="20"/>
                  </a:lnTo>
                  <a:lnTo>
                    <a:pt x="17" y="24"/>
                  </a:lnTo>
                  <a:lnTo>
                    <a:pt x="2" y="27"/>
                  </a:lnTo>
                  <a:lnTo>
                    <a:pt x="2" y="37"/>
                  </a:lnTo>
                  <a:lnTo>
                    <a:pt x="17" y="44"/>
                  </a:lnTo>
                  <a:lnTo>
                    <a:pt x="18" y="52"/>
                  </a:lnTo>
                  <a:lnTo>
                    <a:pt x="0" y="60"/>
                  </a:lnTo>
                  <a:lnTo>
                    <a:pt x="7" y="72"/>
                  </a:lnTo>
                  <a:lnTo>
                    <a:pt x="38" y="72"/>
                  </a:lnTo>
                  <a:lnTo>
                    <a:pt x="52" y="62"/>
                  </a:lnTo>
                  <a:lnTo>
                    <a:pt x="70" y="69"/>
                  </a:lnTo>
                  <a:lnTo>
                    <a:pt x="82" y="69"/>
                  </a:lnTo>
                  <a:lnTo>
                    <a:pt x="90" y="55"/>
                  </a:lnTo>
                  <a:lnTo>
                    <a:pt x="87" y="40"/>
                  </a:lnTo>
                  <a:lnTo>
                    <a:pt x="100" y="27"/>
                  </a:lnTo>
                  <a:lnTo>
                    <a:pt x="110" y="5"/>
                  </a:lnTo>
                  <a:lnTo>
                    <a:pt x="100" y="0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0" name="Freeform 487"/>
            <p:cNvSpPr>
              <a:spLocks/>
            </p:cNvSpPr>
            <p:nvPr/>
          </p:nvSpPr>
          <p:spPr bwMode="auto">
            <a:xfrm>
              <a:off x="1595" y="1433"/>
              <a:ext cx="96" cy="60"/>
            </a:xfrm>
            <a:custGeom>
              <a:avLst/>
              <a:gdLst>
                <a:gd name="T0" fmla="*/ 50 w 110"/>
                <a:gd name="T1" fmla="*/ 0 h 72"/>
                <a:gd name="T2" fmla="*/ 42 w 110"/>
                <a:gd name="T3" fmla="*/ 3 h 72"/>
                <a:gd name="T4" fmla="*/ 39 w 110"/>
                <a:gd name="T5" fmla="*/ 10 h 72"/>
                <a:gd name="T6" fmla="*/ 35 w 110"/>
                <a:gd name="T7" fmla="*/ 11 h 72"/>
                <a:gd name="T8" fmla="*/ 30 w 110"/>
                <a:gd name="T9" fmla="*/ 10 h 72"/>
                <a:gd name="T10" fmla="*/ 25 w 110"/>
                <a:gd name="T11" fmla="*/ 9 h 72"/>
                <a:gd name="T12" fmla="*/ 21 w 110"/>
                <a:gd name="T13" fmla="*/ 9 h 72"/>
                <a:gd name="T14" fmla="*/ 21 w 110"/>
                <a:gd name="T15" fmla="*/ 2 h 72"/>
                <a:gd name="T16" fmla="*/ 15 w 110"/>
                <a:gd name="T17" fmla="*/ 0 h 72"/>
                <a:gd name="T18" fmla="*/ 6 w 110"/>
                <a:gd name="T19" fmla="*/ 3 h 72"/>
                <a:gd name="T20" fmla="*/ 9 w 110"/>
                <a:gd name="T21" fmla="*/ 8 h 72"/>
                <a:gd name="T22" fmla="*/ 9 w 110"/>
                <a:gd name="T23" fmla="*/ 10 h 72"/>
                <a:gd name="T24" fmla="*/ 2 w 110"/>
                <a:gd name="T25" fmla="*/ 11 h 72"/>
                <a:gd name="T26" fmla="*/ 2 w 110"/>
                <a:gd name="T27" fmla="*/ 15 h 72"/>
                <a:gd name="T28" fmla="*/ 9 w 110"/>
                <a:gd name="T29" fmla="*/ 18 h 72"/>
                <a:gd name="T30" fmla="*/ 9 w 110"/>
                <a:gd name="T31" fmla="*/ 21 h 72"/>
                <a:gd name="T32" fmla="*/ 0 w 110"/>
                <a:gd name="T33" fmla="*/ 24 h 72"/>
                <a:gd name="T34" fmla="*/ 3 w 110"/>
                <a:gd name="T35" fmla="*/ 29 h 72"/>
                <a:gd name="T36" fmla="*/ 19 w 110"/>
                <a:gd name="T37" fmla="*/ 29 h 72"/>
                <a:gd name="T38" fmla="*/ 26 w 110"/>
                <a:gd name="T39" fmla="*/ 25 h 72"/>
                <a:gd name="T40" fmla="*/ 35 w 110"/>
                <a:gd name="T41" fmla="*/ 28 h 72"/>
                <a:gd name="T42" fmla="*/ 42 w 110"/>
                <a:gd name="T43" fmla="*/ 28 h 72"/>
                <a:gd name="T44" fmla="*/ 45 w 110"/>
                <a:gd name="T45" fmla="*/ 23 h 72"/>
                <a:gd name="T46" fmla="*/ 45 w 110"/>
                <a:gd name="T47" fmla="*/ 16 h 72"/>
                <a:gd name="T48" fmla="*/ 51 w 110"/>
                <a:gd name="T49" fmla="*/ 11 h 72"/>
                <a:gd name="T50" fmla="*/ 56 w 110"/>
                <a:gd name="T51" fmla="*/ 3 h 72"/>
                <a:gd name="T52" fmla="*/ 51 w 110"/>
                <a:gd name="T53" fmla="*/ 0 h 72"/>
                <a:gd name="T54" fmla="*/ 50 w 110"/>
                <a:gd name="T55" fmla="*/ 0 h 72"/>
                <a:gd name="T56" fmla="*/ 50 w 110"/>
                <a:gd name="T57" fmla="*/ 0 h 7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10" h="72">
                  <a:moveTo>
                    <a:pt x="98" y="0"/>
                  </a:moveTo>
                  <a:lnTo>
                    <a:pt x="82" y="4"/>
                  </a:lnTo>
                  <a:lnTo>
                    <a:pt x="78" y="24"/>
                  </a:lnTo>
                  <a:lnTo>
                    <a:pt x="70" y="27"/>
                  </a:lnTo>
                  <a:lnTo>
                    <a:pt x="60" y="24"/>
                  </a:lnTo>
                  <a:lnTo>
                    <a:pt x="50" y="22"/>
                  </a:lnTo>
                  <a:lnTo>
                    <a:pt x="42" y="22"/>
                  </a:lnTo>
                  <a:lnTo>
                    <a:pt x="40" y="2"/>
                  </a:lnTo>
                  <a:lnTo>
                    <a:pt x="30" y="0"/>
                  </a:lnTo>
                  <a:lnTo>
                    <a:pt x="12" y="5"/>
                  </a:lnTo>
                  <a:lnTo>
                    <a:pt x="18" y="20"/>
                  </a:lnTo>
                  <a:lnTo>
                    <a:pt x="17" y="24"/>
                  </a:lnTo>
                  <a:lnTo>
                    <a:pt x="2" y="27"/>
                  </a:lnTo>
                  <a:lnTo>
                    <a:pt x="2" y="37"/>
                  </a:lnTo>
                  <a:lnTo>
                    <a:pt x="17" y="44"/>
                  </a:lnTo>
                  <a:lnTo>
                    <a:pt x="18" y="52"/>
                  </a:lnTo>
                  <a:lnTo>
                    <a:pt x="0" y="60"/>
                  </a:lnTo>
                  <a:lnTo>
                    <a:pt x="7" y="72"/>
                  </a:lnTo>
                  <a:lnTo>
                    <a:pt x="38" y="72"/>
                  </a:lnTo>
                  <a:lnTo>
                    <a:pt x="52" y="62"/>
                  </a:lnTo>
                  <a:lnTo>
                    <a:pt x="70" y="69"/>
                  </a:lnTo>
                  <a:lnTo>
                    <a:pt x="82" y="69"/>
                  </a:lnTo>
                  <a:lnTo>
                    <a:pt x="90" y="55"/>
                  </a:lnTo>
                  <a:lnTo>
                    <a:pt x="87" y="40"/>
                  </a:lnTo>
                  <a:lnTo>
                    <a:pt x="100" y="27"/>
                  </a:lnTo>
                  <a:lnTo>
                    <a:pt x="110" y="5"/>
                  </a:lnTo>
                  <a:lnTo>
                    <a:pt x="100" y="0"/>
                  </a:lnTo>
                  <a:lnTo>
                    <a:pt x="98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1" name="Freeform 488"/>
            <p:cNvSpPr>
              <a:spLocks/>
            </p:cNvSpPr>
            <p:nvPr/>
          </p:nvSpPr>
          <p:spPr bwMode="auto">
            <a:xfrm>
              <a:off x="1640" y="1401"/>
              <a:ext cx="20" cy="10"/>
            </a:xfrm>
            <a:custGeom>
              <a:avLst/>
              <a:gdLst>
                <a:gd name="T0" fmla="*/ 5 w 22"/>
                <a:gd name="T1" fmla="*/ 0 h 12"/>
                <a:gd name="T2" fmla="*/ 4 w 22"/>
                <a:gd name="T3" fmla="*/ 0 h 12"/>
                <a:gd name="T4" fmla="*/ 0 w 22"/>
                <a:gd name="T5" fmla="*/ 4 h 12"/>
                <a:gd name="T6" fmla="*/ 9 w 22"/>
                <a:gd name="T7" fmla="*/ 5 h 12"/>
                <a:gd name="T8" fmla="*/ 14 w 22"/>
                <a:gd name="T9" fmla="*/ 2 h 12"/>
                <a:gd name="T10" fmla="*/ 5 w 22"/>
                <a:gd name="T11" fmla="*/ 0 h 12"/>
                <a:gd name="T12" fmla="*/ 5 w 22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12">
                  <a:moveTo>
                    <a:pt x="7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14" y="12"/>
                  </a:lnTo>
                  <a:lnTo>
                    <a:pt x="22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2" name="Freeform 489"/>
            <p:cNvSpPr>
              <a:spLocks/>
            </p:cNvSpPr>
            <p:nvPr/>
          </p:nvSpPr>
          <p:spPr bwMode="auto">
            <a:xfrm>
              <a:off x="1640" y="1401"/>
              <a:ext cx="20" cy="10"/>
            </a:xfrm>
            <a:custGeom>
              <a:avLst/>
              <a:gdLst>
                <a:gd name="T0" fmla="*/ 5 w 22"/>
                <a:gd name="T1" fmla="*/ 0 h 12"/>
                <a:gd name="T2" fmla="*/ 4 w 22"/>
                <a:gd name="T3" fmla="*/ 0 h 12"/>
                <a:gd name="T4" fmla="*/ 0 w 22"/>
                <a:gd name="T5" fmla="*/ 4 h 12"/>
                <a:gd name="T6" fmla="*/ 9 w 22"/>
                <a:gd name="T7" fmla="*/ 5 h 12"/>
                <a:gd name="T8" fmla="*/ 14 w 22"/>
                <a:gd name="T9" fmla="*/ 2 h 12"/>
                <a:gd name="T10" fmla="*/ 5 w 22"/>
                <a:gd name="T11" fmla="*/ 0 h 12"/>
                <a:gd name="T12" fmla="*/ 5 w 22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2" h="12">
                  <a:moveTo>
                    <a:pt x="7" y="0"/>
                  </a:moveTo>
                  <a:lnTo>
                    <a:pt x="4" y="0"/>
                  </a:lnTo>
                  <a:lnTo>
                    <a:pt x="0" y="10"/>
                  </a:lnTo>
                  <a:lnTo>
                    <a:pt x="14" y="12"/>
                  </a:lnTo>
                  <a:lnTo>
                    <a:pt x="22" y="2"/>
                  </a:lnTo>
                  <a:lnTo>
                    <a:pt x="7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3" name="Freeform 490"/>
            <p:cNvSpPr>
              <a:spLocks/>
            </p:cNvSpPr>
            <p:nvPr/>
          </p:nvSpPr>
          <p:spPr bwMode="auto">
            <a:xfrm>
              <a:off x="3979" y="2811"/>
              <a:ext cx="15" cy="7"/>
            </a:xfrm>
            <a:custGeom>
              <a:avLst/>
              <a:gdLst>
                <a:gd name="T0" fmla="*/ 0 w 18"/>
                <a:gd name="T1" fmla="*/ 0 h 9"/>
                <a:gd name="T2" fmla="*/ 3 w 18"/>
                <a:gd name="T3" fmla="*/ 2 h 9"/>
                <a:gd name="T4" fmla="*/ 4 w 18"/>
                <a:gd name="T5" fmla="*/ 2 h 9"/>
                <a:gd name="T6" fmla="*/ 8 w 18"/>
                <a:gd name="T7" fmla="*/ 2 h 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9">
                  <a:moveTo>
                    <a:pt x="0" y="0"/>
                  </a:moveTo>
                  <a:lnTo>
                    <a:pt x="5" y="9"/>
                  </a:lnTo>
                  <a:lnTo>
                    <a:pt x="10" y="9"/>
                  </a:lnTo>
                  <a:lnTo>
                    <a:pt x="18" y="9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4" name="Freeform 491"/>
            <p:cNvSpPr>
              <a:spLocks/>
            </p:cNvSpPr>
            <p:nvPr/>
          </p:nvSpPr>
          <p:spPr bwMode="auto">
            <a:xfrm>
              <a:off x="3979" y="2814"/>
              <a:ext cx="54" cy="80"/>
            </a:xfrm>
            <a:custGeom>
              <a:avLst/>
              <a:gdLst>
                <a:gd name="T0" fmla="*/ 0 w 62"/>
                <a:gd name="T1" fmla="*/ 0 h 96"/>
                <a:gd name="T2" fmla="*/ 3 w 62"/>
                <a:gd name="T3" fmla="*/ 13 h 96"/>
                <a:gd name="T4" fmla="*/ 9 w 62"/>
                <a:gd name="T5" fmla="*/ 27 h 96"/>
                <a:gd name="T6" fmla="*/ 31 w 62"/>
                <a:gd name="T7" fmla="*/ 39 h 96"/>
                <a:gd name="T8" fmla="*/ 31 w 62"/>
                <a:gd name="T9" fmla="*/ 28 h 96"/>
                <a:gd name="T10" fmla="*/ 24 w 62"/>
                <a:gd name="T11" fmla="*/ 24 h 96"/>
                <a:gd name="T12" fmla="*/ 25 w 62"/>
                <a:gd name="T13" fmla="*/ 11 h 96"/>
                <a:gd name="T14" fmla="*/ 19 w 62"/>
                <a:gd name="T15" fmla="*/ 3 h 96"/>
                <a:gd name="T16" fmla="*/ 9 w 62"/>
                <a:gd name="T17" fmla="*/ 3 h 96"/>
                <a:gd name="T18" fmla="*/ 2 w 62"/>
                <a:gd name="T19" fmla="*/ 1 h 96"/>
                <a:gd name="T20" fmla="*/ 0 w 62"/>
                <a:gd name="T21" fmla="*/ 0 h 96"/>
                <a:gd name="T22" fmla="*/ 0 w 6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2" h="96">
                  <a:moveTo>
                    <a:pt x="0" y="0"/>
                  </a:moveTo>
                  <a:lnTo>
                    <a:pt x="5" y="30"/>
                  </a:lnTo>
                  <a:lnTo>
                    <a:pt x="18" y="66"/>
                  </a:lnTo>
                  <a:lnTo>
                    <a:pt x="62" y="96"/>
                  </a:lnTo>
                  <a:lnTo>
                    <a:pt x="62" y="70"/>
                  </a:lnTo>
                  <a:lnTo>
                    <a:pt x="48" y="60"/>
                  </a:lnTo>
                  <a:lnTo>
                    <a:pt x="50" y="25"/>
                  </a:lnTo>
                  <a:lnTo>
                    <a:pt x="38" y="5"/>
                  </a:lnTo>
                  <a:lnTo>
                    <a:pt x="18" y="5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5" name="Freeform 492"/>
            <p:cNvSpPr>
              <a:spLocks/>
            </p:cNvSpPr>
            <p:nvPr/>
          </p:nvSpPr>
          <p:spPr bwMode="auto">
            <a:xfrm>
              <a:off x="3979" y="2814"/>
              <a:ext cx="54" cy="80"/>
            </a:xfrm>
            <a:custGeom>
              <a:avLst/>
              <a:gdLst>
                <a:gd name="T0" fmla="*/ 0 w 62"/>
                <a:gd name="T1" fmla="*/ 0 h 96"/>
                <a:gd name="T2" fmla="*/ 3 w 62"/>
                <a:gd name="T3" fmla="*/ 13 h 96"/>
                <a:gd name="T4" fmla="*/ 9 w 62"/>
                <a:gd name="T5" fmla="*/ 27 h 96"/>
                <a:gd name="T6" fmla="*/ 31 w 62"/>
                <a:gd name="T7" fmla="*/ 39 h 96"/>
                <a:gd name="T8" fmla="*/ 31 w 62"/>
                <a:gd name="T9" fmla="*/ 28 h 96"/>
                <a:gd name="T10" fmla="*/ 24 w 62"/>
                <a:gd name="T11" fmla="*/ 24 h 96"/>
                <a:gd name="T12" fmla="*/ 25 w 62"/>
                <a:gd name="T13" fmla="*/ 11 h 96"/>
                <a:gd name="T14" fmla="*/ 19 w 62"/>
                <a:gd name="T15" fmla="*/ 3 h 96"/>
                <a:gd name="T16" fmla="*/ 9 w 62"/>
                <a:gd name="T17" fmla="*/ 3 h 96"/>
                <a:gd name="T18" fmla="*/ 2 w 62"/>
                <a:gd name="T19" fmla="*/ 1 h 96"/>
                <a:gd name="T20" fmla="*/ 0 w 62"/>
                <a:gd name="T21" fmla="*/ 0 h 96"/>
                <a:gd name="T22" fmla="*/ 0 w 6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2" h="96">
                  <a:moveTo>
                    <a:pt x="0" y="0"/>
                  </a:moveTo>
                  <a:lnTo>
                    <a:pt x="5" y="30"/>
                  </a:lnTo>
                  <a:lnTo>
                    <a:pt x="18" y="66"/>
                  </a:lnTo>
                  <a:lnTo>
                    <a:pt x="62" y="96"/>
                  </a:lnTo>
                  <a:lnTo>
                    <a:pt x="62" y="70"/>
                  </a:lnTo>
                  <a:lnTo>
                    <a:pt x="48" y="60"/>
                  </a:lnTo>
                  <a:lnTo>
                    <a:pt x="50" y="25"/>
                  </a:lnTo>
                  <a:lnTo>
                    <a:pt x="38" y="5"/>
                  </a:lnTo>
                  <a:lnTo>
                    <a:pt x="18" y="5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6" name="Freeform 493"/>
            <p:cNvSpPr>
              <a:spLocks/>
            </p:cNvSpPr>
            <p:nvPr/>
          </p:nvSpPr>
          <p:spPr bwMode="auto">
            <a:xfrm>
              <a:off x="4120" y="2817"/>
              <a:ext cx="106" cy="92"/>
            </a:xfrm>
            <a:custGeom>
              <a:avLst/>
              <a:gdLst>
                <a:gd name="T0" fmla="*/ 0 w 122"/>
                <a:gd name="T1" fmla="*/ 37 h 112"/>
                <a:gd name="T2" fmla="*/ 3 w 122"/>
                <a:gd name="T3" fmla="*/ 39 h 112"/>
                <a:gd name="T4" fmla="*/ 9 w 122"/>
                <a:gd name="T5" fmla="*/ 42 h 112"/>
                <a:gd name="T6" fmla="*/ 15 w 122"/>
                <a:gd name="T7" fmla="*/ 41 h 112"/>
                <a:gd name="T8" fmla="*/ 18 w 122"/>
                <a:gd name="T9" fmla="*/ 39 h 112"/>
                <a:gd name="T10" fmla="*/ 24 w 122"/>
                <a:gd name="T11" fmla="*/ 35 h 112"/>
                <a:gd name="T12" fmla="*/ 29 w 122"/>
                <a:gd name="T13" fmla="*/ 32 h 112"/>
                <a:gd name="T14" fmla="*/ 34 w 122"/>
                <a:gd name="T15" fmla="*/ 29 h 112"/>
                <a:gd name="T16" fmla="*/ 37 w 122"/>
                <a:gd name="T17" fmla="*/ 22 h 112"/>
                <a:gd name="T18" fmla="*/ 39 w 122"/>
                <a:gd name="T19" fmla="*/ 21 h 112"/>
                <a:gd name="T20" fmla="*/ 43 w 122"/>
                <a:gd name="T21" fmla="*/ 17 h 112"/>
                <a:gd name="T22" fmla="*/ 51 w 122"/>
                <a:gd name="T23" fmla="*/ 14 h 112"/>
                <a:gd name="T24" fmla="*/ 56 w 122"/>
                <a:gd name="T25" fmla="*/ 14 h 112"/>
                <a:gd name="T26" fmla="*/ 61 w 122"/>
                <a:gd name="T27" fmla="*/ 12 h 112"/>
                <a:gd name="T28" fmla="*/ 59 w 122"/>
                <a:gd name="T29" fmla="*/ 10 h 112"/>
                <a:gd name="T30" fmla="*/ 55 w 122"/>
                <a:gd name="T31" fmla="*/ 2 h 112"/>
                <a:gd name="T32" fmla="*/ 50 w 122"/>
                <a:gd name="T33" fmla="*/ 0 h 112"/>
                <a:gd name="T34" fmla="*/ 47 w 122"/>
                <a:gd name="T35" fmla="*/ 2 h 112"/>
                <a:gd name="T36" fmla="*/ 41 w 122"/>
                <a:gd name="T37" fmla="*/ 6 h 112"/>
                <a:gd name="T38" fmla="*/ 40 w 122"/>
                <a:gd name="T39" fmla="*/ 12 h 112"/>
                <a:gd name="T40" fmla="*/ 36 w 122"/>
                <a:gd name="T41" fmla="*/ 16 h 112"/>
                <a:gd name="T42" fmla="*/ 37 w 122"/>
                <a:gd name="T43" fmla="*/ 19 h 112"/>
                <a:gd name="T44" fmla="*/ 36 w 122"/>
                <a:gd name="T45" fmla="*/ 22 h 112"/>
                <a:gd name="T46" fmla="*/ 32 w 122"/>
                <a:gd name="T47" fmla="*/ 22 h 112"/>
                <a:gd name="T48" fmla="*/ 29 w 122"/>
                <a:gd name="T49" fmla="*/ 21 h 112"/>
                <a:gd name="T50" fmla="*/ 22 w 122"/>
                <a:gd name="T51" fmla="*/ 26 h 112"/>
                <a:gd name="T52" fmla="*/ 11 w 122"/>
                <a:gd name="T53" fmla="*/ 31 h 112"/>
                <a:gd name="T54" fmla="*/ 10 w 122"/>
                <a:gd name="T55" fmla="*/ 36 h 112"/>
                <a:gd name="T56" fmla="*/ 5 w 122"/>
                <a:gd name="T57" fmla="*/ 37 h 112"/>
                <a:gd name="T58" fmla="*/ 3 w 122"/>
                <a:gd name="T59" fmla="*/ 37 h 112"/>
                <a:gd name="T60" fmla="*/ 0 w 122"/>
                <a:gd name="T61" fmla="*/ 37 h 112"/>
                <a:gd name="T62" fmla="*/ 0 w 122"/>
                <a:gd name="T63" fmla="*/ 3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2" h="112">
                  <a:moveTo>
                    <a:pt x="0" y="100"/>
                  </a:moveTo>
                  <a:lnTo>
                    <a:pt x="7" y="105"/>
                  </a:lnTo>
                  <a:lnTo>
                    <a:pt x="18" y="112"/>
                  </a:lnTo>
                  <a:lnTo>
                    <a:pt x="30" y="110"/>
                  </a:lnTo>
                  <a:lnTo>
                    <a:pt x="37" y="103"/>
                  </a:lnTo>
                  <a:lnTo>
                    <a:pt x="50" y="93"/>
                  </a:lnTo>
                  <a:lnTo>
                    <a:pt x="59" y="88"/>
                  </a:lnTo>
                  <a:lnTo>
                    <a:pt x="69" y="77"/>
                  </a:lnTo>
                  <a:lnTo>
                    <a:pt x="75" y="60"/>
                  </a:lnTo>
                  <a:lnTo>
                    <a:pt x="79" y="55"/>
                  </a:lnTo>
                  <a:lnTo>
                    <a:pt x="89" y="45"/>
                  </a:lnTo>
                  <a:lnTo>
                    <a:pt x="104" y="38"/>
                  </a:lnTo>
                  <a:lnTo>
                    <a:pt x="114" y="38"/>
                  </a:lnTo>
                  <a:lnTo>
                    <a:pt x="122" y="33"/>
                  </a:lnTo>
                  <a:lnTo>
                    <a:pt x="120" y="27"/>
                  </a:lnTo>
                  <a:lnTo>
                    <a:pt x="110" y="7"/>
                  </a:lnTo>
                  <a:lnTo>
                    <a:pt x="102" y="0"/>
                  </a:lnTo>
                  <a:lnTo>
                    <a:pt x="94" y="2"/>
                  </a:lnTo>
                  <a:lnTo>
                    <a:pt x="82" y="15"/>
                  </a:lnTo>
                  <a:lnTo>
                    <a:pt x="80" y="33"/>
                  </a:lnTo>
                  <a:lnTo>
                    <a:pt x="72" y="42"/>
                  </a:lnTo>
                  <a:lnTo>
                    <a:pt x="75" y="50"/>
                  </a:lnTo>
                  <a:lnTo>
                    <a:pt x="72" y="60"/>
                  </a:lnTo>
                  <a:lnTo>
                    <a:pt x="65" y="60"/>
                  </a:lnTo>
                  <a:lnTo>
                    <a:pt x="59" y="53"/>
                  </a:lnTo>
                  <a:lnTo>
                    <a:pt x="44" y="70"/>
                  </a:lnTo>
                  <a:lnTo>
                    <a:pt x="23" y="83"/>
                  </a:lnTo>
                  <a:lnTo>
                    <a:pt x="20" y="95"/>
                  </a:lnTo>
                  <a:lnTo>
                    <a:pt x="10" y="98"/>
                  </a:lnTo>
                  <a:lnTo>
                    <a:pt x="3" y="98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7" name="Freeform 494"/>
            <p:cNvSpPr>
              <a:spLocks/>
            </p:cNvSpPr>
            <p:nvPr/>
          </p:nvSpPr>
          <p:spPr bwMode="auto">
            <a:xfrm>
              <a:off x="4120" y="2817"/>
              <a:ext cx="106" cy="92"/>
            </a:xfrm>
            <a:custGeom>
              <a:avLst/>
              <a:gdLst>
                <a:gd name="T0" fmla="*/ 0 w 122"/>
                <a:gd name="T1" fmla="*/ 37 h 112"/>
                <a:gd name="T2" fmla="*/ 3 w 122"/>
                <a:gd name="T3" fmla="*/ 39 h 112"/>
                <a:gd name="T4" fmla="*/ 9 w 122"/>
                <a:gd name="T5" fmla="*/ 42 h 112"/>
                <a:gd name="T6" fmla="*/ 15 w 122"/>
                <a:gd name="T7" fmla="*/ 41 h 112"/>
                <a:gd name="T8" fmla="*/ 18 w 122"/>
                <a:gd name="T9" fmla="*/ 39 h 112"/>
                <a:gd name="T10" fmla="*/ 24 w 122"/>
                <a:gd name="T11" fmla="*/ 35 h 112"/>
                <a:gd name="T12" fmla="*/ 29 w 122"/>
                <a:gd name="T13" fmla="*/ 32 h 112"/>
                <a:gd name="T14" fmla="*/ 34 w 122"/>
                <a:gd name="T15" fmla="*/ 29 h 112"/>
                <a:gd name="T16" fmla="*/ 37 w 122"/>
                <a:gd name="T17" fmla="*/ 22 h 112"/>
                <a:gd name="T18" fmla="*/ 39 w 122"/>
                <a:gd name="T19" fmla="*/ 21 h 112"/>
                <a:gd name="T20" fmla="*/ 43 w 122"/>
                <a:gd name="T21" fmla="*/ 17 h 112"/>
                <a:gd name="T22" fmla="*/ 51 w 122"/>
                <a:gd name="T23" fmla="*/ 14 h 112"/>
                <a:gd name="T24" fmla="*/ 56 w 122"/>
                <a:gd name="T25" fmla="*/ 14 h 112"/>
                <a:gd name="T26" fmla="*/ 61 w 122"/>
                <a:gd name="T27" fmla="*/ 12 h 112"/>
                <a:gd name="T28" fmla="*/ 59 w 122"/>
                <a:gd name="T29" fmla="*/ 10 h 112"/>
                <a:gd name="T30" fmla="*/ 55 w 122"/>
                <a:gd name="T31" fmla="*/ 2 h 112"/>
                <a:gd name="T32" fmla="*/ 50 w 122"/>
                <a:gd name="T33" fmla="*/ 0 h 112"/>
                <a:gd name="T34" fmla="*/ 47 w 122"/>
                <a:gd name="T35" fmla="*/ 2 h 112"/>
                <a:gd name="T36" fmla="*/ 41 w 122"/>
                <a:gd name="T37" fmla="*/ 6 h 112"/>
                <a:gd name="T38" fmla="*/ 40 w 122"/>
                <a:gd name="T39" fmla="*/ 12 h 112"/>
                <a:gd name="T40" fmla="*/ 36 w 122"/>
                <a:gd name="T41" fmla="*/ 16 h 112"/>
                <a:gd name="T42" fmla="*/ 37 w 122"/>
                <a:gd name="T43" fmla="*/ 19 h 112"/>
                <a:gd name="T44" fmla="*/ 36 w 122"/>
                <a:gd name="T45" fmla="*/ 22 h 112"/>
                <a:gd name="T46" fmla="*/ 32 w 122"/>
                <a:gd name="T47" fmla="*/ 22 h 112"/>
                <a:gd name="T48" fmla="*/ 29 w 122"/>
                <a:gd name="T49" fmla="*/ 21 h 112"/>
                <a:gd name="T50" fmla="*/ 22 w 122"/>
                <a:gd name="T51" fmla="*/ 26 h 112"/>
                <a:gd name="T52" fmla="*/ 11 w 122"/>
                <a:gd name="T53" fmla="*/ 31 h 112"/>
                <a:gd name="T54" fmla="*/ 10 w 122"/>
                <a:gd name="T55" fmla="*/ 36 h 112"/>
                <a:gd name="T56" fmla="*/ 5 w 122"/>
                <a:gd name="T57" fmla="*/ 37 h 112"/>
                <a:gd name="T58" fmla="*/ 3 w 122"/>
                <a:gd name="T59" fmla="*/ 37 h 112"/>
                <a:gd name="T60" fmla="*/ 0 w 122"/>
                <a:gd name="T61" fmla="*/ 37 h 112"/>
                <a:gd name="T62" fmla="*/ 0 w 122"/>
                <a:gd name="T63" fmla="*/ 3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22" h="112">
                  <a:moveTo>
                    <a:pt x="0" y="100"/>
                  </a:moveTo>
                  <a:lnTo>
                    <a:pt x="7" y="105"/>
                  </a:lnTo>
                  <a:lnTo>
                    <a:pt x="18" y="112"/>
                  </a:lnTo>
                  <a:lnTo>
                    <a:pt x="30" y="110"/>
                  </a:lnTo>
                  <a:lnTo>
                    <a:pt x="37" y="103"/>
                  </a:lnTo>
                  <a:lnTo>
                    <a:pt x="50" y="93"/>
                  </a:lnTo>
                  <a:lnTo>
                    <a:pt x="59" y="88"/>
                  </a:lnTo>
                  <a:lnTo>
                    <a:pt x="69" y="77"/>
                  </a:lnTo>
                  <a:lnTo>
                    <a:pt x="75" y="60"/>
                  </a:lnTo>
                  <a:lnTo>
                    <a:pt x="79" y="55"/>
                  </a:lnTo>
                  <a:lnTo>
                    <a:pt x="89" y="45"/>
                  </a:lnTo>
                  <a:lnTo>
                    <a:pt x="104" y="38"/>
                  </a:lnTo>
                  <a:lnTo>
                    <a:pt x="114" y="38"/>
                  </a:lnTo>
                  <a:lnTo>
                    <a:pt x="122" y="33"/>
                  </a:lnTo>
                  <a:lnTo>
                    <a:pt x="120" y="27"/>
                  </a:lnTo>
                  <a:lnTo>
                    <a:pt x="110" y="7"/>
                  </a:lnTo>
                  <a:lnTo>
                    <a:pt x="102" y="0"/>
                  </a:lnTo>
                  <a:lnTo>
                    <a:pt x="94" y="2"/>
                  </a:lnTo>
                  <a:lnTo>
                    <a:pt x="82" y="15"/>
                  </a:lnTo>
                  <a:lnTo>
                    <a:pt x="80" y="33"/>
                  </a:lnTo>
                  <a:lnTo>
                    <a:pt x="72" y="42"/>
                  </a:lnTo>
                  <a:lnTo>
                    <a:pt x="75" y="50"/>
                  </a:lnTo>
                  <a:lnTo>
                    <a:pt x="72" y="60"/>
                  </a:lnTo>
                  <a:lnTo>
                    <a:pt x="65" y="60"/>
                  </a:lnTo>
                  <a:lnTo>
                    <a:pt x="59" y="53"/>
                  </a:lnTo>
                  <a:lnTo>
                    <a:pt x="44" y="70"/>
                  </a:lnTo>
                  <a:lnTo>
                    <a:pt x="23" y="83"/>
                  </a:lnTo>
                  <a:lnTo>
                    <a:pt x="20" y="95"/>
                  </a:lnTo>
                  <a:lnTo>
                    <a:pt x="10" y="98"/>
                  </a:lnTo>
                  <a:lnTo>
                    <a:pt x="3" y="98"/>
                  </a:lnTo>
                  <a:lnTo>
                    <a:pt x="0" y="10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8" name="Freeform 495"/>
            <p:cNvSpPr>
              <a:spLocks/>
            </p:cNvSpPr>
            <p:nvPr/>
          </p:nvSpPr>
          <p:spPr bwMode="auto">
            <a:xfrm>
              <a:off x="4174" y="2849"/>
              <a:ext cx="12" cy="18"/>
            </a:xfrm>
            <a:custGeom>
              <a:avLst/>
              <a:gdLst>
                <a:gd name="T0" fmla="*/ 0 w 15"/>
                <a:gd name="T1" fmla="*/ 7 h 20"/>
                <a:gd name="T2" fmla="*/ 2 w 15"/>
                <a:gd name="T3" fmla="*/ 12 h 20"/>
                <a:gd name="T4" fmla="*/ 3 w 15"/>
                <a:gd name="T5" fmla="*/ 12 h 20"/>
                <a:gd name="T6" fmla="*/ 5 w 15"/>
                <a:gd name="T7" fmla="*/ 7 h 20"/>
                <a:gd name="T8" fmla="*/ 3 w 15"/>
                <a:gd name="T9" fmla="*/ 0 h 20"/>
                <a:gd name="T10" fmla="*/ 0 w 15"/>
                <a:gd name="T11" fmla="*/ 5 h 20"/>
                <a:gd name="T12" fmla="*/ 0 w 15"/>
                <a:gd name="T13" fmla="*/ 7 h 20"/>
                <a:gd name="T14" fmla="*/ 0 w 15"/>
                <a:gd name="T15" fmla="*/ 7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20">
                  <a:moveTo>
                    <a:pt x="0" y="12"/>
                  </a:moveTo>
                  <a:lnTo>
                    <a:pt x="4" y="20"/>
                  </a:lnTo>
                  <a:lnTo>
                    <a:pt x="10" y="20"/>
                  </a:lnTo>
                  <a:lnTo>
                    <a:pt x="15" y="12"/>
                  </a:lnTo>
                  <a:lnTo>
                    <a:pt x="10" y="0"/>
                  </a:lnTo>
                  <a:lnTo>
                    <a:pt x="0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9" name="Freeform 496"/>
            <p:cNvSpPr>
              <a:spLocks/>
            </p:cNvSpPr>
            <p:nvPr/>
          </p:nvSpPr>
          <p:spPr bwMode="auto">
            <a:xfrm>
              <a:off x="4174" y="2849"/>
              <a:ext cx="12" cy="18"/>
            </a:xfrm>
            <a:custGeom>
              <a:avLst/>
              <a:gdLst>
                <a:gd name="T0" fmla="*/ 0 w 15"/>
                <a:gd name="T1" fmla="*/ 7 h 20"/>
                <a:gd name="T2" fmla="*/ 2 w 15"/>
                <a:gd name="T3" fmla="*/ 12 h 20"/>
                <a:gd name="T4" fmla="*/ 3 w 15"/>
                <a:gd name="T5" fmla="*/ 12 h 20"/>
                <a:gd name="T6" fmla="*/ 5 w 15"/>
                <a:gd name="T7" fmla="*/ 7 h 20"/>
                <a:gd name="T8" fmla="*/ 3 w 15"/>
                <a:gd name="T9" fmla="*/ 0 h 20"/>
                <a:gd name="T10" fmla="*/ 0 w 15"/>
                <a:gd name="T11" fmla="*/ 5 h 20"/>
                <a:gd name="T12" fmla="*/ 0 w 15"/>
                <a:gd name="T13" fmla="*/ 7 h 20"/>
                <a:gd name="T14" fmla="*/ 0 w 15"/>
                <a:gd name="T15" fmla="*/ 7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5" h="20">
                  <a:moveTo>
                    <a:pt x="0" y="12"/>
                  </a:moveTo>
                  <a:lnTo>
                    <a:pt x="4" y="20"/>
                  </a:lnTo>
                  <a:lnTo>
                    <a:pt x="10" y="20"/>
                  </a:lnTo>
                  <a:lnTo>
                    <a:pt x="15" y="12"/>
                  </a:lnTo>
                  <a:lnTo>
                    <a:pt x="10" y="0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0" name="Freeform 497"/>
            <p:cNvSpPr>
              <a:spLocks/>
            </p:cNvSpPr>
            <p:nvPr/>
          </p:nvSpPr>
          <p:spPr bwMode="auto">
            <a:xfrm>
              <a:off x="4417" y="2960"/>
              <a:ext cx="143" cy="146"/>
            </a:xfrm>
            <a:custGeom>
              <a:avLst/>
              <a:gdLst>
                <a:gd name="T0" fmla="*/ 76 w 167"/>
                <a:gd name="T1" fmla="*/ 26 h 175"/>
                <a:gd name="T2" fmla="*/ 64 w 167"/>
                <a:gd name="T3" fmla="*/ 19 h 175"/>
                <a:gd name="T4" fmla="*/ 57 w 167"/>
                <a:gd name="T5" fmla="*/ 13 h 175"/>
                <a:gd name="T6" fmla="*/ 51 w 167"/>
                <a:gd name="T7" fmla="*/ 15 h 175"/>
                <a:gd name="T8" fmla="*/ 43 w 167"/>
                <a:gd name="T9" fmla="*/ 20 h 175"/>
                <a:gd name="T10" fmla="*/ 34 w 167"/>
                <a:gd name="T11" fmla="*/ 21 h 175"/>
                <a:gd name="T12" fmla="*/ 27 w 167"/>
                <a:gd name="T13" fmla="*/ 19 h 175"/>
                <a:gd name="T14" fmla="*/ 24 w 167"/>
                <a:gd name="T15" fmla="*/ 7 h 175"/>
                <a:gd name="T16" fmla="*/ 18 w 167"/>
                <a:gd name="T17" fmla="*/ 0 h 175"/>
                <a:gd name="T18" fmla="*/ 10 w 167"/>
                <a:gd name="T19" fmla="*/ 0 h 175"/>
                <a:gd name="T20" fmla="*/ 2 w 167"/>
                <a:gd name="T21" fmla="*/ 4 h 175"/>
                <a:gd name="T22" fmla="*/ 0 w 167"/>
                <a:gd name="T23" fmla="*/ 7 h 175"/>
                <a:gd name="T24" fmla="*/ 7 w 167"/>
                <a:gd name="T25" fmla="*/ 8 h 175"/>
                <a:gd name="T26" fmla="*/ 8 w 167"/>
                <a:gd name="T27" fmla="*/ 12 h 175"/>
                <a:gd name="T28" fmla="*/ 13 w 167"/>
                <a:gd name="T29" fmla="*/ 14 h 175"/>
                <a:gd name="T30" fmla="*/ 17 w 167"/>
                <a:gd name="T31" fmla="*/ 16 h 175"/>
                <a:gd name="T32" fmla="*/ 20 w 167"/>
                <a:gd name="T33" fmla="*/ 16 h 175"/>
                <a:gd name="T34" fmla="*/ 14 w 167"/>
                <a:gd name="T35" fmla="*/ 19 h 175"/>
                <a:gd name="T36" fmla="*/ 13 w 167"/>
                <a:gd name="T37" fmla="*/ 23 h 175"/>
                <a:gd name="T38" fmla="*/ 15 w 167"/>
                <a:gd name="T39" fmla="*/ 27 h 175"/>
                <a:gd name="T40" fmla="*/ 24 w 167"/>
                <a:gd name="T41" fmla="*/ 27 h 175"/>
                <a:gd name="T42" fmla="*/ 28 w 167"/>
                <a:gd name="T43" fmla="*/ 26 h 175"/>
                <a:gd name="T44" fmla="*/ 39 w 167"/>
                <a:gd name="T45" fmla="*/ 31 h 175"/>
                <a:gd name="T46" fmla="*/ 50 w 167"/>
                <a:gd name="T47" fmla="*/ 41 h 175"/>
                <a:gd name="T48" fmla="*/ 51 w 167"/>
                <a:gd name="T49" fmla="*/ 44 h 175"/>
                <a:gd name="T50" fmla="*/ 51 w 167"/>
                <a:gd name="T51" fmla="*/ 48 h 175"/>
                <a:gd name="T52" fmla="*/ 55 w 167"/>
                <a:gd name="T53" fmla="*/ 50 h 175"/>
                <a:gd name="T54" fmla="*/ 45 w 167"/>
                <a:gd name="T55" fmla="*/ 53 h 175"/>
                <a:gd name="T56" fmla="*/ 45 w 167"/>
                <a:gd name="T57" fmla="*/ 55 h 175"/>
                <a:gd name="T58" fmla="*/ 51 w 167"/>
                <a:gd name="T59" fmla="*/ 58 h 175"/>
                <a:gd name="T60" fmla="*/ 50 w 167"/>
                <a:gd name="T61" fmla="*/ 62 h 175"/>
                <a:gd name="T62" fmla="*/ 50 w 167"/>
                <a:gd name="T63" fmla="*/ 67 h 175"/>
                <a:gd name="T64" fmla="*/ 58 w 167"/>
                <a:gd name="T65" fmla="*/ 65 h 175"/>
                <a:gd name="T66" fmla="*/ 61 w 167"/>
                <a:gd name="T67" fmla="*/ 70 h 175"/>
                <a:gd name="T68" fmla="*/ 63 w 167"/>
                <a:gd name="T69" fmla="*/ 71 h 175"/>
                <a:gd name="T70" fmla="*/ 76 w 167"/>
                <a:gd name="T71" fmla="*/ 26 h 175"/>
                <a:gd name="T72" fmla="*/ 76 w 167"/>
                <a:gd name="T73" fmla="*/ 26 h 17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67" h="175">
                  <a:moveTo>
                    <a:pt x="167" y="64"/>
                  </a:moveTo>
                  <a:lnTo>
                    <a:pt x="140" y="45"/>
                  </a:lnTo>
                  <a:lnTo>
                    <a:pt x="123" y="34"/>
                  </a:lnTo>
                  <a:lnTo>
                    <a:pt x="110" y="37"/>
                  </a:lnTo>
                  <a:lnTo>
                    <a:pt x="92" y="50"/>
                  </a:lnTo>
                  <a:lnTo>
                    <a:pt x="75" y="52"/>
                  </a:lnTo>
                  <a:lnTo>
                    <a:pt x="58" y="49"/>
                  </a:lnTo>
                  <a:lnTo>
                    <a:pt x="53" y="15"/>
                  </a:lnTo>
                  <a:lnTo>
                    <a:pt x="38" y="0"/>
                  </a:lnTo>
                  <a:lnTo>
                    <a:pt x="22" y="0"/>
                  </a:lnTo>
                  <a:lnTo>
                    <a:pt x="2" y="9"/>
                  </a:lnTo>
                  <a:lnTo>
                    <a:pt x="0" y="15"/>
                  </a:lnTo>
                  <a:lnTo>
                    <a:pt x="15" y="19"/>
                  </a:lnTo>
                  <a:lnTo>
                    <a:pt x="17" y="29"/>
                  </a:lnTo>
                  <a:lnTo>
                    <a:pt x="27" y="35"/>
                  </a:lnTo>
                  <a:lnTo>
                    <a:pt x="37" y="40"/>
                  </a:lnTo>
                  <a:lnTo>
                    <a:pt x="43" y="40"/>
                  </a:lnTo>
                  <a:lnTo>
                    <a:pt x="30" y="49"/>
                  </a:lnTo>
                  <a:lnTo>
                    <a:pt x="27" y="55"/>
                  </a:lnTo>
                  <a:lnTo>
                    <a:pt x="32" y="65"/>
                  </a:lnTo>
                  <a:lnTo>
                    <a:pt x="52" y="65"/>
                  </a:lnTo>
                  <a:lnTo>
                    <a:pt x="62" y="64"/>
                  </a:lnTo>
                  <a:lnTo>
                    <a:pt x="83" y="77"/>
                  </a:lnTo>
                  <a:lnTo>
                    <a:pt x="108" y="102"/>
                  </a:lnTo>
                  <a:lnTo>
                    <a:pt x="112" y="110"/>
                  </a:lnTo>
                  <a:lnTo>
                    <a:pt x="112" y="119"/>
                  </a:lnTo>
                  <a:lnTo>
                    <a:pt x="120" y="124"/>
                  </a:lnTo>
                  <a:lnTo>
                    <a:pt x="98" y="132"/>
                  </a:lnTo>
                  <a:lnTo>
                    <a:pt x="98" y="137"/>
                  </a:lnTo>
                  <a:lnTo>
                    <a:pt x="112" y="144"/>
                  </a:lnTo>
                  <a:lnTo>
                    <a:pt x="107" y="154"/>
                  </a:lnTo>
                  <a:lnTo>
                    <a:pt x="107" y="165"/>
                  </a:lnTo>
                  <a:lnTo>
                    <a:pt x="125" y="162"/>
                  </a:lnTo>
                  <a:lnTo>
                    <a:pt x="132" y="174"/>
                  </a:lnTo>
                  <a:lnTo>
                    <a:pt x="138" y="175"/>
                  </a:lnTo>
                  <a:lnTo>
                    <a:pt x="167" y="64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1" name="Freeform 498"/>
            <p:cNvSpPr>
              <a:spLocks/>
            </p:cNvSpPr>
            <p:nvPr/>
          </p:nvSpPr>
          <p:spPr bwMode="auto">
            <a:xfrm>
              <a:off x="4417" y="2960"/>
              <a:ext cx="143" cy="146"/>
            </a:xfrm>
            <a:custGeom>
              <a:avLst/>
              <a:gdLst>
                <a:gd name="T0" fmla="*/ 76 w 167"/>
                <a:gd name="T1" fmla="*/ 26 h 175"/>
                <a:gd name="T2" fmla="*/ 64 w 167"/>
                <a:gd name="T3" fmla="*/ 19 h 175"/>
                <a:gd name="T4" fmla="*/ 57 w 167"/>
                <a:gd name="T5" fmla="*/ 13 h 175"/>
                <a:gd name="T6" fmla="*/ 51 w 167"/>
                <a:gd name="T7" fmla="*/ 15 h 175"/>
                <a:gd name="T8" fmla="*/ 43 w 167"/>
                <a:gd name="T9" fmla="*/ 20 h 175"/>
                <a:gd name="T10" fmla="*/ 34 w 167"/>
                <a:gd name="T11" fmla="*/ 21 h 175"/>
                <a:gd name="T12" fmla="*/ 27 w 167"/>
                <a:gd name="T13" fmla="*/ 19 h 175"/>
                <a:gd name="T14" fmla="*/ 24 w 167"/>
                <a:gd name="T15" fmla="*/ 7 h 175"/>
                <a:gd name="T16" fmla="*/ 18 w 167"/>
                <a:gd name="T17" fmla="*/ 0 h 175"/>
                <a:gd name="T18" fmla="*/ 10 w 167"/>
                <a:gd name="T19" fmla="*/ 0 h 175"/>
                <a:gd name="T20" fmla="*/ 2 w 167"/>
                <a:gd name="T21" fmla="*/ 4 h 175"/>
                <a:gd name="T22" fmla="*/ 0 w 167"/>
                <a:gd name="T23" fmla="*/ 7 h 175"/>
                <a:gd name="T24" fmla="*/ 7 w 167"/>
                <a:gd name="T25" fmla="*/ 8 h 175"/>
                <a:gd name="T26" fmla="*/ 8 w 167"/>
                <a:gd name="T27" fmla="*/ 12 h 175"/>
                <a:gd name="T28" fmla="*/ 13 w 167"/>
                <a:gd name="T29" fmla="*/ 14 h 175"/>
                <a:gd name="T30" fmla="*/ 17 w 167"/>
                <a:gd name="T31" fmla="*/ 16 h 175"/>
                <a:gd name="T32" fmla="*/ 20 w 167"/>
                <a:gd name="T33" fmla="*/ 16 h 175"/>
                <a:gd name="T34" fmla="*/ 14 w 167"/>
                <a:gd name="T35" fmla="*/ 19 h 175"/>
                <a:gd name="T36" fmla="*/ 13 w 167"/>
                <a:gd name="T37" fmla="*/ 23 h 175"/>
                <a:gd name="T38" fmla="*/ 15 w 167"/>
                <a:gd name="T39" fmla="*/ 27 h 175"/>
                <a:gd name="T40" fmla="*/ 24 w 167"/>
                <a:gd name="T41" fmla="*/ 27 h 175"/>
                <a:gd name="T42" fmla="*/ 28 w 167"/>
                <a:gd name="T43" fmla="*/ 26 h 175"/>
                <a:gd name="T44" fmla="*/ 39 w 167"/>
                <a:gd name="T45" fmla="*/ 31 h 175"/>
                <a:gd name="T46" fmla="*/ 50 w 167"/>
                <a:gd name="T47" fmla="*/ 41 h 175"/>
                <a:gd name="T48" fmla="*/ 51 w 167"/>
                <a:gd name="T49" fmla="*/ 44 h 175"/>
                <a:gd name="T50" fmla="*/ 51 w 167"/>
                <a:gd name="T51" fmla="*/ 48 h 175"/>
                <a:gd name="T52" fmla="*/ 55 w 167"/>
                <a:gd name="T53" fmla="*/ 50 h 175"/>
                <a:gd name="T54" fmla="*/ 45 w 167"/>
                <a:gd name="T55" fmla="*/ 53 h 175"/>
                <a:gd name="T56" fmla="*/ 45 w 167"/>
                <a:gd name="T57" fmla="*/ 55 h 175"/>
                <a:gd name="T58" fmla="*/ 51 w 167"/>
                <a:gd name="T59" fmla="*/ 58 h 175"/>
                <a:gd name="T60" fmla="*/ 50 w 167"/>
                <a:gd name="T61" fmla="*/ 62 h 175"/>
                <a:gd name="T62" fmla="*/ 50 w 167"/>
                <a:gd name="T63" fmla="*/ 67 h 175"/>
                <a:gd name="T64" fmla="*/ 58 w 167"/>
                <a:gd name="T65" fmla="*/ 65 h 175"/>
                <a:gd name="T66" fmla="*/ 61 w 167"/>
                <a:gd name="T67" fmla="*/ 70 h 175"/>
                <a:gd name="T68" fmla="*/ 63 w 167"/>
                <a:gd name="T69" fmla="*/ 71 h 175"/>
                <a:gd name="T70" fmla="*/ 76 w 167"/>
                <a:gd name="T71" fmla="*/ 26 h 175"/>
                <a:gd name="T72" fmla="*/ 76 w 167"/>
                <a:gd name="T73" fmla="*/ 26 h 17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67" h="175">
                  <a:moveTo>
                    <a:pt x="167" y="64"/>
                  </a:moveTo>
                  <a:lnTo>
                    <a:pt x="140" y="45"/>
                  </a:lnTo>
                  <a:lnTo>
                    <a:pt x="123" y="34"/>
                  </a:lnTo>
                  <a:lnTo>
                    <a:pt x="110" y="37"/>
                  </a:lnTo>
                  <a:lnTo>
                    <a:pt x="92" y="50"/>
                  </a:lnTo>
                  <a:lnTo>
                    <a:pt x="75" y="52"/>
                  </a:lnTo>
                  <a:lnTo>
                    <a:pt x="58" y="49"/>
                  </a:lnTo>
                  <a:lnTo>
                    <a:pt x="53" y="15"/>
                  </a:lnTo>
                  <a:lnTo>
                    <a:pt x="38" y="0"/>
                  </a:lnTo>
                  <a:lnTo>
                    <a:pt x="22" y="0"/>
                  </a:lnTo>
                  <a:lnTo>
                    <a:pt x="2" y="9"/>
                  </a:lnTo>
                  <a:lnTo>
                    <a:pt x="0" y="15"/>
                  </a:lnTo>
                  <a:lnTo>
                    <a:pt x="15" y="19"/>
                  </a:lnTo>
                  <a:lnTo>
                    <a:pt x="17" y="29"/>
                  </a:lnTo>
                  <a:lnTo>
                    <a:pt x="27" y="35"/>
                  </a:lnTo>
                  <a:lnTo>
                    <a:pt x="37" y="40"/>
                  </a:lnTo>
                  <a:lnTo>
                    <a:pt x="43" y="40"/>
                  </a:lnTo>
                  <a:lnTo>
                    <a:pt x="30" y="49"/>
                  </a:lnTo>
                  <a:lnTo>
                    <a:pt x="27" y="55"/>
                  </a:lnTo>
                  <a:lnTo>
                    <a:pt x="32" y="65"/>
                  </a:lnTo>
                  <a:lnTo>
                    <a:pt x="52" y="65"/>
                  </a:lnTo>
                  <a:lnTo>
                    <a:pt x="62" y="64"/>
                  </a:lnTo>
                  <a:lnTo>
                    <a:pt x="83" y="77"/>
                  </a:lnTo>
                  <a:lnTo>
                    <a:pt x="108" y="102"/>
                  </a:lnTo>
                  <a:lnTo>
                    <a:pt x="112" y="110"/>
                  </a:lnTo>
                  <a:lnTo>
                    <a:pt x="112" y="119"/>
                  </a:lnTo>
                  <a:lnTo>
                    <a:pt x="120" y="124"/>
                  </a:lnTo>
                  <a:lnTo>
                    <a:pt x="98" y="132"/>
                  </a:lnTo>
                  <a:lnTo>
                    <a:pt x="98" y="137"/>
                  </a:lnTo>
                  <a:lnTo>
                    <a:pt x="112" y="144"/>
                  </a:lnTo>
                  <a:lnTo>
                    <a:pt x="107" y="154"/>
                  </a:lnTo>
                  <a:lnTo>
                    <a:pt x="107" y="165"/>
                  </a:lnTo>
                  <a:lnTo>
                    <a:pt x="125" y="162"/>
                  </a:lnTo>
                  <a:lnTo>
                    <a:pt x="132" y="174"/>
                  </a:lnTo>
                  <a:lnTo>
                    <a:pt x="138" y="175"/>
                  </a:lnTo>
                  <a:lnTo>
                    <a:pt x="167" y="64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2" name="Freeform 499"/>
            <p:cNvSpPr>
              <a:spLocks/>
            </p:cNvSpPr>
            <p:nvPr/>
          </p:nvSpPr>
          <p:spPr bwMode="auto">
            <a:xfrm>
              <a:off x="4483" y="3082"/>
              <a:ext cx="18" cy="19"/>
            </a:xfrm>
            <a:custGeom>
              <a:avLst/>
              <a:gdLst>
                <a:gd name="T0" fmla="*/ 5 w 20"/>
                <a:gd name="T1" fmla="*/ 0 h 22"/>
                <a:gd name="T2" fmla="*/ 2 w 20"/>
                <a:gd name="T3" fmla="*/ 0 h 22"/>
                <a:gd name="T4" fmla="*/ 0 w 20"/>
                <a:gd name="T5" fmla="*/ 4 h 22"/>
                <a:gd name="T6" fmla="*/ 5 w 20"/>
                <a:gd name="T7" fmla="*/ 9 h 22"/>
                <a:gd name="T8" fmla="*/ 5 w 20"/>
                <a:gd name="T9" fmla="*/ 10 h 22"/>
                <a:gd name="T10" fmla="*/ 12 w 20"/>
                <a:gd name="T11" fmla="*/ 3 h 22"/>
                <a:gd name="T12" fmla="*/ 10 w 20"/>
                <a:gd name="T13" fmla="*/ 2 h 22"/>
                <a:gd name="T14" fmla="*/ 5 w 20"/>
                <a:gd name="T15" fmla="*/ 0 h 22"/>
                <a:gd name="T16" fmla="*/ 5 w 20"/>
                <a:gd name="T17" fmla="*/ 0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2">
                  <a:moveTo>
                    <a:pt x="10" y="0"/>
                  </a:moveTo>
                  <a:lnTo>
                    <a:pt x="2" y="0"/>
                  </a:lnTo>
                  <a:lnTo>
                    <a:pt x="0" y="9"/>
                  </a:lnTo>
                  <a:lnTo>
                    <a:pt x="5" y="17"/>
                  </a:lnTo>
                  <a:lnTo>
                    <a:pt x="7" y="22"/>
                  </a:lnTo>
                  <a:lnTo>
                    <a:pt x="20" y="7"/>
                  </a:lnTo>
                  <a:lnTo>
                    <a:pt x="15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3" name="Freeform 500"/>
            <p:cNvSpPr>
              <a:spLocks/>
            </p:cNvSpPr>
            <p:nvPr/>
          </p:nvSpPr>
          <p:spPr bwMode="auto">
            <a:xfrm>
              <a:off x="4483" y="3082"/>
              <a:ext cx="18" cy="19"/>
            </a:xfrm>
            <a:custGeom>
              <a:avLst/>
              <a:gdLst>
                <a:gd name="T0" fmla="*/ 5 w 20"/>
                <a:gd name="T1" fmla="*/ 0 h 22"/>
                <a:gd name="T2" fmla="*/ 2 w 20"/>
                <a:gd name="T3" fmla="*/ 0 h 22"/>
                <a:gd name="T4" fmla="*/ 0 w 20"/>
                <a:gd name="T5" fmla="*/ 4 h 22"/>
                <a:gd name="T6" fmla="*/ 5 w 20"/>
                <a:gd name="T7" fmla="*/ 9 h 22"/>
                <a:gd name="T8" fmla="*/ 5 w 20"/>
                <a:gd name="T9" fmla="*/ 10 h 22"/>
                <a:gd name="T10" fmla="*/ 12 w 20"/>
                <a:gd name="T11" fmla="*/ 3 h 22"/>
                <a:gd name="T12" fmla="*/ 10 w 20"/>
                <a:gd name="T13" fmla="*/ 2 h 22"/>
                <a:gd name="T14" fmla="*/ 5 w 20"/>
                <a:gd name="T15" fmla="*/ 0 h 22"/>
                <a:gd name="T16" fmla="*/ 5 w 20"/>
                <a:gd name="T17" fmla="*/ 0 h 2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2">
                  <a:moveTo>
                    <a:pt x="10" y="0"/>
                  </a:moveTo>
                  <a:lnTo>
                    <a:pt x="2" y="0"/>
                  </a:lnTo>
                  <a:lnTo>
                    <a:pt x="0" y="9"/>
                  </a:lnTo>
                  <a:lnTo>
                    <a:pt x="5" y="17"/>
                  </a:lnTo>
                  <a:lnTo>
                    <a:pt x="7" y="22"/>
                  </a:lnTo>
                  <a:lnTo>
                    <a:pt x="20" y="7"/>
                  </a:lnTo>
                  <a:lnTo>
                    <a:pt x="15" y="2"/>
                  </a:lnTo>
                  <a:lnTo>
                    <a:pt x="1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4" name="Freeform 501"/>
            <p:cNvSpPr>
              <a:spLocks/>
            </p:cNvSpPr>
            <p:nvPr/>
          </p:nvSpPr>
          <p:spPr bwMode="auto">
            <a:xfrm>
              <a:off x="4533" y="3013"/>
              <a:ext cx="138" cy="154"/>
            </a:xfrm>
            <a:custGeom>
              <a:avLst/>
              <a:gdLst>
                <a:gd name="T0" fmla="*/ 14 w 160"/>
                <a:gd name="T1" fmla="*/ 0 h 183"/>
                <a:gd name="T2" fmla="*/ 0 w 160"/>
                <a:gd name="T3" fmla="*/ 47 h 183"/>
                <a:gd name="T4" fmla="*/ 8 w 160"/>
                <a:gd name="T5" fmla="*/ 54 h 183"/>
                <a:gd name="T6" fmla="*/ 12 w 160"/>
                <a:gd name="T7" fmla="*/ 52 h 183"/>
                <a:gd name="T8" fmla="*/ 14 w 160"/>
                <a:gd name="T9" fmla="*/ 55 h 183"/>
                <a:gd name="T10" fmla="*/ 22 w 160"/>
                <a:gd name="T11" fmla="*/ 55 h 183"/>
                <a:gd name="T12" fmla="*/ 22 w 160"/>
                <a:gd name="T13" fmla="*/ 54 h 183"/>
                <a:gd name="T14" fmla="*/ 19 w 160"/>
                <a:gd name="T15" fmla="*/ 47 h 183"/>
                <a:gd name="T16" fmla="*/ 12 w 160"/>
                <a:gd name="T17" fmla="*/ 45 h 183"/>
                <a:gd name="T18" fmla="*/ 22 w 160"/>
                <a:gd name="T19" fmla="*/ 45 h 183"/>
                <a:gd name="T20" fmla="*/ 26 w 160"/>
                <a:gd name="T21" fmla="*/ 43 h 183"/>
                <a:gd name="T22" fmla="*/ 40 w 160"/>
                <a:gd name="T23" fmla="*/ 49 h 183"/>
                <a:gd name="T24" fmla="*/ 47 w 160"/>
                <a:gd name="T25" fmla="*/ 55 h 183"/>
                <a:gd name="T26" fmla="*/ 50 w 160"/>
                <a:gd name="T27" fmla="*/ 59 h 183"/>
                <a:gd name="T28" fmla="*/ 50 w 160"/>
                <a:gd name="T29" fmla="*/ 62 h 183"/>
                <a:gd name="T30" fmla="*/ 55 w 160"/>
                <a:gd name="T31" fmla="*/ 65 h 183"/>
                <a:gd name="T32" fmla="*/ 58 w 160"/>
                <a:gd name="T33" fmla="*/ 71 h 183"/>
                <a:gd name="T34" fmla="*/ 67 w 160"/>
                <a:gd name="T35" fmla="*/ 77 h 183"/>
                <a:gd name="T36" fmla="*/ 77 w 160"/>
                <a:gd name="T37" fmla="*/ 77 h 183"/>
                <a:gd name="T38" fmla="*/ 72 w 160"/>
                <a:gd name="T39" fmla="*/ 74 h 183"/>
                <a:gd name="T40" fmla="*/ 75 w 160"/>
                <a:gd name="T41" fmla="*/ 71 h 183"/>
                <a:gd name="T42" fmla="*/ 71 w 160"/>
                <a:gd name="T43" fmla="*/ 66 h 183"/>
                <a:gd name="T44" fmla="*/ 57 w 160"/>
                <a:gd name="T45" fmla="*/ 54 h 183"/>
                <a:gd name="T46" fmla="*/ 52 w 160"/>
                <a:gd name="T47" fmla="*/ 43 h 183"/>
                <a:gd name="T48" fmla="*/ 54 w 160"/>
                <a:gd name="T49" fmla="*/ 41 h 183"/>
                <a:gd name="T50" fmla="*/ 57 w 160"/>
                <a:gd name="T51" fmla="*/ 36 h 183"/>
                <a:gd name="T52" fmla="*/ 55 w 160"/>
                <a:gd name="T53" fmla="*/ 35 h 183"/>
                <a:gd name="T54" fmla="*/ 48 w 160"/>
                <a:gd name="T55" fmla="*/ 29 h 183"/>
                <a:gd name="T56" fmla="*/ 46 w 160"/>
                <a:gd name="T57" fmla="*/ 27 h 183"/>
                <a:gd name="T58" fmla="*/ 46 w 160"/>
                <a:gd name="T59" fmla="*/ 22 h 183"/>
                <a:gd name="T60" fmla="*/ 35 w 160"/>
                <a:gd name="T61" fmla="*/ 12 h 183"/>
                <a:gd name="T62" fmla="*/ 26 w 160"/>
                <a:gd name="T63" fmla="*/ 6 h 183"/>
                <a:gd name="T64" fmla="*/ 19 w 160"/>
                <a:gd name="T65" fmla="*/ 3 h 183"/>
                <a:gd name="T66" fmla="*/ 14 w 160"/>
                <a:gd name="T67" fmla="*/ 0 h 183"/>
                <a:gd name="T68" fmla="*/ 14 w 160"/>
                <a:gd name="T69" fmla="*/ 0 h 1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60" h="183">
                  <a:moveTo>
                    <a:pt x="30" y="0"/>
                  </a:moveTo>
                  <a:lnTo>
                    <a:pt x="0" y="113"/>
                  </a:lnTo>
                  <a:lnTo>
                    <a:pt x="16" y="127"/>
                  </a:lnTo>
                  <a:lnTo>
                    <a:pt x="26" y="123"/>
                  </a:lnTo>
                  <a:lnTo>
                    <a:pt x="28" y="130"/>
                  </a:lnTo>
                  <a:lnTo>
                    <a:pt x="45" y="128"/>
                  </a:lnTo>
                  <a:lnTo>
                    <a:pt x="46" y="127"/>
                  </a:lnTo>
                  <a:lnTo>
                    <a:pt x="41" y="112"/>
                  </a:lnTo>
                  <a:lnTo>
                    <a:pt x="25" y="107"/>
                  </a:lnTo>
                  <a:lnTo>
                    <a:pt x="46" y="107"/>
                  </a:lnTo>
                  <a:lnTo>
                    <a:pt x="56" y="103"/>
                  </a:lnTo>
                  <a:lnTo>
                    <a:pt x="83" y="115"/>
                  </a:lnTo>
                  <a:lnTo>
                    <a:pt x="98" y="128"/>
                  </a:lnTo>
                  <a:lnTo>
                    <a:pt x="106" y="140"/>
                  </a:lnTo>
                  <a:lnTo>
                    <a:pt x="106" y="147"/>
                  </a:lnTo>
                  <a:lnTo>
                    <a:pt x="116" y="153"/>
                  </a:lnTo>
                  <a:lnTo>
                    <a:pt x="120" y="168"/>
                  </a:lnTo>
                  <a:lnTo>
                    <a:pt x="141" y="183"/>
                  </a:lnTo>
                  <a:lnTo>
                    <a:pt x="160" y="183"/>
                  </a:lnTo>
                  <a:lnTo>
                    <a:pt x="151" y="173"/>
                  </a:lnTo>
                  <a:lnTo>
                    <a:pt x="158" y="168"/>
                  </a:lnTo>
                  <a:lnTo>
                    <a:pt x="148" y="158"/>
                  </a:lnTo>
                  <a:lnTo>
                    <a:pt x="118" y="127"/>
                  </a:lnTo>
                  <a:lnTo>
                    <a:pt x="108" y="103"/>
                  </a:lnTo>
                  <a:lnTo>
                    <a:pt x="115" y="97"/>
                  </a:lnTo>
                  <a:lnTo>
                    <a:pt x="118" y="87"/>
                  </a:lnTo>
                  <a:lnTo>
                    <a:pt x="116" y="82"/>
                  </a:lnTo>
                  <a:lnTo>
                    <a:pt x="101" y="68"/>
                  </a:lnTo>
                  <a:lnTo>
                    <a:pt x="95" y="63"/>
                  </a:lnTo>
                  <a:lnTo>
                    <a:pt x="95" y="52"/>
                  </a:lnTo>
                  <a:lnTo>
                    <a:pt x="75" y="28"/>
                  </a:lnTo>
                  <a:lnTo>
                    <a:pt x="53" y="13"/>
                  </a:lnTo>
                  <a:lnTo>
                    <a:pt x="40" y="5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5" name="Freeform 502"/>
            <p:cNvSpPr>
              <a:spLocks/>
            </p:cNvSpPr>
            <p:nvPr/>
          </p:nvSpPr>
          <p:spPr bwMode="auto">
            <a:xfrm>
              <a:off x="4533" y="3013"/>
              <a:ext cx="138" cy="154"/>
            </a:xfrm>
            <a:custGeom>
              <a:avLst/>
              <a:gdLst>
                <a:gd name="T0" fmla="*/ 14 w 160"/>
                <a:gd name="T1" fmla="*/ 0 h 183"/>
                <a:gd name="T2" fmla="*/ 0 w 160"/>
                <a:gd name="T3" fmla="*/ 47 h 183"/>
                <a:gd name="T4" fmla="*/ 8 w 160"/>
                <a:gd name="T5" fmla="*/ 54 h 183"/>
                <a:gd name="T6" fmla="*/ 12 w 160"/>
                <a:gd name="T7" fmla="*/ 52 h 183"/>
                <a:gd name="T8" fmla="*/ 14 w 160"/>
                <a:gd name="T9" fmla="*/ 55 h 183"/>
                <a:gd name="T10" fmla="*/ 22 w 160"/>
                <a:gd name="T11" fmla="*/ 55 h 183"/>
                <a:gd name="T12" fmla="*/ 22 w 160"/>
                <a:gd name="T13" fmla="*/ 54 h 183"/>
                <a:gd name="T14" fmla="*/ 19 w 160"/>
                <a:gd name="T15" fmla="*/ 47 h 183"/>
                <a:gd name="T16" fmla="*/ 12 w 160"/>
                <a:gd name="T17" fmla="*/ 45 h 183"/>
                <a:gd name="T18" fmla="*/ 22 w 160"/>
                <a:gd name="T19" fmla="*/ 45 h 183"/>
                <a:gd name="T20" fmla="*/ 26 w 160"/>
                <a:gd name="T21" fmla="*/ 43 h 183"/>
                <a:gd name="T22" fmla="*/ 40 w 160"/>
                <a:gd name="T23" fmla="*/ 49 h 183"/>
                <a:gd name="T24" fmla="*/ 47 w 160"/>
                <a:gd name="T25" fmla="*/ 55 h 183"/>
                <a:gd name="T26" fmla="*/ 50 w 160"/>
                <a:gd name="T27" fmla="*/ 59 h 183"/>
                <a:gd name="T28" fmla="*/ 50 w 160"/>
                <a:gd name="T29" fmla="*/ 62 h 183"/>
                <a:gd name="T30" fmla="*/ 55 w 160"/>
                <a:gd name="T31" fmla="*/ 65 h 183"/>
                <a:gd name="T32" fmla="*/ 58 w 160"/>
                <a:gd name="T33" fmla="*/ 71 h 183"/>
                <a:gd name="T34" fmla="*/ 67 w 160"/>
                <a:gd name="T35" fmla="*/ 77 h 183"/>
                <a:gd name="T36" fmla="*/ 77 w 160"/>
                <a:gd name="T37" fmla="*/ 77 h 183"/>
                <a:gd name="T38" fmla="*/ 72 w 160"/>
                <a:gd name="T39" fmla="*/ 74 h 183"/>
                <a:gd name="T40" fmla="*/ 75 w 160"/>
                <a:gd name="T41" fmla="*/ 71 h 183"/>
                <a:gd name="T42" fmla="*/ 71 w 160"/>
                <a:gd name="T43" fmla="*/ 66 h 183"/>
                <a:gd name="T44" fmla="*/ 57 w 160"/>
                <a:gd name="T45" fmla="*/ 54 h 183"/>
                <a:gd name="T46" fmla="*/ 52 w 160"/>
                <a:gd name="T47" fmla="*/ 43 h 183"/>
                <a:gd name="T48" fmla="*/ 54 w 160"/>
                <a:gd name="T49" fmla="*/ 41 h 183"/>
                <a:gd name="T50" fmla="*/ 57 w 160"/>
                <a:gd name="T51" fmla="*/ 36 h 183"/>
                <a:gd name="T52" fmla="*/ 55 w 160"/>
                <a:gd name="T53" fmla="*/ 35 h 183"/>
                <a:gd name="T54" fmla="*/ 48 w 160"/>
                <a:gd name="T55" fmla="*/ 29 h 183"/>
                <a:gd name="T56" fmla="*/ 46 w 160"/>
                <a:gd name="T57" fmla="*/ 27 h 183"/>
                <a:gd name="T58" fmla="*/ 46 w 160"/>
                <a:gd name="T59" fmla="*/ 22 h 183"/>
                <a:gd name="T60" fmla="*/ 35 w 160"/>
                <a:gd name="T61" fmla="*/ 12 h 183"/>
                <a:gd name="T62" fmla="*/ 26 w 160"/>
                <a:gd name="T63" fmla="*/ 6 h 183"/>
                <a:gd name="T64" fmla="*/ 19 w 160"/>
                <a:gd name="T65" fmla="*/ 3 h 183"/>
                <a:gd name="T66" fmla="*/ 14 w 160"/>
                <a:gd name="T67" fmla="*/ 0 h 183"/>
                <a:gd name="T68" fmla="*/ 14 w 160"/>
                <a:gd name="T69" fmla="*/ 0 h 1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60" h="183">
                  <a:moveTo>
                    <a:pt x="30" y="0"/>
                  </a:moveTo>
                  <a:lnTo>
                    <a:pt x="0" y="113"/>
                  </a:lnTo>
                  <a:lnTo>
                    <a:pt x="16" y="127"/>
                  </a:lnTo>
                  <a:lnTo>
                    <a:pt x="26" y="123"/>
                  </a:lnTo>
                  <a:lnTo>
                    <a:pt x="28" y="130"/>
                  </a:lnTo>
                  <a:lnTo>
                    <a:pt x="45" y="128"/>
                  </a:lnTo>
                  <a:lnTo>
                    <a:pt x="46" y="127"/>
                  </a:lnTo>
                  <a:lnTo>
                    <a:pt x="41" y="112"/>
                  </a:lnTo>
                  <a:lnTo>
                    <a:pt x="25" y="107"/>
                  </a:lnTo>
                  <a:lnTo>
                    <a:pt x="46" y="107"/>
                  </a:lnTo>
                  <a:lnTo>
                    <a:pt x="56" y="103"/>
                  </a:lnTo>
                  <a:lnTo>
                    <a:pt x="83" y="115"/>
                  </a:lnTo>
                  <a:lnTo>
                    <a:pt x="98" y="128"/>
                  </a:lnTo>
                  <a:lnTo>
                    <a:pt x="106" y="140"/>
                  </a:lnTo>
                  <a:lnTo>
                    <a:pt x="106" y="147"/>
                  </a:lnTo>
                  <a:lnTo>
                    <a:pt x="116" y="153"/>
                  </a:lnTo>
                  <a:lnTo>
                    <a:pt x="120" y="168"/>
                  </a:lnTo>
                  <a:lnTo>
                    <a:pt x="141" y="183"/>
                  </a:lnTo>
                  <a:lnTo>
                    <a:pt x="160" y="183"/>
                  </a:lnTo>
                  <a:lnTo>
                    <a:pt x="151" y="173"/>
                  </a:lnTo>
                  <a:lnTo>
                    <a:pt x="158" y="168"/>
                  </a:lnTo>
                  <a:lnTo>
                    <a:pt x="148" y="158"/>
                  </a:lnTo>
                  <a:lnTo>
                    <a:pt x="118" y="127"/>
                  </a:lnTo>
                  <a:lnTo>
                    <a:pt x="108" y="103"/>
                  </a:lnTo>
                  <a:lnTo>
                    <a:pt x="115" y="97"/>
                  </a:lnTo>
                  <a:lnTo>
                    <a:pt x="118" y="87"/>
                  </a:lnTo>
                  <a:lnTo>
                    <a:pt x="116" y="82"/>
                  </a:lnTo>
                  <a:lnTo>
                    <a:pt x="101" y="68"/>
                  </a:lnTo>
                  <a:lnTo>
                    <a:pt x="95" y="63"/>
                  </a:lnTo>
                  <a:lnTo>
                    <a:pt x="95" y="52"/>
                  </a:lnTo>
                  <a:lnTo>
                    <a:pt x="75" y="28"/>
                  </a:lnTo>
                  <a:lnTo>
                    <a:pt x="53" y="13"/>
                  </a:lnTo>
                  <a:lnTo>
                    <a:pt x="40" y="5"/>
                  </a:lnTo>
                  <a:lnTo>
                    <a:pt x="3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6" name="Freeform 503"/>
            <p:cNvSpPr>
              <a:spLocks/>
            </p:cNvSpPr>
            <p:nvPr/>
          </p:nvSpPr>
          <p:spPr bwMode="auto">
            <a:xfrm>
              <a:off x="4106" y="3112"/>
              <a:ext cx="545" cy="468"/>
            </a:xfrm>
            <a:custGeom>
              <a:avLst/>
              <a:gdLst>
                <a:gd name="T0" fmla="*/ 170 w 632"/>
                <a:gd name="T1" fmla="*/ 9 h 558"/>
                <a:gd name="T2" fmla="*/ 148 w 632"/>
                <a:gd name="T3" fmla="*/ 11 h 558"/>
                <a:gd name="T4" fmla="*/ 143 w 632"/>
                <a:gd name="T5" fmla="*/ 20 h 558"/>
                <a:gd name="T6" fmla="*/ 128 w 632"/>
                <a:gd name="T7" fmla="*/ 19 h 558"/>
                <a:gd name="T8" fmla="*/ 110 w 632"/>
                <a:gd name="T9" fmla="*/ 18 h 558"/>
                <a:gd name="T10" fmla="*/ 85 w 632"/>
                <a:gd name="T11" fmla="*/ 29 h 558"/>
                <a:gd name="T12" fmla="*/ 81 w 632"/>
                <a:gd name="T13" fmla="*/ 39 h 558"/>
                <a:gd name="T14" fmla="*/ 64 w 632"/>
                <a:gd name="T15" fmla="*/ 50 h 558"/>
                <a:gd name="T16" fmla="*/ 34 w 632"/>
                <a:gd name="T17" fmla="*/ 55 h 558"/>
                <a:gd name="T18" fmla="*/ 12 w 632"/>
                <a:gd name="T19" fmla="*/ 56 h 558"/>
                <a:gd name="T20" fmla="*/ 13 w 632"/>
                <a:gd name="T21" fmla="*/ 93 h 558"/>
                <a:gd name="T22" fmla="*/ 2 w 632"/>
                <a:gd name="T23" fmla="*/ 100 h 558"/>
                <a:gd name="T24" fmla="*/ 7 w 632"/>
                <a:gd name="T25" fmla="*/ 143 h 558"/>
                <a:gd name="T26" fmla="*/ 7 w 632"/>
                <a:gd name="T27" fmla="*/ 159 h 558"/>
                <a:gd name="T28" fmla="*/ 14 w 632"/>
                <a:gd name="T29" fmla="*/ 164 h 558"/>
                <a:gd name="T30" fmla="*/ 39 w 632"/>
                <a:gd name="T31" fmla="*/ 159 h 558"/>
                <a:gd name="T32" fmla="*/ 60 w 632"/>
                <a:gd name="T33" fmla="*/ 163 h 558"/>
                <a:gd name="T34" fmla="*/ 74 w 632"/>
                <a:gd name="T35" fmla="*/ 152 h 558"/>
                <a:gd name="T36" fmla="*/ 100 w 632"/>
                <a:gd name="T37" fmla="*/ 148 h 558"/>
                <a:gd name="T38" fmla="*/ 141 w 632"/>
                <a:gd name="T39" fmla="*/ 159 h 558"/>
                <a:gd name="T40" fmla="*/ 152 w 632"/>
                <a:gd name="T41" fmla="*/ 174 h 558"/>
                <a:gd name="T42" fmla="*/ 170 w 632"/>
                <a:gd name="T43" fmla="*/ 172 h 558"/>
                <a:gd name="T44" fmla="*/ 175 w 632"/>
                <a:gd name="T45" fmla="*/ 174 h 558"/>
                <a:gd name="T46" fmla="*/ 161 w 632"/>
                <a:gd name="T47" fmla="*/ 185 h 558"/>
                <a:gd name="T48" fmla="*/ 186 w 632"/>
                <a:gd name="T49" fmla="*/ 177 h 558"/>
                <a:gd name="T50" fmla="*/ 170 w 632"/>
                <a:gd name="T51" fmla="*/ 194 h 558"/>
                <a:gd name="T52" fmla="*/ 185 w 632"/>
                <a:gd name="T53" fmla="*/ 190 h 558"/>
                <a:gd name="T54" fmla="*/ 179 w 632"/>
                <a:gd name="T55" fmla="*/ 205 h 558"/>
                <a:gd name="T56" fmla="*/ 196 w 632"/>
                <a:gd name="T57" fmla="*/ 222 h 558"/>
                <a:gd name="T58" fmla="*/ 212 w 632"/>
                <a:gd name="T59" fmla="*/ 225 h 558"/>
                <a:gd name="T60" fmla="*/ 219 w 632"/>
                <a:gd name="T61" fmla="*/ 229 h 558"/>
                <a:gd name="T62" fmla="*/ 241 w 632"/>
                <a:gd name="T63" fmla="*/ 229 h 558"/>
                <a:gd name="T64" fmla="*/ 259 w 632"/>
                <a:gd name="T65" fmla="*/ 225 h 558"/>
                <a:gd name="T66" fmla="*/ 276 w 632"/>
                <a:gd name="T67" fmla="*/ 199 h 558"/>
                <a:gd name="T68" fmla="*/ 291 w 632"/>
                <a:gd name="T69" fmla="*/ 174 h 558"/>
                <a:gd name="T70" fmla="*/ 301 w 632"/>
                <a:gd name="T71" fmla="*/ 138 h 558"/>
                <a:gd name="T72" fmla="*/ 291 w 632"/>
                <a:gd name="T73" fmla="*/ 94 h 558"/>
                <a:gd name="T74" fmla="*/ 275 w 632"/>
                <a:gd name="T75" fmla="*/ 76 h 558"/>
                <a:gd name="T76" fmla="*/ 265 w 632"/>
                <a:gd name="T77" fmla="*/ 65 h 558"/>
                <a:gd name="T78" fmla="*/ 262 w 632"/>
                <a:gd name="T79" fmla="*/ 42 h 558"/>
                <a:gd name="T80" fmla="*/ 254 w 632"/>
                <a:gd name="T81" fmla="*/ 26 h 558"/>
                <a:gd name="T82" fmla="*/ 245 w 632"/>
                <a:gd name="T83" fmla="*/ 19 h 558"/>
                <a:gd name="T84" fmla="*/ 236 w 632"/>
                <a:gd name="T85" fmla="*/ 47 h 558"/>
                <a:gd name="T86" fmla="*/ 225 w 632"/>
                <a:gd name="T87" fmla="*/ 50 h 558"/>
                <a:gd name="T88" fmla="*/ 203 w 632"/>
                <a:gd name="T89" fmla="*/ 37 h 558"/>
                <a:gd name="T90" fmla="*/ 197 w 632"/>
                <a:gd name="T91" fmla="*/ 28 h 558"/>
                <a:gd name="T92" fmla="*/ 203 w 632"/>
                <a:gd name="T93" fmla="*/ 13 h 558"/>
                <a:gd name="T94" fmla="*/ 198 w 632"/>
                <a:gd name="T95" fmla="*/ 11 h 558"/>
                <a:gd name="T96" fmla="*/ 178 w 632"/>
                <a:gd name="T97" fmla="*/ 0 h 558"/>
                <a:gd name="T98" fmla="*/ 172 w 632"/>
                <a:gd name="T99" fmla="*/ 0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32" h="558">
                  <a:moveTo>
                    <a:pt x="362" y="0"/>
                  </a:moveTo>
                  <a:lnTo>
                    <a:pt x="356" y="22"/>
                  </a:lnTo>
                  <a:lnTo>
                    <a:pt x="339" y="15"/>
                  </a:lnTo>
                  <a:lnTo>
                    <a:pt x="311" y="28"/>
                  </a:lnTo>
                  <a:lnTo>
                    <a:pt x="311" y="50"/>
                  </a:lnTo>
                  <a:lnTo>
                    <a:pt x="301" y="50"/>
                  </a:lnTo>
                  <a:lnTo>
                    <a:pt x="279" y="45"/>
                  </a:lnTo>
                  <a:lnTo>
                    <a:pt x="269" y="45"/>
                  </a:lnTo>
                  <a:lnTo>
                    <a:pt x="257" y="33"/>
                  </a:lnTo>
                  <a:lnTo>
                    <a:pt x="229" y="43"/>
                  </a:lnTo>
                  <a:lnTo>
                    <a:pt x="214" y="67"/>
                  </a:lnTo>
                  <a:lnTo>
                    <a:pt x="179" y="68"/>
                  </a:lnTo>
                  <a:lnTo>
                    <a:pt x="171" y="77"/>
                  </a:lnTo>
                  <a:lnTo>
                    <a:pt x="169" y="95"/>
                  </a:lnTo>
                  <a:lnTo>
                    <a:pt x="146" y="120"/>
                  </a:lnTo>
                  <a:lnTo>
                    <a:pt x="134" y="120"/>
                  </a:lnTo>
                  <a:lnTo>
                    <a:pt x="127" y="131"/>
                  </a:lnTo>
                  <a:lnTo>
                    <a:pt x="71" y="131"/>
                  </a:lnTo>
                  <a:lnTo>
                    <a:pt x="37" y="125"/>
                  </a:lnTo>
                  <a:lnTo>
                    <a:pt x="24" y="135"/>
                  </a:lnTo>
                  <a:lnTo>
                    <a:pt x="20" y="178"/>
                  </a:lnTo>
                  <a:lnTo>
                    <a:pt x="27" y="223"/>
                  </a:lnTo>
                  <a:lnTo>
                    <a:pt x="2" y="211"/>
                  </a:lnTo>
                  <a:lnTo>
                    <a:pt x="2" y="241"/>
                  </a:lnTo>
                  <a:lnTo>
                    <a:pt x="15" y="321"/>
                  </a:lnTo>
                  <a:lnTo>
                    <a:pt x="15" y="343"/>
                  </a:lnTo>
                  <a:lnTo>
                    <a:pt x="0" y="371"/>
                  </a:lnTo>
                  <a:lnTo>
                    <a:pt x="14" y="381"/>
                  </a:lnTo>
                  <a:lnTo>
                    <a:pt x="22" y="385"/>
                  </a:lnTo>
                  <a:lnTo>
                    <a:pt x="30" y="396"/>
                  </a:lnTo>
                  <a:lnTo>
                    <a:pt x="50" y="396"/>
                  </a:lnTo>
                  <a:lnTo>
                    <a:pt x="81" y="380"/>
                  </a:lnTo>
                  <a:lnTo>
                    <a:pt x="101" y="381"/>
                  </a:lnTo>
                  <a:lnTo>
                    <a:pt x="126" y="391"/>
                  </a:lnTo>
                  <a:lnTo>
                    <a:pt x="141" y="388"/>
                  </a:lnTo>
                  <a:lnTo>
                    <a:pt x="156" y="366"/>
                  </a:lnTo>
                  <a:lnTo>
                    <a:pt x="179" y="366"/>
                  </a:lnTo>
                  <a:lnTo>
                    <a:pt x="209" y="358"/>
                  </a:lnTo>
                  <a:lnTo>
                    <a:pt x="262" y="361"/>
                  </a:lnTo>
                  <a:lnTo>
                    <a:pt x="296" y="385"/>
                  </a:lnTo>
                  <a:lnTo>
                    <a:pt x="314" y="413"/>
                  </a:lnTo>
                  <a:lnTo>
                    <a:pt x="319" y="421"/>
                  </a:lnTo>
                  <a:lnTo>
                    <a:pt x="327" y="425"/>
                  </a:lnTo>
                  <a:lnTo>
                    <a:pt x="356" y="415"/>
                  </a:lnTo>
                  <a:lnTo>
                    <a:pt x="386" y="393"/>
                  </a:lnTo>
                  <a:lnTo>
                    <a:pt x="366" y="418"/>
                  </a:lnTo>
                  <a:lnTo>
                    <a:pt x="356" y="438"/>
                  </a:lnTo>
                  <a:lnTo>
                    <a:pt x="339" y="448"/>
                  </a:lnTo>
                  <a:lnTo>
                    <a:pt x="366" y="440"/>
                  </a:lnTo>
                  <a:lnTo>
                    <a:pt x="391" y="428"/>
                  </a:lnTo>
                  <a:lnTo>
                    <a:pt x="372" y="456"/>
                  </a:lnTo>
                  <a:lnTo>
                    <a:pt x="357" y="466"/>
                  </a:lnTo>
                  <a:lnTo>
                    <a:pt x="382" y="460"/>
                  </a:lnTo>
                  <a:lnTo>
                    <a:pt x="387" y="458"/>
                  </a:lnTo>
                  <a:lnTo>
                    <a:pt x="384" y="475"/>
                  </a:lnTo>
                  <a:lnTo>
                    <a:pt x="376" y="495"/>
                  </a:lnTo>
                  <a:lnTo>
                    <a:pt x="381" y="511"/>
                  </a:lnTo>
                  <a:lnTo>
                    <a:pt x="411" y="535"/>
                  </a:lnTo>
                  <a:lnTo>
                    <a:pt x="417" y="540"/>
                  </a:lnTo>
                  <a:lnTo>
                    <a:pt x="444" y="541"/>
                  </a:lnTo>
                  <a:lnTo>
                    <a:pt x="466" y="535"/>
                  </a:lnTo>
                  <a:lnTo>
                    <a:pt x="459" y="550"/>
                  </a:lnTo>
                  <a:lnTo>
                    <a:pt x="469" y="558"/>
                  </a:lnTo>
                  <a:lnTo>
                    <a:pt x="504" y="550"/>
                  </a:lnTo>
                  <a:lnTo>
                    <a:pt x="521" y="548"/>
                  </a:lnTo>
                  <a:lnTo>
                    <a:pt x="542" y="541"/>
                  </a:lnTo>
                  <a:lnTo>
                    <a:pt x="562" y="513"/>
                  </a:lnTo>
                  <a:lnTo>
                    <a:pt x="579" y="478"/>
                  </a:lnTo>
                  <a:lnTo>
                    <a:pt x="594" y="461"/>
                  </a:lnTo>
                  <a:lnTo>
                    <a:pt x="609" y="421"/>
                  </a:lnTo>
                  <a:lnTo>
                    <a:pt x="632" y="385"/>
                  </a:lnTo>
                  <a:lnTo>
                    <a:pt x="632" y="333"/>
                  </a:lnTo>
                  <a:lnTo>
                    <a:pt x="624" y="276"/>
                  </a:lnTo>
                  <a:lnTo>
                    <a:pt x="609" y="228"/>
                  </a:lnTo>
                  <a:lnTo>
                    <a:pt x="592" y="201"/>
                  </a:lnTo>
                  <a:lnTo>
                    <a:pt x="577" y="185"/>
                  </a:lnTo>
                  <a:lnTo>
                    <a:pt x="561" y="165"/>
                  </a:lnTo>
                  <a:lnTo>
                    <a:pt x="556" y="156"/>
                  </a:lnTo>
                  <a:lnTo>
                    <a:pt x="551" y="123"/>
                  </a:lnTo>
                  <a:lnTo>
                    <a:pt x="549" y="103"/>
                  </a:lnTo>
                  <a:lnTo>
                    <a:pt x="534" y="90"/>
                  </a:lnTo>
                  <a:lnTo>
                    <a:pt x="531" y="62"/>
                  </a:lnTo>
                  <a:lnTo>
                    <a:pt x="521" y="37"/>
                  </a:lnTo>
                  <a:lnTo>
                    <a:pt x="512" y="47"/>
                  </a:lnTo>
                  <a:lnTo>
                    <a:pt x="506" y="70"/>
                  </a:lnTo>
                  <a:lnTo>
                    <a:pt x="496" y="113"/>
                  </a:lnTo>
                  <a:lnTo>
                    <a:pt x="482" y="123"/>
                  </a:lnTo>
                  <a:lnTo>
                    <a:pt x="472" y="123"/>
                  </a:lnTo>
                  <a:lnTo>
                    <a:pt x="446" y="102"/>
                  </a:lnTo>
                  <a:lnTo>
                    <a:pt x="427" y="90"/>
                  </a:lnTo>
                  <a:lnTo>
                    <a:pt x="416" y="80"/>
                  </a:lnTo>
                  <a:lnTo>
                    <a:pt x="412" y="67"/>
                  </a:lnTo>
                  <a:lnTo>
                    <a:pt x="424" y="47"/>
                  </a:lnTo>
                  <a:lnTo>
                    <a:pt x="427" y="32"/>
                  </a:lnTo>
                  <a:lnTo>
                    <a:pt x="431" y="25"/>
                  </a:lnTo>
                  <a:lnTo>
                    <a:pt x="417" y="28"/>
                  </a:lnTo>
                  <a:lnTo>
                    <a:pt x="386" y="8"/>
                  </a:lnTo>
                  <a:lnTo>
                    <a:pt x="372" y="0"/>
                  </a:lnTo>
                  <a:lnTo>
                    <a:pt x="362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7" name="Freeform 504"/>
            <p:cNvSpPr>
              <a:spLocks/>
            </p:cNvSpPr>
            <p:nvPr/>
          </p:nvSpPr>
          <p:spPr bwMode="auto">
            <a:xfrm>
              <a:off x="4106" y="3112"/>
              <a:ext cx="545" cy="468"/>
            </a:xfrm>
            <a:custGeom>
              <a:avLst/>
              <a:gdLst>
                <a:gd name="T0" fmla="*/ 170 w 632"/>
                <a:gd name="T1" fmla="*/ 9 h 558"/>
                <a:gd name="T2" fmla="*/ 148 w 632"/>
                <a:gd name="T3" fmla="*/ 11 h 558"/>
                <a:gd name="T4" fmla="*/ 143 w 632"/>
                <a:gd name="T5" fmla="*/ 20 h 558"/>
                <a:gd name="T6" fmla="*/ 128 w 632"/>
                <a:gd name="T7" fmla="*/ 19 h 558"/>
                <a:gd name="T8" fmla="*/ 110 w 632"/>
                <a:gd name="T9" fmla="*/ 18 h 558"/>
                <a:gd name="T10" fmla="*/ 85 w 632"/>
                <a:gd name="T11" fmla="*/ 29 h 558"/>
                <a:gd name="T12" fmla="*/ 81 w 632"/>
                <a:gd name="T13" fmla="*/ 39 h 558"/>
                <a:gd name="T14" fmla="*/ 64 w 632"/>
                <a:gd name="T15" fmla="*/ 50 h 558"/>
                <a:gd name="T16" fmla="*/ 34 w 632"/>
                <a:gd name="T17" fmla="*/ 55 h 558"/>
                <a:gd name="T18" fmla="*/ 12 w 632"/>
                <a:gd name="T19" fmla="*/ 56 h 558"/>
                <a:gd name="T20" fmla="*/ 13 w 632"/>
                <a:gd name="T21" fmla="*/ 93 h 558"/>
                <a:gd name="T22" fmla="*/ 2 w 632"/>
                <a:gd name="T23" fmla="*/ 100 h 558"/>
                <a:gd name="T24" fmla="*/ 7 w 632"/>
                <a:gd name="T25" fmla="*/ 143 h 558"/>
                <a:gd name="T26" fmla="*/ 7 w 632"/>
                <a:gd name="T27" fmla="*/ 159 h 558"/>
                <a:gd name="T28" fmla="*/ 14 w 632"/>
                <a:gd name="T29" fmla="*/ 164 h 558"/>
                <a:gd name="T30" fmla="*/ 39 w 632"/>
                <a:gd name="T31" fmla="*/ 159 h 558"/>
                <a:gd name="T32" fmla="*/ 60 w 632"/>
                <a:gd name="T33" fmla="*/ 163 h 558"/>
                <a:gd name="T34" fmla="*/ 74 w 632"/>
                <a:gd name="T35" fmla="*/ 152 h 558"/>
                <a:gd name="T36" fmla="*/ 100 w 632"/>
                <a:gd name="T37" fmla="*/ 148 h 558"/>
                <a:gd name="T38" fmla="*/ 141 w 632"/>
                <a:gd name="T39" fmla="*/ 159 h 558"/>
                <a:gd name="T40" fmla="*/ 152 w 632"/>
                <a:gd name="T41" fmla="*/ 174 h 558"/>
                <a:gd name="T42" fmla="*/ 170 w 632"/>
                <a:gd name="T43" fmla="*/ 172 h 558"/>
                <a:gd name="T44" fmla="*/ 175 w 632"/>
                <a:gd name="T45" fmla="*/ 174 h 558"/>
                <a:gd name="T46" fmla="*/ 161 w 632"/>
                <a:gd name="T47" fmla="*/ 185 h 558"/>
                <a:gd name="T48" fmla="*/ 186 w 632"/>
                <a:gd name="T49" fmla="*/ 177 h 558"/>
                <a:gd name="T50" fmla="*/ 170 w 632"/>
                <a:gd name="T51" fmla="*/ 194 h 558"/>
                <a:gd name="T52" fmla="*/ 185 w 632"/>
                <a:gd name="T53" fmla="*/ 190 h 558"/>
                <a:gd name="T54" fmla="*/ 179 w 632"/>
                <a:gd name="T55" fmla="*/ 205 h 558"/>
                <a:gd name="T56" fmla="*/ 196 w 632"/>
                <a:gd name="T57" fmla="*/ 222 h 558"/>
                <a:gd name="T58" fmla="*/ 212 w 632"/>
                <a:gd name="T59" fmla="*/ 225 h 558"/>
                <a:gd name="T60" fmla="*/ 219 w 632"/>
                <a:gd name="T61" fmla="*/ 229 h 558"/>
                <a:gd name="T62" fmla="*/ 241 w 632"/>
                <a:gd name="T63" fmla="*/ 229 h 558"/>
                <a:gd name="T64" fmla="*/ 259 w 632"/>
                <a:gd name="T65" fmla="*/ 225 h 558"/>
                <a:gd name="T66" fmla="*/ 276 w 632"/>
                <a:gd name="T67" fmla="*/ 199 h 558"/>
                <a:gd name="T68" fmla="*/ 291 w 632"/>
                <a:gd name="T69" fmla="*/ 174 h 558"/>
                <a:gd name="T70" fmla="*/ 301 w 632"/>
                <a:gd name="T71" fmla="*/ 138 h 558"/>
                <a:gd name="T72" fmla="*/ 291 w 632"/>
                <a:gd name="T73" fmla="*/ 94 h 558"/>
                <a:gd name="T74" fmla="*/ 275 w 632"/>
                <a:gd name="T75" fmla="*/ 76 h 558"/>
                <a:gd name="T76" fmla="*/ 265 w 632"/>
                <a:gd name="T77" fmla="*/ 65 h 558"/>
                <a:gd name="T78" fmla="*/ 262 w 632"/>
                <a:gd name="T79" fmla="*/ 42 h 558"/>
                <a:gd name="T80" fmla="*/ 254 w 632"/>
                <a:gd name="T81" fmla="*/ 26 h 558"/>
                <a:gd name="T82" fmla="*/ 245 w 632"/>
                <a:gd name="T83" fmla="*/ 19 h 558"/>
                <a:gd name="T84" fmla="*/ 236 w 632"/>
                <a:gd name="T85" fmla="*/ 47 h 558"/>
                <a:gd name="T86" fmla="*/ 225 w 632"/>
                <a:gd name="T87" fmla="*/ 50 h 558"/>
                <a:gd name="T88" fmla="*/ 203 w 632"/>
                <a:gd name="T89" fmla="*/ 37 h 558"/>
                <a:gd name="T90" fmla="*/ 197 w 632"/>
                <a:gd name="T91" fmla="*/ 28 h 558"/>
                <a:gd name="T92" fmla="*/ 203 w 632"/>
                <a:gd name="T93" fmla="*/ 13 h 558"/>
                <a:gd name="T94" fmla="*/ 198 w 632"/>
                <a:gd name="T95" fmla="*/ 11 h 558"/>
                <a:gd name="T96" fmla="*/ 178 w 632"/>
                <a:gd name="T97" fmla="*/ 0 h 558"/>
                <a:gd name="T98" fmla="*/ 172 w 632"/>
                <a:gd name="T99" fmla="*/ 0 h 55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632" h="558">
                  <a:moveTo>
                    <a:pt x="362" y="0"/>
                  </a:moveTo>
                  <a:lnTo>
                    <a:pt x="356" y="22"/>
                  </a:lnTo>
                  <a:lnTo>
                    <a:pt x="339" y="15"/>
                  </a:lnTo>
                  <a:lnTo>
                    <a:pt x="311" y="28"/>
                  </a:lnTo>
                  <a:lnTo>
                    <a:pt x="311" y="50"/>
                  </a:lnTo>
                  <a:lnTo>
                    <a:pt x="301" y="50"/>
                  </a:lnTo>
                  <a:lnTo>
                    <a:pt x="279" y="45"/>
                  </a:lnTo>
                  <a:lnTo>
                    <a:pt x="269" y="45"/>
                  </a:lnTo>
                  <a:lnTo>
                    <a:pt x="257" y="33"/>
                  </a:lnTo>
                  <a:lnTo>
                    <a:pt x="229" y="43"/>
                  </a:lnTo>
                  <a:lnTo>
                    <a:pt x="214" y="67"/>
                  </a:lnTo>
                  <a:lnTo>
                    <a:pt x="179" y="68"/>
                  </a:lnTo>
                  <a:lnTo>
                    <a:pt x="171" y="77"/>
                  </a:lnTo>
                  <a:lnTo>
                    <a:pt x="169" y="95"/>
                  </a:lnTo>
                  <a:lnTo>
                    <a:pt x="146" y="120"/>
                  </a:lnTo>
                  <a:lnTo>
                    <a:pt x="134" y="120"/>
                  </a:lnTo>
                  <a:lnTo>
                    <a:pt x="127" y="131"/>
                  </a:lnTo>
                  <a:lnTo>
                    <a:pt x="71" y="131"/>
                  </a:lnTo>
                  <a:lnTo>
                    <a:pt x="37" y="125"/>
                  </a:lnTo>
                  <a:lnTo>
                    <a:pt x="24" y="135"/>
                  </a:lnTo>
                  <a:lnTo>
                    <a:pt x="20" y="178"/>
                  </a:lnTo>
                  <a:lnTo>
                    <a:pt x="27" y="223"/>
                  </a:lnTo>
                  <a:lnTo>
                    <a:pt x="2" y="211"/>
                  </a:lnTo>
                  <a:lnTo>
                    <a:pt x="2" y="241"/>
                  </a:lnTo>
                  <a:lnTo>
                    <a:pt x="15" y="321"/>
                  </a:lnTo>
                  <a:lnTo>
                    <a:pt x="15" y="343"/>
                  </a:lnTo>
                  <a:lnTo>
                    <a:pt x="0" y="371"/>
                  </a:lnTo>
                  <a:lnTo>
                    <a:pt x="14" y="381"/>
                  </a:lnTo>
                  <a:lnTo>
                    <a:pt x="22" y="385"/>
                  </a:lnTo>
                  <a:lnTo>
                    <a:pt x="30" y="396"/>
                  </a:lnTo>
                  <a:lnTo>
                    <a:pt x="50" y="396"/>
                  </a:lnTo>
                  <a:lnTo>
                    <a:pt x="81" y="380"/>
                  </a:lnTo>
                  <a:lnTo>
                    <a:pt x="101" y="381"/>
                  </a:lnTo>
                  <a:lnTo>
                    <a:pt x="126" y="391"/>
                  </a:lnTo>
                  <a:lnTo>
                    <a:pt x="141" y="388"/>
                  </a:lnTo>
                  <a:lnTo>
                    <a:pt x="156" y="366"/>
                  </a:lnTo>
                  <a:lnTo>
                    <a:pt x="179" y="366"/>
                  </a:lnTo>
                  <a:lnTo>
                    <a:pt x="209" y="358"/>
                  </a:lnTo>
                  <a:lnTo>
                    <a:pt x="262" y="361"/>
                  </a:lnTo>
                  <a:lnTo>
                    <a:pt x="296" y="385"/>
                  </a:lnTo>
                  <a:lnTo>
                    <a:pt x="314" y="413"/>
                  </a:lnTo>
                  <a:lnTo>
                    <a:pt x="319" y="421"/>
                  </a:lnTo>
                  <a:lnTo>
                    <a:pt x="327" y="425"/>
                  </a:lnTo>
                  <a:lnTo>
                    <a:pt x="356" y="415"/>
                  </a:lnTo>
                  <a:lnTo>
                    <a:pt x="386" y="393"/>
                  </a:lnTo>
                  <a:lnTo>
                    <a:pt x="366" y="418"/>
                  </a:lnTo>
                  <a:lnTo>
                    <a:pt x="356" y="438"/>
                  </a:lnTo>
                  <a:lnTo>
                    <a:pt x="339" y="448"/>
                  </a:lnTo>
                  <a:lnTo>
                    <a:pt x="366" y="440"/>
                  </a:lnTo>
                  <a:lnTo>
                    <a:pt x="391" y="428"/>
                  </a:lnTo>
                  <a:lnTo>
                    <a:pt x="372" y="456"/>
                  </a:lnTo>
                  <a:lnTo>
                    <a:pt x="357" y="466"/>
                  </a:lnTo>
                  <a:lnTo>
                    <a:pt x="382" y="460"/>
                  </a:lnTo>
                  <a:lnTo>
                    <a:pt x="387" y="458"/>
                  </a:lnTo>
                  <a:lnTo>
                    <a:pt x="384" y="475"/>
                  </a:lnTo>
                  <a:lnTo>
                    <a:pt x="376" y="495"/>
                  </a:lnTo>
                  <a:lnTo>
                    <a:pt x="381" y="511"/>
                  </a:lnTo>
                  <a:lnTo>
                    <a:pt x="411" y="535"/>
                  </a:lnTo>
                  <a:lnTo>
                    <a:pt x="417" y="540"/>
                  </a:lnTo>
                  <a:lnTo>
                    <a:pt x="444" y="541"/>
                  </a:lnTo>
                  <a:lnTo>
                    <a:pt x="466" y="535"/>
                  </a:lnTo>
                  <a:lnTo>
                    <a:pt x="459" y="550"/>
                  </a:lnTo>
                  <a:lnTo>
                    <a:pt x="469" y="558"/>
                  </a:lnTo>
                  <a:lnTo>
                    <a:pt x="504" y="550"/>
                  </a:lnTo>
                  <a:lnTo>
                    <a:pt x="521" y="548"/>
                  </a:lnTo>
                  <a:lnTo>
                    <a:pt x="542" y="541"/>
                  </a:lnTo>
                  <a:lnTo>
                    <a:pt x="562" y="513"/>
                  </a:lnTo>
                  <a:lnTo>
                    <a:pt x="579" y="478"/>
                  </a:lnTo>
                  <a:lnTo>
                    <a:pt x="594" y="461"/>
                  </a:lnTo>
                  <a:lnTo>
                    <a:pt x="609" y="421"/>
                  </a:lnTo>
                  <a:lnTo>
                    <a:pt x="632" y="385"/>
                  </a:lnTo>
                  <a:lnTo>
                    <a:pt x="632" y="333"/>
                  </a:lnTo>
                  <a:lnTo>
                    <a:pt x="624" y="276"/>
                  </a:lnTo>
                  <a:lnTo>
                    <a:pt x="609" y="228"/>
                  </a:lnTo>
                  <a:lnTo>
                    <a:pt x="592" y="201"/>
                  </a:lnTo>
                  <a:lnTo>
                    <a:pt x="577" y="185"/>
                  </a:lnTo>
                  <a:lnTo>
                    <a:pt x="561" y="165"/>
                  </a:lnTo>
                  <a:lnTo>
                    <a:pt x="556" y="156"/>
                  </a:lnTo>
                  <a:lnTo>
                    <a:pt x="551" y="123"/>
                  </a:lnTo>
                  <a:lnTo>
                    <a:pt x="549" y="103"/>
                  </a:lnTo>
                  <a:lnTo>
                    <a:pt x="534" y="90"/>
                  </a:lnTo>
                  <a:lnTo>
                    <a:pt x="531" y="62"/>
                  </a:lnTo>
                  <a:lnTo>
                    <a:pt x="521" y="37"/>
                  </a:lnTo>
                  <a:lnTo>
                    <a:pt x="512" y="47"/>
                  </a:lnTo>
                  <a:lnTo>
                    <a:pt x="506" y="70"/>
                  </a:lnTo>
                  <a:lnTo>
                    <a:pt x="496" y="113"/>
                  </a:lnTo>
                  <a:lnTo>
                    <a:pt x="482" y="123"/>
                  </a:lnTo>
                  <a:lnTo>
                    <a:pt x="472" y="123"/>
                  </a:lnTo>
                  <a:lnTo>
                    <a:pt x="446" y="102"/>
                  </a:lnTo>
                  <a:lnTo>
                    <a:pt x="427" y="90"/>
                  </a:lnTo>
                  <a:lnTo>
                    <a:pt x="416" y="80"/>
                  </a:lnTo>
                  <a:lnTo>
                    <a:pt x="412" y="67"/>
                  </a:lnTo>
                  <a:lnTo>
                    <a:pt x="424" y="47"/>
                  </a:lnTo>
                  <a:lnTo>
                    <a:pt x="427" y="32"/>
                  </a:lnTo>
                  <a:lnTo>
                    <a:pt x="431" y="25"/>
                  </a:lnTo>
                  <a:lnTo>
                    <a:pt x="417" y="28"/>
                  </a:lnTo>
                  <a:lnTo>
                    <a:pt x="386" y="8"/>
                  </a:lnTo>
                  <a:lnTo>
                    <a:pt x="372" y="0"/>
                  </a:lnTo>
                  <a:lnTo>
                    <a:pt x="362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8" name="Freeform 505"/>
            <p:cNvSpPr>
              <a:spLocks/>
            </p:cNvSpPr>
            <p:nvPr/>
          </p:nvSpPr>
          <p:spPr bwMode="auto">
            <a:xfrm>
              <a:off x="2503" y="2246"/>
              <a:ext cx="48" cy="101"/>
            </a:xfrm>
            <a:custGeom>
              <a:avLst/>
              <a:gdLst>
                <a:gd name="T0" fmla="*/ 5 w 54"/>
                <a:gd name="T1" fmla="*/ 0 h 120"/>
                <a:gd name="T2" fmla="*/ 9 w 54"/>
                <a:gd name="T3" fmla="*/ 13 h 120"/>
                <a:gd name="T4" fmla="*/ 4 w 54"/>
                <a:gd name="T5" fmla="*/ 24 h 120"/>
                <a:gd name="T6" fmla="*/ 0 w 54"/>
                <a:gd name="T7" fmla="*/ 30 h 120"/>
                <a:gd name="T8" fmla="*/ 4 w 54"/>
                <a:gd name="T9" fmla="*/ 38 h 120"/>
                <a:gd name="T10" fmla="*/ 0 w 54"/>
                <a:gd name="T11" fmla="*/ 49 h 120"/>
                <a:gd name="T12" fmla="*/ 16 w 54"/>
                <a:gd name="T13" fmla="*/ 51 h 120"/>
                <a:gd name="T14" fmla="*/ 23 w 54"/>
                <a:gd name="T15" fmla="*/ 49 h 120"/>
                <a:gd name="T16" fmla="*/ 23 w 54"/>
                <a:gd name="T17" fmla="*/ 43 h 120"/>
                <a:gd name="T18" fmla="*/ 17 w 54"/>
                <a:gd name="T19" fmla="*/ 40 h 120"/>
                <a:gd name="T20" fmla="*/ 23 w 54"/>
                <a:gd name="T21" fmla="*/ 24 h 120"/>
                <a:gd name="T22" fmla="*/ 23 w 54"/>
                <a:gd name="T23" fmla="*/ 18 h 120"/>
                <a:gd name="T24" fmla="*/ 28 w 54"/>
                <a:gd name="T25" fmla="*/ 13 h 120"/>
                <a:gd name="T26" fmla="*/ 30 w 54"/>
                <a:gd name="T27" fmla="*/ 8 h 120"/>
                <a:gd name="T28" fmla="*/ 23 w 54"/>
                <a:gd name="T29" fmla="*/ 3 h 120"/>
                <a:gd name="T30" fmla="*/ 16 w 54"/>
                <a:gd name="T31" fmla="*/ 3 h 120"/>
                <a:gd name="T32" fmla="*/ 5 w 54"/>
                <a:gd name="T33" fmla="*/ 0 h 120"/>
                <a:gd name="T34" fmla="*/ 5 w 54"/>
                <a:gd name="T35" fmla="*/ 0 h 1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120">
                  <a:moveTo>
                    <a:pt x="10" y="0"/>
                  </a:moveTo>
                  <a:lnTo>
                    <a:pt x="15" y="30"/>
                  </a:lnTo>
                  <a:lnTo>
                    <a:pt x="5" y="55"/>
                  </a:lnTo>
                  <a:lnTo>
                    <a:pt x="0" y="73"/>
                  </a:lnTo>
                  <a:lnTo>
                    <a:pt x="5" y="90"/>
                  </a:lnTo>
                  <a:lnTo>
                    <a:pt x="0" y="115"/>
                  </a:lnTo>
                  <a:lnTo>
                    <a:pt x="29" y="120"/>
                  </a:lnTo>
                  <a:lnTo>
                    <a:pt x="42" y="117"/>
                  </a:lnTo>
                  <a:lnTo>
                    <a:pt x="42" y="103"/>
                  </a:lnTo>
                  <a:lnTo>
                    <a:pt x="30" y="93"/>
                  </a:lnTo>
                  <a:lnTo>
                    <a:pt x="42" y="58"/>
                  </a:lnTo>
                  <a:lnTo>
                    <a:pt x="42" y="43"/>
                  </a:lnTo>
                  <a:lnTo>
                    <a:pt x="49" y="30"/>
                  </a:lnTo>
                  <a:lnTo>
                    <a:pt x="54" y="18"/>
                  </a:lnTo>
                  <a:lnTo>
                    <a:pt x="42" y="5"/>
                  </a:lnTo>
                  <a:lnTo>
                    <a:pt x="29" y="5"/>
                  </a:lnTo>
                  <a:lnTo>
                    <a:pt x="1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9" name="Freeform 506"/>
            <p:cNvSpPr>
              <a:spLocks/>
            </p:cNvSpPr>
            <p:nvPr/>
          </p:nvSpPr>
          <p:spPr bwMode="auto">
            <a:xfrm>
              <a:off x="2658" y="1989"/>
              <a:ext cx="47" cy="101"/>
            </a:xfrm>
            <a:custGeom>
              <a:avLst/>
              <a:gdLst>
                <a:gd name="T0" fmla="*/ 5 w 54"/>
                <a:gd name="T1" fmla="*/ 0 h 120"/>
                <a:gd name="T2" fmla="*/ 8 w 54"/>
                <a:gd name="T3" fmla="*/ 13 h 120"/>
                <a:gd name="T4" fmla="*/ 3 w 54"/>
                <a:gd name="T5" fmla="*/ 24 h 120"/>
                <a:gd name="T6" fmla="*/ 0 w 54"/>
                <a:gd name="T7" fmla="*/ 30 h 120"/>
                <a:gd name="T8" fmla="*/ 3 w 54"/>
                <a:gd name="T9" fmla="*/ 38 h 120"/>
                <a:gd name="T10" fmla="*/ 0 w 54"/>
                <a:gd name="T11" fmla="*/ 49 h 120"/>
                <a:gd name="T12" fmla="*/ 15 w 54"/>
                <a:gd name="T13" fmla="*/ 51 h 120"/>
                <a:gd name="T14" fmla="*/ 21 w 54"/>
                <a:gd name="T15" fmla="*/ 49 h 120"/>
                <a:gd name="T16" fmla="*/ 21 w 54"/>
                <a:gd name="T17" fmla="*/ 43 h 120"/>
                <a:gd name="T18" fmla="*/ 15 w 54"/>
                <a:gd name="T19" fmla="*/ 40 h 120"/>
                <a:gd name="T20" fmla="*/ 21 w 54"/>
                <a:gd name="T21" fmla="*/ 24 h 120"/>
                <a:gd name="T22" fmla="*/ 21 w 54"/>
                <a:gd name="T23" fmla="*/ 18 h 120"/>
                <a:gd name="T24" fmla="*/ 24 w 54"/>
                <a:gd name="T25" fmla="*/ 13 h 120"/>
                <a:gd name="T26" fmla="*/ 27 w 54"/>
                <a:gd name="T27" fmla="*/ 8 h 120"/>
                <a:gd name="T28" fmla="*/ 21 w 54"/>
                <a:gd name="T29" fmla="*/ 3 h 120"/>
                <a:gd name="T30" fmla="*/ 15 w 54"/>
                <a:gd name="T31" fmla="*/ 3 h 120"/>
                <a:gd name="T32" fmla="*/ 5 w 54"/>
                <a:gd name="T33" fmla="*/ 0 h 120"/>
                <a:gd name="T34" fmla="*/ 5 w 54"/>
                <a:gd name="T35" fmla="*/ 0 h 1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120">
                  <a:moveTo>
                    <a:pt x="10" y="0"/>
                  </a:moveTo>
                  <a:lnTo>
                    <a:pt x="15" y="30"/>
                  </a:lnTo>
                  <a:lnTo>
                    <a:pt x="5" y="55"/>
                  </a:lnTo>
                  <a:lnTo>
                    <a:pt x="0" y="73"/>
                  </a:lnTo>
                  <a:lnTo>
                    <a:pt x="5" y="90"/>
                  </a:lnTo>
                  <a:lnTo>
                    <a:pt x="0" y="115"/>
                  </a:lnTo>
                  <a:lnTo>
                    <a:pt x="29" y="120"/>
                  </a:lnTo>
                  <a:lnTo>
                    <a:pt x="42" y="117"/>
                  </a:lnTo>
                  <a:lnTo>
                    <a:pt x="42" y="103"/>
                  </a:lnTo>
                  <a:lnTo>
                    <a:pt x="30" y="93"/>
                  </a:lnTo>
                  <a:lnTo>
                    <a:pt x="42" y="58"/>
                  </a:lnTo>
                  <a:lnTo>
                    <a:pt x="42" y="43"/>
                  </a:lnTo>
                  <a:lnTo>
                    <a:pt x="49" y="30"/>
                  </a:lnTo>
                  <a:lnTo>
                    <a:pt x="54" y="18"/>
                  </a:lnTo>
                  <a:lnTo>
                    <a:pt x="42" y="5"/>
                  </a:lnTo>
                  <a:lnTo>
                    <a:pt x="29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0" name="Freeform 507"/>
            <p:cNvSpPr>
              <a:spLocks/>
            </p:cNvSpPr>
            <p:nvPr/>
          </p:nvSpPr>
          <p:spPr bwMode="auto">
            <a:xfrm>
              <a:off x="2658" y="1989"/>
              <a:ext cx="47" cy="101"/>
            </a:xfrm>
            <a:custGeom>
              <a:avLst/>
              <a:gdLst>
                <a:gd name="T0" fmla="*/ 5 w 54"/>
                <a:gd name="T1" fmla="*/ 0 h 120"/>
                <a:gd name="T2" fmla="*/ 8 w 54"/>
                <a:gd name="T3" fmla="*/ 13 h 120"/>
                <a:gd name="T4" fmla="*/ 3 w 54"/>
                <a:gd name="T5" fmla="*/ 24 h 120"/>
                <a:gd name="T6" fmla="*/ 0 w 54"/>
                <a:gd name="T7" fmla="*/ 30 h 120"/>
                <a:gd name="T8" fmla="*/ 3 w 54"/>
                <a:gd name="T9" fmla="*/ 38 h 120"/>
                <a:gd name="T10" fmla="*/ 0 w 54"/>
                <a:gd name="T11" fmla="*/ 49 h 120"/>
                <a:gd name="T12" fmla="*/ 15 w 54"/>
                <a:gd name="T13" fmla="*/ 51 h 120"/>
                <a:gd name="T14" fmla="*/ 21 w 54"/>
                <a:gd name="T15" fmla="*/ 49 h 120"/>
                <a:gd name="T16" fmla="*/ 21 w 54"/>
                <a:gd name="T17" fmla="*/ 43 h 120"/>
                <a:gd name="T18" fmla="*/ 15 w 54"/>
                <a:gd name="T19" fmla="*/ 40 h 120"/>
                <a:gd name="T20" fmla="*/ 21 w 54"/>
                <a:gd name="T21" fmla="*/ 24 h 120"/>
                <a:gd name="T22" fmla="*/ 21 w 54"/>
                <a:gd name="T23" fmla="*/ 18 h 120"/>
                <a:gd name="T24" fmla="*/ 24 w 54"/>
                <a:gd name="T25" fmla="*/ 13 h 120"/>
                <a:gd name="T26" fmla="*/ 27 w 54"/>
                <a:gd name="T27" fmla="*/ 8 h 120"/>
                <a:gd name="T28" fmla="*/ 21 w 54"/>
                <a:gd name="T29" fmla="*/ 3 h 120"/>
                <a:gd name="T30" fmla="*/ 15 w 54"/>
                <a:gd name="T31" fmla="*/ 3 h 120"/>
                <a:gd name="T32" fmla="*/ 5 w 54"/>
                <a:gd name="T33" fmla="*/ 0 h 120"/>
                <a:gd name="T34" fmla="*/ 5 w 54"/>
                <a:gd name="T35" fmla="*/ 0 h 1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120">
                  <a:moveTo>
                    <a:pt x="10" y="0"/>
                  </a:moveTo>
                  <a:lnTo>
                    <a:pt x="15" y="30"/>
                  </a:lnTo>
                  <a:lnTo>
                    <a:pt x="5" y="55"/>
                  </a:lnTo>
                  <a:lnTo>
                    <a:pt x="0" y="73"/>
                  </a:lnTo>
                  <a:lnTo>
                    <a:pt x="5" y="90"/>
                  </a:lnTo>
                  <a:lnTo>
                    <a:pt x="0" y="115"/>
                  </a:lnTo>
                  <a:lnTo>
                    <a:pt x="29" y="120"/>
                  </a:lnTo>
                  <a:lnTo>
                    <a:pt x="42" y="117"/>
                  </a:lnTo>
                  <a:lnTo>
                    <a:pt x="42" y="103"/>
                  </a:lnTo>
                  <a:lnTo>
                    <a:pt x="30" y="93"/>
                  </a:lnTo>
                  <a:lnTo>
                    <a:pt x="42" y="58"/>
                  </a:lnTo>
                  <a:lnTo>
                    <a:pt x="42" y="43"/>
                  </a:lnTo>
                  <a:lnTo>
                    <a:pt x="49" y="30"/>
                  </a:lnTo>
                  <a:lnTo>
                    <a:pt x="54" y="18"/>
                  </a:lnTo>
                  <a:lnTo>
                    <a:pt x="42" y="5"/>
                  </a:lnTo>
                  <a:lnTo>
                    <a:pt x="29" y="5"/>
                  </a:lnTo>
                  <a:lnTo>
                    <a:pt x="10" y="0"/>
                  </a:lnTo>
                </a:path>
              </a:pathLst>
            </a:custGeom>
            <a:solidFill>
              <a:srgbClr val="EAEAEA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512" name="Picture 516" descr="Regensburg in Europ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74" y="3046413"/>
            <a:ext cx="2898775" cy="272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3" name="Oval 517"/>
          <p:cNvSpPr>
            <a:spLocks noChangeArrowheads="1"/>
          </p:cNvSpPr>
          <p:nvPr/>
        </p:nvSpPr>
        <p:spPr bwMode="auto">
          <a:xfrm>
            <a:off x="4210124" y="3068638"/>
            <a:ext cx="838200" cy="839787"/>
          </a:xfrm>
          <a:prstGeom prst="ellipse">
            <a:avLst/>
          </a:prstGeom>
          <a:solidFill>
            <a:srgbClr val="EAEAEA">
              <a:alpha val="12000"/>
            </a:srgbClr>
          </a:solidFill>
          <a:ln w="12700" cap="sq">
            <a:solidFill>
              <a:srgbClr val="0E142E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ysClr val="windowText" lastClr="000000"/>
              </a:solidFill>
            </a:endParaRPr>
          </a:p>
        </p:txBody>
      </p:sp>
      <p:sp>
        <p:nvSpPr>
          <p:cNvPr id="514" name="Oval 518"/>
          <p:cNvSpPr>
            <a:spLocks noChangeArrowheads="1"/>
          </p:cNvSpPr>
          <p:nvPr/>
        </p:nvSpPr>
        <p:spPr bwMode="auto">
          <a:xfrm>
            <a:off x="4597474" y="3425825"/>
            <a:ext cx="63500" cy="65088"/>
          </a:xfrm>
          <a:prstGeom prst="ellipse">
            <a:avLst/>
          </a:prstGeom>
          <a:solidFill>
            <a:srgbClr val="BE002D"/>
          </a:solidFill>
          <a:ln w="9525" algn="ctr">
            <a:solidFill>
              <a:srgbClr val="BE002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80000" rIns="180000" bIns="180000" anchor="ctr"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Tx/>
            </a:pPr>
            <a:endParaRPr lang="en-US" altLang="de-DE"/>
          </a:p>
        </p:txBody>
      </p:sp>
      <p:cxnSp>
        <p:nvCxnSpPr>
          <p:cNvPr id="515" name="Gerade Verbindung mit Pfeil 3"/>
          <p:cNvCxnSpPr>
            <a:cxnSpLocks noChangeShapeType="1"/>
            <a:stCxn id="498" idx="12"/>
          </p:cNvCxnSpPr>
          <p:nvPr/>
        </p:nvCxnSpPr>
        <p:spPr bwMode="auto">
          <a:xfrm flipH="1">
            <a:off x="2025724" y="3686175"/>
            <a:ext cx="2212975" cy="8350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18134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rld Heritage Regensburg</a:t>
            </a:r>
            <a:br>
              <a:rPr lang="de-DE" dirty="0" smtClean="0"/>
            </a:br>
            <a:r>
              <a:rPr lang="de-DE" sz="1800" dirty="0" smtClean="0">
                <a:solidFill>
                  <a:schemeClr val="bg1">
                    <a:lumMod val="75000"/>
                  </a:schemeClr>
                </a:solidFill>
              </a:rPr>
              <a:t>The UNESCO </a:t>
            </a:r>
            <a:r>
              <a:rPr lang="de-DE" sz="1800" dirty="0" err="1" smtClean="0">
                <a:solidFill>
                  <a:schemeClr val="bg1">
                    <a:lumMod val="75000"/>
                  </a:schemeClr>
                </a:solidFill>
              </a:rPr>
              <a:t>Criteria</a:t>
            </a:r>
            <a:endParaRPr lang="de-DE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516" name="Inhaltsplatzhalter 2"/>
          <p:cNvSpPr>
            <a:spLocks noGrp="1"/>
          </p:cNvSpPr>
          <p:nvPr>
            <p:ph idx="1"/>
          </p:nvPr>
        </p:nvSpPr>
        <p:spPr>
          <a:xfrm>
            <a:off x="395536" y="1412776"/>
            <a:ext cx="6408738" cy="4629150"/>
          </a:xfrm>
        </p:spPr>
        <p:txBody>
          <a:bodyPr/>
          <a:lstStyle/>
          <a:p>
            <a:pPr>
              <a:defRPr/>
            </a:pPr>
            <a:r>
              <a:rPr lang="en-US" sz="2000" b="1" dirty="0" smtClean="0"/>
              <a:t>Criterion (ii) – Architecture and urban development</a:t>
            </a:r>
          </a:p>
          <a:p>
            <a:pPr marL="342900" lvl="1" indent="-342900">
              <a:spcBef>
                <a:spcPct val="0"/>
              </a:spcBef>
              <a:buClr>
                <a:srgbClr val="949EAA"/>
              </a:buClr>
              <a:buFontTx/>
              <a:buNone/>
              <a:defRPr/>
            </a:pPr>
            <a:r>
              <a:rPr lang="en-US" altLang="de-DE" sz="1600" dirty="0" smtClean="0">
                <a:solidFill>
                  <a:schemeClr val="bg1">
                    <a:lumMod val="50000"/>
                  </a:schemeClr>
                </a:solidFill>
              </a:rPr>
              <a:t>Medieval trading center influencing the region north of  the Alps.</a:t>
            </a:r>
          </a:p>
          <a:p>
            <a:pPr marL="342900" lvl="1" indent="-342900">
              <a:spcBef>
                <a:spcPct val="0"/>
              </a:spcBef>
              <a:buClr>
                <a:srgbClr val="949EAA"/>
              </a:buClr>
              <a:buFontTx/>
              <a:buNone/>
              <a:defRPr/>
            </a:pPr>
            <a:endParaRPr lang="en-US" altLang="de-DE" sz="16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r>
              <a:rPr lang="en-US" sz="2000" b="1" dirty="0" smtClean="0"/>
              <a:t>Criterion (iii) – Testimony of a Culture</a:t>
            </a:r>
          </a:p>
          <a:p>
            <a:pPr marL="0" indent="0">
              <a:buNone/>
              <a:defRPr/>
            </a:pPr>
            <a:r>
              <a:rPr lang="en-US" altLang="de-DE" sz="1600" dirty="0" smtClean="0">
                <a:solidFill>
                  <a:schemeClr val="bg1">
                    <a:lumMod val="50000"/>
                  </a:schemeClr>
                </a:solidFill>
              </a:rPr>
              <a:t>Exceptional testimony to the cultural traditions in the Holy Roman Empire.</a:t>
            </a:r>
          </a:p>
          <a:p>
            <a:pPr marL="0" indent="0">
              <a:buNone/>
              <a:defRPr/>
            </a:pPr>
            <a:endParaRPr lang="en-US" altLang="de-DE" sz="16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r>
              <a:rPr lang="en-US" sz="2000" b="1" dirty="0" smtClean="0"/>
              <a:t>Criterion (iv) – Explaining  history</a:t>
            </a:r>
          </a:p>
          <a:p>
            <a:pPr marL="0" indent="0">
              <a:buNone/>
              <a:defRPr/>
            </a:pPr>
            <a:r>
              <a:rPr lang="en-US" altLang="de-DE" sz="1600" dirty="0" smtClean="0">
                <a:solidFill>
                  <a:schemeClr val="bg1">
                    <a:lumMod val="50000"/>
                  </a:schemeClr>
                </a:solidFill>
              </a:rPr>
              <a:t>Outstanding example of a central-European medieval trading town with different stages of development still visible.</a:t>
            </a:r>
          </a:p>
          <a:p>
            <a:pPr>
              <a:defRPr/>
            </a:pPr>
            <a:endParaRPr lang="de-DE" dirty="0"/>
          </a:p>
        </p:txBody>
      </p:sp>
      <p:pic>
        <p:nvPicPr>
          <p:cNvPr id="517" name="Picture 2" descr="\\gamma.regensburg.de\home\hauer.s.0\Eigene Dateien\Eigene Bilder\Bilder für Publikationen\SAM_204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70700" y="1628775"/>
            <a:ext cx="2030413" cy="28797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4282078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684213" y="2030413"/>
            <a:ext cx="4608512" cy="291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0" tIns="180000" rIns="180000" bIns="180000"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r>
              <a:rPr lang="de-DE" altLang="de-DE" sz="2800" b="1"/>
              <a:t>A</a:t>
            </a:r>
            <a:r>
              <a:rPr lang="de-DE" altLang="de-DE"/>
              <a:t> </a:t>
            </a:r>
            <a:r>
              <a:rPr lang="en-GB" altLang="de-DE" sz="1800"/>
              <a:t>Coordination and Contact Point</a:t>
            </a:r>
          </a:p>
          <a:p>
            <a:pPr eaLnBrk="1" hangingPunct="1">
              <a:buClrTx/>
            </a:pPr>
            <a:endParaRPr lang="en-GB" altLang="de-DE" sz="1800"/>
          </a:p>
          <a:p>
            <a:pPr eaLnBrk="1" hangingPunct="1">
              <a:buClrTx/>
            </a:pPr>
            <a:r>
              <a:rPr lang="en-GB" altLang="de-DE" sz="2800" b="1"/>
              <a:t>B </a:t>
            </a:r>
            <a:r>
              <a:rPr lang="en-GB" altLang="de-DE" sz="1800"/>
              <a:t>Monitoring</a:t>
            </a:r>
          </a:p>
          <a:p>
            <a:pPr eaLnBrk="1" hangingPunct="1">
              <a:buClrTx/>
            </a:pPr>
            <a:endParaRPr lang="en-GB" altLang="de-DE" sz="1800" b="1"/>
          </a:p>
          <a:p>
            <a:pPr eaLnBrk="1" hangingPunct="1">
              <a:buClrTx/>
            </a:pPr>
            <a:r>
              <a:rPr lang="en-GB" altLang="de-DE" sz="2800" b="1"/>
              <a:t>C </a:t>
            </a:r>
            <a:r>
              <a:rPr lang="en-GB" altLang="de-DE" sz="1800"/>
              <a:t>Public Relations &amp; raising awareness</a:t>
            </a:r>
          </a:p>
          <a:p>
            <a:pPr eaLnBrk="1" hangingPunct="1">
              <a:buClrTx/>
            </a:pPr>
            <a:endParaRPr lang="en-GB" altLang="de-DE" sz="1800" b="1"/>
          </a:p>
          <a:p>
            <a:pPr eaLnBrk="1" hangingPunct="1">
              <a:buClrTx/>
            </a:pPr>
            <a:r>
              <a:rPr lang="en-GB" altLang="de-DE" sz="2800" b="1"/>
              <a:t>D </a:t>
            </a:r>
            <a:r>
              <a:rPr lang="en-GB" altLang="de-DE" sz="1800"/>
              <a:t>Networking &amp; scientific activities</a:t>
            </a:r>
            <a:endParaRPr lang="en-GB" altLang="de-DE" sz="2800" b="1"/>
          </a:p>
        </p:txBody>
      </p:sp>
      <p:pic>
        <p:nvPicPr>
          <p:cNvPr id="7" name="Picture 14" descr="U:\Welterbe\2_Öffentlichkeitsarbeit_gelb\21_Fotos und Grafiken\13_Matthias\Regensburg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788" y="1581150"/>
            <a:ext cx="2562225" cy="384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1"/>
          <p:cNvSpPr txBox="1">
            <a:spLocks/>
          </p:cNvSpPr>
          <p:nvPr/>
        </p:nvSpPr>
        <p:spPr bwMode="auto">
          <a:xfrm>
            <a:off x="466725" y="319088"/>
            <a:ext cx="639445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656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 smtClean="0"/>
              <a:t>World Heritage Regensburg</a:t>
            </a:r>
            <a:br>
              <a:rPr lang="de-DE" kern="0" dirty="0" smtClean="0"/>
            </a:br>
            <a:r>
              <a:rPr lang="de-DE" sz="1800" kern="0" dirty="0" smtClean="0">
                <a:solidFill>
                  <a:schemeClr val="bg1">
                    <a:lumMod val="75000"/>
                  </a:schemeClr>
                </a:solidFill>
              </a:rPr>
              <a:t>World Heritage </a:t>
            </a:r>
            <a:r>
              <a:rPr lang="de-DE" sz="1800" kern="0" dirty="0" err="1" smtClean="0">
                <a:solidFill>
                  <a:schemeClr val="bg1">
                    <a:lumMod val="75000"/>
                  </a:schemeClr>
                </a:solidFill>
              </a:rPr>
              <a:t>Coordination</a:t>
            </a:r>
            <a:endParaRPr lang="de-DE" kern="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845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6" name="Titel 1"/>
          <p:cNvSpPr txBox="1">
            <a:spLocks/>
          </p:cNvSpPr>
          <p:nvPr/>
        </p:nvSpPr>
        <p:spPr bwMode="auto">
          <a:xfrm>
            <a:off x="466725" y="319088"/>
            <a:ext cx="639445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6560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kern="0" dirty="0" smtClean="0"/>
              <a:t>World Heritage Regensburg</a:t>
            </a:r>
            <a:br>
              <a:rPr lang="de-DE" kern="0" dirty="0" smtClean="0"/>
            </a:br>
            <a:r>
              <a:rPr lang="de-DE" sz="1800" kern="0" dirty="0" smtClean="0">
                <a:solidFill>
                  <a:schemeClr val="bg1">
                    <a:lumMod val="75000"/>
                  </a:schemeClr>
                </a:solidFill>
              </a:rPr>
              <a:t>World Heritage </a:t>
            </a:r>
            <a:r>
              <a:rPr lang="de-DE" sz="1800" kern="0" dirty="0" err="1" smtClean="0">
                <a:solidFill>
                  <a:schemeClr val="bg1">
                    <a:lumMod val="75000"/>
                  </a:schemeClr>
                </a:solidFill>
              </a:rPr>
              <a:t>Coordination</a:t>
            </a:r>
            <a:endParaRPr lang="de-DE" kern="0" dirty="0">
              <a:solidFill>
                <a:schemeClr val="bg1">
                  <a:lumMod val="75000"/>
                </a:schemeClr>
              </a:solidFill>
            </a:endParaRPr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3058767910"/>
              </p:ext>
            </p:extLst>
          </p:nvPr>
        </p:nvGraphicFramePr>
        <p:xfrm>
          <a:off x="395536" y="1340768"/>
          <a:ext cx="8136904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8451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6" name="Picture 5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4663" y="1979613"/>
            <a:ext cx="4859337" cy="3973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940425" y="4410075"/>
            <a:ext cx="1203325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65600" anchor="b"/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algn="ctr">
              <a:lnSpc>
                <a:spcPts val="2400"/>
              </a:lnSpc>
              <a:buClrTx/>
            </a:pPr>
            <a:r>
              <a:rPr lang="en-US" altLang="de-DE" sz="1100" b="1">
                <a:solidFill>
                  <a:schemeClr val="bg1">
                    <a:lumMod val="20000"/>
                    <a:lumOff val="80000"/>
                  </a:schemeClr>
                </a:solidFill>
              </a:rPr>
              <a:t>REGENSBURG</a:t>
            </a:r>
            <a:endParaRPr lang="en-GB" altLang="de-DE" sz="1100" b="1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7034213" y="4248658"/>
            <a:ext cx="127000" cy="900685"/>
          </a:xfrm>
          <a:prstGeom prst="ellipse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tIns="180000" rIns="180000" bIns="180000" anchor="ctr">
            <a:spAutoFit/>
          </a:bodyPr>
          <a:lstStyle/>
          <a:p>
            <a:pPr eaLnBrk="0" hangingPunct="0">
              <a:defRPr/>
            </a:pPr>
            <a:endParaRPr lang="de-DE" sz="1800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9" name="Rechteck 2"/>
          <p:cNvSpPr>
            <a:spLocks noChangeArrowheads="1"/>
          </p:cNvSpPr>
          <p:nvPr/>
        </p:nvSpPr>
        <p:spPr bwMode="auto">
          <a:xfrm>
            <a:off x="998538" y="2060575"/>
            <a:ext cx="2454275" cy="438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amberg, Germany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ath, United Kingdom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Beemster</a:t>
            </a: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, Netherlands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ergen. Norway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erlin, Germany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ern, Switzerland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Bremen, Germany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Brugge</a:t>
            </a: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, Belgium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Cesky </a:t>
            </a:r>
            <a:r>
              <a:rPr lang="en-US" altLang="de-DE" sz="9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Krumlov</a:t>
            </a: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, CR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Edinburgh, United Kingdom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Goslar, Germany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Karlskrona</a:t>
            </a: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,  Sweden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Liverpool, United Kingdom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 err="1">
                <a:solidFill>
                  <a:schemeClr val="bg1">
                    <a:lumMod val="20000"/>
                    <a:lumOff val="80000"/>
                  </a:schemeClr>
                </a:solidFill>
              </a:rPr>
              <a:t>Lübeck</a:t>
            </a: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, Germany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Luxembourg, Luxembourg</a:t>
            </a:r>
          </a:p>
          <a:p>
            <a:pPr eaLnBrk="1" hangingPunct="1">
              <a:buClrTx/>
            </a:pPr>
            <a:endParaRPr lang="en-US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" name="Rechteck 2"/>
          <p:cNvSpPr>
            <a:spLocks noChangeArrowheads="1"/>
          </p:cNvSpPr>
          <p:nvPr/>
        </p:nvSpPr>
        <p:spPr bwMode="auto">
          <a:xfrm>
            <a:off x="971550" y="1682750"/>
            <a:ext cx="1701800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1500" b="1">
                <a:solidFill>
                  <a:schemeClr val="bg1">
                    <a:lumMod val="20000"/>
                    <a:lumOff val="80000"/>
                  </a:schemeClr>
                </a:solidFill>
              </a:rPr>
              <a:t>MEMBER CITIES</a:t>
            </a:r>
          </a:p>
        </p:txBody>
      </p:sp>
      <p:sp>
        <p:nvSpPr>
          <p:cNvPr id="11" name="Rechteck 1"/>
          <p:cNvSpPr>
            <a:spLocks noChangeArrowheads="1"/>
          </p:cNvSpPr>
          <p:nvPr/>
        </p:nvSpPr>
        <p:spPr bwMode="auto">
          <a:xfrm>
            <a:off x="2771775" y="2205038"/>
            <a:ext cx="2117725" cy="327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Potsdam, Germany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Quedlinburg, Germany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Rauma, Finland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Regensburg, Germany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Røros, Norway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Stralsund, Germany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Vienna, Austria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Visby, Sweden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Weimar, Germany</a:t>
            </a: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en-US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Wismar, Germany</a:t>
            </a:r>
          </a:p>
          <a:p>
            <a:pPr eaLnBrk="1" hangingPunct="1">
              <a:buClrTx/>
            </a:pPr>
            <a:endParaRPr lang="de-DE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r>
              <a:rPr lang="de-DE" altLang="de-DE" sz="900" b="1">
                <a:solidFill>
                  <a:schemeClr val="bg1">
                    <a:lumMod val="20000"/>
                    <a:lumOff val="80000"/>
                  </a:schemeClr>
                </a:solidFill>
              </a:rPr>
              <a:t>Warsaw, Poland </a:t>
            </a:r>
          </a:p>
          <a:p>
            <a:pPr eaLnBrk="1" hangingPunct="1">
              <a:buClrTx/>
            </a:pPr>
            <a:endParaRPr lang="de-DE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buClrTx/>
            </a:pPr>
            <a:endParaRPr lang="en-US" altLang="de-DE" sz="900" b="1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Rechteck 2"/>
          <p:cNvSpPr>
            <a:spLocks noChangeArrowheads="1"/>
          </p:cNvSpPr>
          <p:nvPr/>
        </p:nvSpPr>
        <p:spPr bwMode="auto">
          <a:xfrm>
            <a:off x="2771775" y="5410200"/>
            <a:ext cx="1476375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949EAA"/>
              </a:buClr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4pPr>
            <a:lvl5pPr marL="2057400" indent="-228600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charset="0"/>
                <a:ea typeface="ＭＳ Ｐゴシック" pitchFamily="-107" charset="-128"/>
              </a:defRPr>
            </a:lvl9pPr>
          </a:lstStyle>
          <a:p>
            <a:pPr eaLnBrk="1" hangingPunct="1">
              <a:lnSpc>
                <a:spcPct val="150000"/>
              </a:lnSpc>
              <a:buClrTx/>
            </a:pPr>
            <a:r>
              <a:rPr lang="de-DE" altLang="de-DE" sz="900" b="1" dirty="0" smtClean="0">
                <a:solidFill>
                  <a:schemeClr val="bg1">
                    <a:lumMod val="20000"/>
                    <a:lumOff val="80000"/>
                  </a:schemeClr>
                </a:solidFill>
              </a:rPr>
              <a:t>New:</a:t>
            </a:r>
            <a:endParaRPr lang="de-DE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  <a:p>
            <a:pPr eaLnBrk="1" hangingPunct="1">
              <a:lnSpc>
                <a:spcPct val="150000"/>
              </a:lnSpc>
              <a:buClrTx/>
            </a:pPr>
            <a:r>
              <a:rPr lang="de-DE" altLang="de-DE" sz="900" b="1" dirty="0">
                <a:solidFill>
                  <a:schemeClr val="bg1">
                    <a:lumMod val="20000"/>
                    <a:lumOff val="80000"/>
                  </a:schemeClr>
                </a:solidFill>
              </a:rPr>
              <a:t>Salzburg, </a:t>
            </a:r>
            <a:r>
              <a:rPr lang="de-DE" altLang="de-DE" sz="900" b="1" dirty="0" smtClean="0">
                <a:solidFill>
                  <a:schemeClr val="bg1">
                    <a:lumMod val="20000"/>
                    <a:lumOff val="80000"/>
                  </a:schemeClr>
                </a:solidFill>
              </a:rPr>
              <a:t>Austria</a:t>
            </a:r>
          </a:p>
          <a:p>
            <a:pPr eaLnBrk="1" hangingPunct="1">
              <a:lnSpc>
                <a:spcPct val="150000"/>
              </a:lnSpc>
              <a:buClrTx/>
            </a:pPr>
            <a:r>
              <a:rPr lang="de-DE" altLang="de-DE" sz="900" b="1" dirty="0" smtClean="0">
                <a:solidFill>
                  <a:schemeClr val="bg1">
                    <a:lumMod val="20000"/>
                    <a:lumOff val="80000"/>
                  </a:schemeClr>
                </a:solidFill>
              </a:rPr>
              <a:t>Philadelphia, USA</a:t>
            </a:r>
            <a:endParaRPr lang="de-DE" altLang="de-DE" sz="900" b="1" dirty="0">
              <a:solidFill>
                <a:schemeClr val="bg1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251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1600" dirty="0"/>
              <a:t>Since December 2011, the Regional Secretariat Northwest Europe is managed by the City of </a:t>
            </a:r>
            <a:r>
              <a:rPr lang="en-GB" sz="1600" dirty="0" smtClean="0"/>
              <a:t>Regensburg</a:t>
            </a:r>
          </a:p>
          <a:p>
            <a:pPr algn="just"/>
            <a:endParaRPr lang="en-GB" sz="1600" dirty="0"/>
          </a:p>
          <a:p>
            <a:pPr marL="0" indent="0" algn="just">
              <a:buNone/>
            </a:pPr>
            <a:r>
              <a:rPr lang="en-GB" sz="1800" b="1" dirty="0"/>
              <a:t>Objectives</a:t>
            </a:r>
          </a:p>
          <a:p>
            <a:pPr algn="just"/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Ambitious policy of development</a:t>
            </a:r>
          </a:p>
          <a:p>
            <a:pPr algn="just"/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Working programme based on integrated actions</a:t>
            </a:r>
          </a:p>
          <a:p>
            <a:pPr algn="just"/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To increase the communication</a:t>
            </a:r>
          </a:p>
          <a:p>
            <a:pPr algn="just"/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To strengthen the secretariat‘s role at a regional level</a:t>
            </a:r>
          </a:p>
          <a:p>
            <a:pPr algn="just"/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Growing membership </a:t>
            </a:r>
          </a:p>
          <a:p>
            <a:pPr marL="0" indent="0">
              <a:buNone/>
            </a:pPr>
            <a:endParaRPr lang="de-DE" sz="16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3466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/>
              <a:t>Communication initiative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Brochure, Exhibition, Photo competition, video </a:t>
            </a:r>
            <a:r>
              <a:rPr lang="en-GB" sz="1600" dirty="0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production</a:t>
            </a:r>
          </a:p>
          <a:p>
            <a:r>
              <a:rPr lang="en-GB" dirty="0" smtClean="0"/>
              <a:t>Strategic </a:t>
            </a:r>
            <a:r>
              <a:rPr lang="en-GB" dirty="0"/>
              <a:t>initiative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Strategic </a:t>
            </a:r>
            <a:r>
              <a:rPr lang="en-GB" sz="1600" dirty="0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Initiative</a:t>
            </a:r>
          </a:p>
          <a:p>
            <a:r>
              <a:rPr lang="en-GB" dirty="0" smtClean="0"/>
              <a:t>Solidarity </a:t>
            </a:r>
            <a:r>
              <a:rPr lang="en-GB" dirty="0"/>
              <a:t>initiative</a:t>
            </a:r>
          </a:p>
          <a:p>
            <a:pPr marL="0" indent="0">
              <a:buNone/>
            </a:pPr>
            <a:r>
              <a:rPr lang="en-GB" sz="1600" dirty="0" err="1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City2city</a:t>
            </a:r>
            <a:r>
              <a:rPr lang="en-GB" sz="1600" dirty="0" smtClean="0">
                <a:solidFill>
                  <a:schemeClr val="bg1">
                    <a:lumMod val="40000"/>
                    <a:lumOff val="60000"/>
                  </a:schemeClr>
                </a:solidFill>
              </a:rPr>
              <a:t> Visits</a:t>
            </a:r>
          </a:p>
          <a:p>
            <a:r>
              <a:rPr lang="en-GB" dirty="0" smtClean="0"/>
              <a:t>Expertise </a:t>
            </a:r>
            <a:r>
              <a:rPr lang="en-GB" dirty="0"/>
              <a:t>initiative</a:t>
            </a:r>
          </a:p>
          <a:p>
            <a:pPr marL="0" indent="0">
              <a:buNone/>
            </a:pPr>
            <a:r>
              <a:rPr lang="en-GB" sz="1600" dirty="0">
                <a:solidFill>
                  <a:schemeClr val="bg1">
                    <a:lumMod val="40000"/>
                    <a:lumOff val="60000"/>
                  </a:schemeClr>
                </a:solidFill>
              </a:rPr>
              <a:t>Regional conferences and meetings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53091A60-0177-46DA-9229-1BD45E726AAE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67544" y="304800"/>
            <a:ext cx="6676206" cy="914400"/>
          </a:xfrm>
        </p:spPr>
        <p:txBody>
          <a:bodyPr/>
          <a:lstStyle/>
          <a:p>
            <a:r>
              <a:rPr lang="de-DE" dirty="0" smtClean="0"/>
              <a:t>OWHC Regional </a:t>
            </a:r>
            <a:r>
              <a:rPr lang="de-DE" dirty="0" err="1" smtClean="0"/>
              <a:t>Secretariat</a:t>
            </a:r>
            <a:r>
              <a:rPr lang="de-DE" dirty="0" smtClean="0"/>
              <a:t> North-West Euro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5523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45FakjUu._ozk3w6h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0w2velT4EKczZefYb.M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0w2velT4EKczZefYb.M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heme/theme1.xml><?xml version="1.0" encoding="utf-8"?>
<a:theme xmlns:a="http://schemas.openxmlformats.org/drawingml/2006/main" name="Stadt_PP2010_Vorlage">
  <a:themeElements>
    <a:clrScheme name="Stadt_PP_Vorlage 1">
      <a:dk1>
        <a:srgbClr val="000000"/>
      </a:dk1>
      <a:lt1>
        <a:srgbClr val="C7C7C7"/>
      </a:lt1>
      <a:dk2>
        <a:srgbClr val="5F6061"/>
      </a:dk2>
      <a:lt2>
        <a:srgbClr val="FFFFFF"/>
      </a:lt2>
      <a:accent1>
        <a:srgbClr val="FFFFFF"/>
      </a:accent1>
      <a:accent2>
        <a:srgbClr val="E2001A"/>
      </a:accent2>
      <a:accent3>
        <a:srgbClr val="E0E0E0"/>
      </a:accent3>
      <a:accent4>
        <a:srgbClr val="000000"/>
      </a:accent4>
      <a:accent5>
        <a:srgbClr val="FFFFFF"/>
      </a:accent5>
      <a:accent6>
        <a:srgbClr val="CD0016"/>
      </a:accent6>
      <a:hlink>
        <a:srgbClr val="E2001A"/>
      </a:hlink>
      <a:folHlink>
        <a:srgbClr val="5F5F5F"/>
      </a:folHlink>
    </a:clrScheme>
    <a:fontScheme name="Stadt_PP_Vorl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dt_PP_Vorlage 1">
        <a:dk1>
          <a:srgbClr val="000000"/>
        </a:dk1>
        <a:lt1>
          <a:srgbClr val="C7C7C7"/>
        </a:lt1>
        <a:dk2>
          <a:srgbClr val="5F6061"/>
        </a:dk2>
        <a:lt2>
          <a:srgbClr val="FFFFFF"/>
        </a:lt2>
        <a:accent1>
          <a:srgbClr val="FFFFFF"/>
        </a:accent1>
        <a:accent2>
          <a:srgbClr val="E2001A"/>
        </a:accent2>
        <a:accent3>
          <a:srgbClr val="E0E0E0"/>
        </a:accent3>
        <a:accent4>
          <a:srgbClr val="000000"/>
        </a:accent4>
        <a:accent5>
          <a:srgbClr val="FFFFFF"/>
        </a:accent5>
        <a:accent6>
          <a:srgbClr val="CD0016"/>
        </a:accent6>
        <a:hlink>
          <a:srgbClr val="E2001A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dt_PP_Vorlage 2">
        <a:dk1>
          <a:srgbClr val="FFFFFF"/>
        </a:dk1>
        <a:lt1>
          <a:srgbClr val="969696"/>
        </a:lt1>
        <a:dk2>
          <a:srgbClr val="5F6060"/>
        </a:dk2>
        <a:lt2>
          <a:srgbClr val="FFFFFF"/>
        </a:lt2>
        <a:accent1>
          <a:srgbClr val="FFFFFF"/>
        </a:accent1>
        <a:accent2>
          <a:srgbClr val="E2001A"/>
        </a:accent2>
        <a:accent3>
          <a:srgbClr val="B6B6B6"/>
        </a:accent3>
        <a:accent4>
          <a:srgbClr val="7F7F7F"/>
        </a:accent4>
        <a:accent5>
          <a:srgbClr val="FFFFFF"/>
        </a:accent5>
        <a:accent6>
          <a:srgbClr val="CD0016"/>
        </a:accent6>
        <a:hlink>
          <a:srgbClr val="E2001A"/>
        </a:hlink>
        <a:folHlink>
          <a:srgbClr val="E2001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dt_PP_Vorlage 3">
        <a:dk1>
          <a:srgbClr val="FFFFFF"/>
        </a:dk1>
        <a:lt1>
          <a:srgbClr val="969696"/>
        </a:lt1>
        <a:dk2>
          <a:srgbClr val="5F6060"/>
        </a:dk2>
        <a:lt2>
          <a:srgbClr val="FFFFFF"/>
        </a:lt2>
        <a:accent1>
          <a:srgbClr val="FFFFFF"/>
        </a:accent1>
        <a:accent2>
          <a:srgbClr val="E2001A"/>
        </a:accent2>
        <a:accent3>
          <a:srgbClr val="B6B6B6"/>
        </a:accent3>
        <a:accent4>
          <a:srgbClr val="7F7F7F"/>
        </a:accent4>
        <a:accent5>
          <a:srgbClr val="FFFFFF"/>
        </a:accent5>
        <a:accent6>
          <a:srgbClr val="CD0016"/>
        </a:accent6>
        <a:hlink>
          <a:srgbClr val="C0C0C0"/>
        </a:hlink>
        <a:folHlink>
          <a:srgbClr val="C0C0C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xt dunkel, Kinder">
  <a:themeElements>
    <a:clrScheme name="Text dunkel, Kinder 1">
      <a:dk1>
        <a:srgbClr val="FFFFFF"/>
      </a:dk1>
      <a:lt1>
        <a:srgbClr val="969696"/>
      </a:lt1>
      <a:dk2>
        <a:srgbClr val="5F6060"/>
      </a:dk2>
      <a:lt2>
        <a:srgbClr val="FFFFFF"/>
      </a:lt2>
      <a:accent1>
        <a:srgbClr val="FFFFFF"/>
      </a:accent1>
      <a:accent2>
        <a:srgbClr val="E2001A"/>
      </a:accent2>
      <a:accent3>
        <a:srgbClr val="B6B6B6"/>
      </a:accent3>
      <a:accent4>
        <a:srgbClr val="7F7F7F"/>
      </a:accent4>
      <a:accent5>
        <a:srgbClr val="FFFFFF"/>
      </a:accent5>
      <a:accent6>
        <a:srgbClr val="CD0016"/>
      </a:accent6>
      <a:hlink>
        <a:srgbClr val="C0C0C0"/>
      </a:hlink>
      <a:folHlink>
        <a:srgbClr val="C0C0C0"/>
      </a:folHlink>
    </a:clrScheme>
    <a:fontScheme name="Text dunkel, Kind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xt dunkel, Kinder 1">
        <a:dk1>
          <a:srgbClr val="FFFFFF"/>
        </a:dk1>
        <a:lt1>
          <a:srgbClr val="969696"/>
        </a:lt1>
        <a:dk2>
          <a:srgbClr val="5F6060"/>
        </a:dk2>
        <a:lt2>
          <a:srgbClr val="FFFFFF"/>
        </a:lt2>
        <a:accent1>
          <a:srgbClr val="FFFFFF"/>
        </a:accent1>
        <a:accent2>
          <a:srgbClr val="E2001A"/>
        </a:accent2>
        <a:accent3>
          <a:srgbClr val="B6B6B6"/>
        </a:accent3>
        <a:accent4>
          <a:srgbClr val="7F7F7F"/>
        </a:accent4>
        <a:accent5>
          <a:srgbClr val="FFFFFF"/>
        </a:accent5>
        <a:accent6>
          <a:srgbClr val="CD0016"/>
        </a:accent6>
        <a:hlink>
          <a:srgbClr val="C0C0C0"/>
        </a:hlink>
        <a:folHlink>
          <a:srgbClr val="C0C0C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tadt_PP_Vorlage 2">
    <a:dk1>
      <a:srgbClr val="FFFFFF"/>
    </a:dk1>
    <a:lt1>
      <a:srgbClr val="969696"/>
    </a:lt1>
    <a:dk2>
      <a:srgbClr val="5F6060"/>
    </a:dk2>
    <a:lt2>
      <a:srgbClr val="FFFFFF"/>
    </a:lt2>
    <a:accent1>
      <a:srgbClr val="FFFFFF"/>
    </a:accent1>
    <a:accent2>
      <a:srgbClr val="E2001A"/>
    </a:accent2>
    <a:accent3>
      <a:srgbClr val="B6B6B6"/>
    </a:accent3>
    <a:accent4>
      <a:srgbClr val="7F7F7F"/>
    </a:accent4>
    <a:accent5>
      <a:srgbClr val="FFFFFF"/>
    </a:accent5>
    <a:accent6>
      <a:srgbClr val="CD0016"/>
    </a:accent6>
    <a:hlink>
      <a:srgbClr val="E2001A"/>
    </a:hlink>
    <a:folHlink>
      <a:srgbClr val="E2001A"/>
    </a:folHlink>
  </a:clrScheme>
</a:themeOverride>
</file>

<file path=ppt/theme/themeOverride2.xml><?xml version="1.0" encoding="utf-8"?>
<a:themeOverride xmlns:a="http://schemas.openxmlformats.org/drawingml/2006/main">
  <a:clrScheme name="Text groß grau 2-zeilig 2">
    <a:dk1>
      <a:srgbClr val="FFFFFF"/>
    </a:dk1>
    <a:lt1>
      <a:srgbClr val="969696"/>
    </a:lt1>
    <a:dk2>
      <a:srgbClr val="5F6060"/>
    </a:dk2>
    <a:lt2>
      <a:srgbClr val="FFFFFF"/>
    </a:lt2>
    <a:accent1>
      <a:srgbClr val="FFFFFF"/>
    </a:accent1>
    <a:accent2>
      <a:srgbClr val="E2001A"/>
    </a:accent2>
    <a:accent3>
      <a:srgbClr val="B6B6B6"/>
    </a:accent3>
    <a:accent4>
      <a:srgbClr val="7F7F7F"/>
    </a:accent4>
    <a:accent5>
      <a:srgbClr val="FFFFFF"/>
    </a:accent5>
    <a:accent6>
      <a:srgbClr val="CD0016"/>
    </a:accent6>
    <a:hlink>
      <a:srgbClr val="E2001A"/>
    </a:hlink>
    <a:folHlink>
      <a:srgbClr val="E2001A"/>
    </a:folHlink>
  </a:clrScheme>
</a:themeOverride>
</file>

<file path=ppt/theme/themeOverride3.xml><?xml version="1.0" encoding="utf-8"?>
<a:themeOverride xmlns:a="http://schemas.openxmlformats.org/drawingml/2006/main">
  <a:clrScheme name="Text mittel, Donau 2">
    <a:dk1>
      <a:srgbClr val="FFFFFF"/>
    </a:dk1>
    <a:lt1>
      <a:srgbClr val="969696"/>
    </a:lt1>
    <a:dk2>
      <a:srgbClr val="5F6060"/>
    </a:dk2>
    <a:lt2>
      <a:srgbClr val="FFFFFF"/>
    </a:lt2>
    <a:accent1>
      <a:srgbClr val="FFFFFF"/>
    </a:accent1>
    <a:accent2>
      <a:srgbClr val="E2001A"/>
    </a:accent2>
    <a:accent3>
      <a:srgbClr val="B6B6B6"/>
    </a:accent3>
    <a:accent4>
      <a:srgbClr val="7F7F7F"/>
    </a:accent4>
    <a:accent5>
      <a:srgbClr val="FFFFFF"/>
    </a:accent5>
    <a:accent6>
      <a:srgbClr val="CD0016"/>
    </a:accent6>
    <a:hlink>
      <a:srgbClr val="E2001A"/>
    </a:hlink>
    <a:folHlink>
      <a:srgbClr val="E2001A"/>
    </a:folHlink>
  </a:clrScheme>
</a:themeOverride>
</file>

<file path=ppt/theme/themeOverride4.xml><?xml version="1.0" encoding="utf-8"?>
<a:themeOverride xmlns:a="http://schemas.openxmlformats.org/drawingml/2006/main">
  <a:clrScheme name="Text klein, Brücke 1">
    <a:dk1>
      <a:srgbClr val="FFFFFF"/>
    </a:dk1>
    <a:lt1>
      <a:srgbClr val="969696"/>
    </a:lt1>
    <a:dk2>
      <a:srgbClr val="5F6060"/>
    </a:dk2>
    <a:lt2>
      <a:srgbClr val="FFFFFF"/>
    </a:lt2>
    <a:accent1>
      <a:srgbClr val="FFFFFF"/>
    </a:accent1>
    <a:accent2>
      <a:srgbClr val="E2001A"/>
    </a:accent2>
    <a:accent3>
      <a:srgbClr val="B6B6B6"/>
    </a:accent3>
    <a:accent4>
      <a:srgbClr val="7F7F7F"/>
    </a:accent4>
    <a:accent5>
      <a:srgbClr val="FFFFFF"/>
    </a:accent5>
    <a:accent6>
      <a:srgbClr val="CD0016"/>
    </a:accent6>
    <a:hlink>
      <a:srgbClr val="E2001A"/>
    </a:hlink>
    <a:folHlink>
      <a:srgbClr val="E2001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tadt_PP2010_Vorlage</Template>
  <TotalTime>0</TotalTime>
  <Words>802</Words>
  <Application>Microsoft Office PowerPoint</Application>
  <PresentationFormat>Bildschirmpräsentation (4:3)</PresentationFormat>
  <Paragraphs>224</Paragraphs>
  <Slides>17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5" baseType="lpstr">
      <vt:lpstr>Arial</vt:lpstr>
      <vt:lpstr>Wingdings</vt:lpstr>
      <vt:lpstr>ＭＳ Ｐゴシック</vt:lpstr>
      <vt:lpstr>Calibri</vt:lpstr>
      <vt:lpstr>Stadt_PP2010_Vorlage</vt:lpstr>
      <vt:lpstr>Benutzerdefiniertes Design</vt:lpstr>
      <vt:lpstr>Text dunkel, Kinder</vt:lpstr>
      <vt:lpstr>TCLayout.ActiveDocument</vt:lpstr>
      <vt:lpstr>Organization of World Heritage Cities  Conference in Vilnius April 27-28, 2016</vt:lpstr>
      <vt:lpstr>Overview</vt:lpstr>
      <vt:lpstr>World Heritage Regensburg „Altstadt Regensburg mit Stadtamhof“</vt:lpstr>
      <vt:lpstr>World Heritage Regensburg The UNESCO Criteria</vt:lpstr>
      <vt:lpstr>PowerPoint-Präsentation</vt:lpstr>
      <vt:lpstr>PowerPoint-Präsentation</vt:lpstr>
      <vt:lpstr>OWHC Regional Secretariat North-West Europe</vt:lpstr>
      <vt:lpstr>OWHC Regional Secretariat North-West Europe</vt:lpstr>
      <vt:lpstr>OWHC Regional Secretariat North-West Europe</vt:lpstr>
      <vt:lpstr>OWHC Regional Secretariat North-West Europe</vt:lpstr>
      <vt:lpstr>OWHC Regional Secretariat North-West Europe</vt:lpstr>
      <vt:lpstr>OWHC Regional Secretariat North-West Europe</vt:lpstr>
      <vt:lpstr>OWHC North-West Europe Regional Meeting September 27-29, 2016 in Stralsund/Germany</vt:lpstr>
      <vt:lpstr>OWHC North-West Europe Regional Meeting September 27-29, 2016 in Stralsund/Germany</vt:lpstr>
      <vt:lpstr>OWHC North-West Regional Meeting September 27-29, 2016 in Stralsund/Germany</vt:lpstr>
      <vt:lpstr>OWHC Regional Secretariat North-West Europe</vt:lpstr>
      <vt:lpstr>Thank you for your attention</vt:lpstr>
    </vt:vector>
  </TitlesOfParts>
  <Company>Stadt Regensbu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ahresbericht 2013 der Welterbekoordination</dc:title>
  <dc:creator>Long, Daniela</dc:creator>
  <cp:lastModifiedBy>Long, Daniela</cp:lastModifiedBy>
  <cp:revision>310</cp:revision>
  <cp:lastPrinted>2015-08-11T11:26:45Z</cp:lastPrinted>
  <dcterms:created xsi:type="dcterms:W3CDTF">2014-08-28T13:25:36Z</dcterms:created>
  <dcterms:modified xsi:type="dcterms:W3CDTF">2016-04-25T12:03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lefonnummer">
    <vt:lpwstr>+49 (941) 507-0</vt:lpwstr>
  </property>
</Properties>
</file>